
<file path=[Content_Types].xml><?xml version="1.0" encoding="utf-8"?>
<Types xmlns="http://schemas.openxmlformats.org/package/2006/content-types">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ink/ink1.xml" ContentType="application/inkml+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4"/>
  </p:sldMasterIdLst>
  <p:notesMasterIdLst>
    <p:notesMasterId r:id="rId14"/>
  </p:notesMasterIdLst>
  <p:handoutMasterIdLst>
    <p:handoutMasterId r:id="rId15"/>
  </p:handoutMasterIdLst>
  <p:sldIdLst>
    <p:sldId id="256" r:id="rId5"/>
    <p:sldId id="348" r:id="rId6"/>
    <p:sldId id="351" r:id="rId7"/>
    <p:sldId id="2772" r:id="rId8"/>
    <p:sldId id="352" r:id="rId9"/>
    <p:sldId id="2818" r:id="rId10"/>
    <p:sldId id="353" r:id="rId11"/>
    <p:sldId id="354" r:id="rId12"/>
    <p:sldId id="356"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598" autoAdjust="0"/>
  </p:normalViewPr>
  <p:slideViewPr>
    <p:cSldViewPr snapToGrid="0">
      <p:cViewPr varScale="1">
        <p:scale>
          <a:sx n="82" d="100"/>
          <a:sy n="82" d="100"/>
        </p:scale>
        <p:origin x="720" y="67"/>
      </p:cViewPr>
      <p:guideLst/>
    </p:cSldViewPr>
  </p:slideViewPr>
  <p:notesTextViewPr>
    <p:cViewPr>
      <p:scale>
        <a:sx n="1" d="1"/>
        <a:sy n="1" d="1"/>
      </p:scale>
      <p:origin x="0" y="0"/>
    </p:cViewPr>
  </p:notesTextViewPr>
  <p:notesViewPr>
    <p:cSldViewPr snapToGrid="0">
      <p:cViewPr varScale="1">
        <p:scale>
          <a:sx n="65" d="100"/>
          <a:sy n="65" d="100"/>
        </p:scale>
        <p:origin x="3154" y="43"/>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1E8BB77-72BC-4B45-AE14-9AD8DC6C89CF}" type="doc">
      <dgm:prSet loTypeId="urn:microsoft.com/office/officeart/2009/3/layout/PieProcess" loCatId="list" qsTypeId="urn:microsoft.com/office/officeart/2005/8/quickstyle/simple1" qsCatId="simple" csTypeId="urn:microsoft.com/office/officeart/2005/8/colors/accent1_2" csCatId="accent1" phldr="1"/>
      <dgm:spPr/>
      <dgm:t>
        <a:bodyPr/>
        <a:lstStyle/>
        <a:p>
          <a:endParaRPr lang="vi-VN"/>
        </a:p>
      </dgm:t>
    </dgm:pt>
    <dgm:pt modelId="{F52C3744-14DA-4E12-B584-AC4A6D232434}">
      <dgm:prSet phldrT="[Text]" custT="1"/>
      <dgm:spPr/>
      <dgm:t>
        <a:bodyPr/>
        <a:lstStyle/>
        <a:p>
          <a:r>
            <a:rPr lang="vi-VN" sz="2400">
              <a:solidFill>
                <a:srgbClr val="00B0F0"/>
              </a:solidFill>
              <a:latin typeface="GillSans" panose="02020500000000000000" pitchFamily="18" charset="0"/>
              <a:ea typeface="GillSans" panose="02020500000000000000" pitchFamily="18" charset="0"/>
              <a:cs typeface="GillSans" panose="02020500000000000000" pitchFamily="18" charset="0"/>
            </a:rPr>
            <a:t>Thiết kế dữ liệu</a:t>
          </a:r>
          <a:endParaRPr lang="vi-VN" sz="2400">
            <a:solidFill>
              <a:srgbClr val="00B0F0"/>
            </a:solidFill>
          </a:endParaRPr>
        </a:p>
      </dgm:t>
    </dgm:pt>
    <dgm:pt modelId="{FA523F06-F208-4126-A905-6AAAF3C80B6C}" type="parTrans" cxnId="{674E367B-159E-4DA6-AAED-6A099F775A21}">
      <dgm:prSet/>
      <dgm:spPr/>
      <dgm:t>
        <a:bodyPr/>
        <a:lstStyle/>
        <a:p>
          <a:endParaRPr lang="vi-VN" sz="2400"/>
        </a:p>
      </dgm:t>
    </dgm:pt>
    <dgm:pt modelId="{D16F66D5-6C95-4140-97A1-B490A4744AD4}" type="sibTrans" cxnId="{674E367B-159E-4DA6-AAED-6A099F775A21}">
      <dgm:prSet/>
      <dgm:spPr/>
      <dgm:t>
        <a:bodyPr/>
        <a:lstStyle/>
        <a:p>
          <a:endParaRPr lang="vi-VN" sz="2400"/>
        </a:p>
      </dgm:t>
    </dgm:pt>
    <dgm:pt modelId="{9769DDAF-C28A-4466-8168-75D23F1F0BB5}">
      <dgm:prSet phldrT="[Text]" custT="1"/>
      <dgm:spPr/>
      <dgm:t>
        <a:bodyPr/>
        <a:lstStyle/>
        <a:p>
          <a:r>
            <a:rPr lang="en-US" sz="2400">
              <a:solidFill>
                <a:schemeClr val="tx1">
                  <a:lumMod val="85000"/>
                  <a:lumOff val="15000"/>
                </a:schemeClr>
              </a:solidFill>
              <a:latin typeface="GillSans" panose="02020500000000000000" pitchFamily="18" charset="0"/>
              <a:ea typeface="GillSans" panose="02020500000000000000" pitchFamily="18" charset="0"/>
              <a:cs typeface="GillSans" panose="02020500000000000000" pitchFamily="18" charset="0"/>
            </a:rPr>
            <a:t>L</a:t>
          </a:r>
          <a:r>
            <a:rPr lang="vi-VN" sz="2400">
              <a:solidFill>
                <a:schemeClr val="tx1">
                  <a:lumMod val="85000"/>
                  <a:lumOff val="15000"/>
                </a:schemeClr>
              </a:solidFill>
              <a:latin typeface="GillSans" panose="02020500000000000000" pitchFamily="18" charset="0"/>
              <a:ea typeface="GillSans" panose="02020500000000000000" pitchFamily="18" charset="0"/>
              <a:cs typeface="GillSans" panose="02020500000000000000" pitchFamily="18" charset="0"/>
            </a:rPr>
            <a:t>àm phần mềm</a:t>
          </a:r>
          <a:endParaRPr lang="vi-VN" sz="2400"/>
        </a:p>
      </dgm:t>
    </dgm:pt>
    <dgm:pt modelId="{798FBC98-7637-4737-8A58-F2A4D4A01B57}" type="parTrans" cxnId="{618C496E-6D66-4F81-9A50-157E8F611802}">
      <dgm:prSet/>
      <dgm:spPr/>
      <dgm:t>
        <a:bodyPr/>
        <a:lstStyle/>
        <a:p>
          <a:endParaRPr lang="vi-VN" sz="2400"/>
        </a:p>
      </dgm:t>
    </dgm:pt>
    <dgm:pt modelId="{6A3A4A50-B193-4597-9D72-B8058E8367F4}" type="sibTrans" cxnId="{618C496E-6D66-4F81-9A50-157E8F611802}">
      <dgm:prSet/>
      <dgm:spPr/>
      <dgm:t>
        <a:bodyPr/>
        <a:lstStyle/>
        <a:p>
          <a:endParaRPr lang="vi-VN" sz="2400"/>
        </a:p>
      </dgm:t>
    </dgm:pt>
    <dgm:pt modelId="{493C57EC-8C53-4811-BB1E-C76E18185348}">
      <dgm:prSet phldrT="[Text]" custT="1"/>
      <dgm:spPr/>
      <dgm:t>
        <a:bodyPr/>
        <a:lstStyle/>
        <a:p>
          <a:r>
            <a:rPr lang="vi-VN" sz="2400">
              <a:solidFill>
                <a:srgbClr val="00B050"/>
              </a:solidFill>
              <a:latin typeface="GillSans" panose="02020500000000000000" pitchFamily="18" charset="0"/>
              <a:ea typeface="GillSans" panose="02020500000000000000" pitchFamily="18" charset="0"/>
              <a:cs typeface="GillSans" panose="02020500000000000000" pitchFamily="18" charset="0"/>
            </a:rPr>
            <a:t>Cập nhật dữ liệu</a:t>
          </a:r>
          <a:endParaRPr lang="vi-VN" sz="2400">
            <a:solidFill>
              <a:srgbClr val="00B050"/>
            </a:solidFill>
          </a:endParaRPr>
        </a:p>
      </dgm:t>
    </dgm:pt>
    <dgm:pt modelId="{593AAEB5-C312-4855-850D-C83BB5E14F4E}" type="parTrans" cxnId="{ABA1299A-DE2D-49C1-A608-41D780BAA82D}">
      <dgm:prSet/>
      <dgm:spPr/>
      <dgm:t>
        <a:bodyPr/>
        <a:lstStyle/>
        <a:p>
          <a:endParaRPr lang="vi-VN" sz="2400"/>
        </a:p>
      </dgm:t>
    </dgm:pt>
    <dgm:pt modelId="{DF31C1A4-8647-40AD-A695-BB1F77B0065D}" type="sibTrans" cxnId="{ABA1299A-DE2D-49C1-A608-41D780BAA82D}">
      <dgm:prSet/>
      <dgm:spPr/>
      <dgm:t>
        <a:bodyPr/>
        <a:lstStyle/>
        <a:p>
          <a:endParaRPr lang="vi-VN" sz="2400"/>
        </a:p>
      </dgm:t>
    </dgm:pt>
    <dgm:pt modelId="{ACB9D59F-1E9C-4FAB-A4DF-98AB43A286F5}">
      <dgm:prSet phldrT="[Text]" custT="1"/>
      <dgm:spPr/>
      <dgm:t>
        <a:bodyPr/>
        <a:lstStyle/>
        <a:p>
          <a:r>
            <a:rPr lang="en-US" sz="2400">
              <a:solidFill>
                <a:schemeClr val="tx1">
                  <a:lumMod val="85000"/>
                  <a:lumOff val="15000"/>
                </a:schemeClr>
              </a:solidFill>
              <a:latin typeface="GillSans" panose="02020500000000000000" pitchFamily="18" charset="0"/>
              <a:ea typeface="GillSans" panose="02020500000000000000" pitchFamily="18" charset="0"/>
              <a:cs typeface="GillSans" panose="02020500000000000000" pitchFamily="18" charset="0"/>
            </a:rPr>
            <a:t>S</a:t>
          </a:r>
          <a:r>
            <a:rPr lang="vi-VN" sz="2400">
              <a:solidFill>
                <a:schemeClr val="tx1">
                  <a:lumMod val="85000"/>
                  <a:lumOff val="15000"/>
                </a:schemeClr>
              </a:solidFill>
              <a:latin typeface="GillSans" panose="02020500000000000000" pitchFamily="18" charset="0"/>
              <a:ea typeface="GillSans" panose="02020500000000000000" pitchFamily="18" charset="0"/>
              <a:cs typeface="GillSans" panose="02020500000000000000" pitchFamily="18" charset="0"/>
            </a:rPr>
            <a:t>ử dụng phần mềm</a:t>
          </a:r>
          <a:endParaRPr lang="vi-VN" sz="2400"/>
        </a:p>
      </dgm:t>
    </dgm:pt>
    <dgm:pt modelId="{1C4A442F-FB66-4090-909B-2F8E51B252F6}" type="parTrans" cxnId="{0A1291F0-688E-4A41-8D51-90C61A991FBB}">
      <dgm:prSet/>
      <dgm:spPr/>
      <dgm:t>
        <a:bodyPr/>
        <a:lstStyle/>
        <a:p>
          <a:endParaRPr lang="vi-VN" sz="2400"/>
        </a:p>
      </dgm:t>
    </dgm:pt>
    <dgm:pt modelId="{425C0F78-287B-45F0-BBED-7683020B3A57}" type="sibTrans" cxnId="{0A1291F0-688E-4A41-8D51-90C61A991FBB}">
      <dgm:prSet/>
      <dgm:spPr/>
      <dgm:t>
        <a:bodyPr/>
        <a:lstStyle/>
        <a:p>
          <a:endParaRPr lang="vi-VN" sz="2400"/>
        </a:p>
      </dgm:t>
    </dgm:pt>
    <dgm:pt modelId="{3A524D57-77AE-4415-B892-15582303156C}">
      <dgm:prSet phldrT="[Text]" custT="1"/>
      <dgm:spPr/>
      <dgm:t>
        <a:bodyPr/>
        <a:lstStyle/>
        <a:p>
          <a:r>
            <a:rPr lang="vi-VN" sz="2400">
              <a:solidFill>
                <a:srgbClr val="FF0000"/>
              </a:solidFill>
              <a:latin typeface="GillSans" panose="02020500000000000000" pitchFamily="18" charset="0"/>
              <a:ea typeface="GillSans" panose="02020500000000000000" pitchFamily="18" charset="0"/>
              <a:cs typeface="GillSans" panose="02020500000000000000" pitchFamily="18" charset="0"/>
            </a:rPr>
            <a:t>Sao lưu dữ liệu</a:t>
          </a:r>
          <a:endParaRPr lang="vi-VN" sz="2400">
            <a:solidFill>
              <a:srgbClr val="FF0000"/>
            </a:solidFill>
          </a:endParaRPr>
        </a:p>
      </dgm:t>
    </dgm:pt>
    <dgm:pt modelId="{FB088943-45F9-4B0A-8270-50F2EB7C6613}" type="parTrans" cxnId="{5407E6D1-B609-41BE-9963-4592BCBE31EF}">
      <dgm:prSet/>
      <dgm:spPr/>
      <dgm:t>
        <a:bodyPr/>
        <a:lstStyle/>
        <a:p>
          <a:endParaRPr lang="vi-VN" sz="2400"/>
        </a:p>
      </dgm:t>
    </dgm:pt>
    <dgm:pt modelId="{C4B4E694-FB6C-4D35-B98F-F8728B3DC65F}" type="sibTrans" cxnId="{5407E6D1-B609-41BE-9963-4592BCBE31EF}">
      <dgm:prSet/>
      <dgm:spPr/>
      <dgm:t>
        <a:bodyPr/>
        <a:lstStyle/>
        <a:p>
          <a:endParaRPr lang="vi-VN" sz="2400"/>
        </a:p>
      </dgm:t>
    </dgm:pt>
    <dgm:pt modelId="{A6D827E8-D51E-4C29-985D-6CF5E7E66ACD}">
      <dgm:prSet phldrT="[Text]" custT="1"/>
      <dgm:spPr/>
      <dgm:t>
        <a:bodyPr/>
        <a:lstStyle/>
        <a:p>
          <a:r>
            <a:rPr lang="en-US" sz="2400">
              <a:solidFill>
                <a:schemeClr val="tx1">
                  <a:lumMod val="85000"/>
                  <a:lumOff val="15000"/>
                </a:schemeClr>
              </a:solidFill>
              <a:latin typeface="GillSans" panose="02020500000000000000" pitchFamily="18" charset="0"/>
              <a:ea typeface="GillSans" panose="02020500000000000000" pitchFamily="18" charset="0"/>
              <a:cs typeface="GillSans" panose="02020500000000000000" pitchFamily="18" charset="0"/>
            </a:rPr>
            <a:t>Q</a:t>
          </a:r>
          <a:r>
            <a:rPr lang="vi-VN" sz="2400">
              <a:solidFill>
                <a:schemeClr val="tx1">
                  <a:lumMod val="85000"/>
                  <a:lumOff val="15000"/>
                </a:schemeClr>
              </a:solidFill>
              <a:latin typeface="GillSans" panose="02020500000000000000" pitchFamily="18" charset="0"/>
              <a:ea typeface="GillSans" panose="02020500000000000000" pitchFamily="18" charset="0"/>
              <a:cs typeface="GillSans" panose="02020500000000000000" pitchFamily="18" charset="0"/>
            </a:rPr>
            <a:t>uản trị CSDL</a:t>
          </a:r>
          <a:endParaRPr lang="vi-VN" sz="2400"/>
        </a:p>
      </dgm:t>
    </dgm:pt>
    <dgm:pt modelId="{F3AD3373-1D09-4051-B582-BA95F52AE8A6}" type="parTrans" cxnId="{FDFBE620-F734-4D6A-8A17-9D501FB584C6}">
      <dgm:prSet/>
      <dgm:spPr/>
      <dgm:t>
        <a:bodyPr/>
        <a:lstStyle/>
        <a:p>
          <a:endParaRPr lang="vi-VN" sz="2400"/>
        </a:p>
      </dgm:t>
    </dgm:pt>
    <dgm:pt modelId="{8FBAFC66-E652-439C-A78E-D8875A8233CE}" type="sibTrans" cxnId="{FDFBE620-F734-4D6A-8A17-9D501FB584C6}">
      <dgm:prSet/>
      <dgm:spPr/>
      <dgm:t>
        <a:bodyPr/>
        <a:lstStyle/>
        <a:p>
          <a:endParaRPr lang="vi-VN" sz="2400"/>
        </a:p>
      </dgm:t>
    </dgm:pt>
    <dgm:pt modelId="{7FDBA1BD-531A-436B-AE27-673909B197AA}" type="pres">
      <dgm:prSet presAssocID="{71E8BB77-72BC-4B45-AE14-9AD8DC6C89CF}" presName="Name0" presStyleCnt="0">
        <dgm:presLayoutVars>
          <dgm:chMax val="7"/>
          <dgm:chPref val="7"/>
          <dgm:dir/>
          <dgm:animOne val="branch"/>
          <dgm:animLvl val="lvl"/>
        </dgm:presLayoutVars>
      </dgm:prSet>
      <dgm:spPr/>
    </dgm:pt>
    <dgm:pt modelId="{41862E1C-D16B-4F29-8D7B-147B2F9C9F8D}" type="pres">
      <dgm:prSet presAssocID="{F52C3744-14DA-4E12-B584-AC4A6D232434}" presName="ParentComposite" presStyleCnt="0"/>
      <dgm:spPr/>
    </dgm:pt>
    <dgm:pt modelId="{E515F2A8-4F82-4BC6-933C-3FDAB1AC6687}" type="pres">
      <dgm:prSet presAssocID="{F52C3744-14DA-4E12-B584-AC4A6D232434}" presName="Chord" presStyleLbl="bgShp" presStyleIdx="0" presStyleCnt="3"/>
      <dgm:spPr/>
    </dgm:pt>
    <dgm:pt modelId="{805AD590-1628-4839-B593-BD691010A4AE}" type="pres">
      <dgm:prSet presAssocID="{F52C3744-14DA-4E12-B584-AC4A6D232434}" presName="Pie" presStyleLbl="alignNode1" presStyleIdx="0" presStyleCnt="3"/>
      <dgm:spPr>
        <a:solidFill>
          <a:srgbClr val="00B0F0"/>
        </a:solidFill>
        <a:ln>
          <a:solidFill>
            <a:srgbClr val="00B0F0"/>
          </a:solidFill>
        </a:ln>
      </dgm:spPr>
    </dgm:pt>
    <dgm:pt modelId="{39711B2C-D87E-420A-A73E-C1BF7AC0BDCE}" type="pres">
      <dgm:prSet presAssocID="{F52C3744-14DA-4E12-B584-AC4A6D232434}" presName="Parent" presStyleLbl="revTx" presStyleIdx="0" presStyleCnt="6">
        <dgm:presLayoutVars>
          <dgm:chMax val="1"/>
          <dgm:chPref val="1"/>
          <dgm:bulletEnabled val="1"/>
        </dgm:presLayoutVars>
      </dgm:prSet>
      <dgm:spPr/>
    </dgm:pt>
    <dgm:pt modelId="{226BB861-C391-4EC8-91BA-25662DE1B7D8}" type="pres">
      <dgm:prSet presAssocID="{6A3A4A50-B193-4597-9D72-B8058E8367F4}" presName="negSibTrans" presStyleCnt="0"/>
      <dgm:spPr/>
    </dgm:pt>
    <dgm:pt modelId="{BD0F367A-2F3F-4152-88C8-B9311C0D43BE}" type="pres">
      <dgm:prSet presAssocID="{F52C3744-14DA-4E12-B584-AC4A6D232434}" presName="composite" presStyleCnt="0"/>
      <dgm:spPr/>
    </dgm:pt>
    <dgm:pt modelId="{42BFA08E-CFB4-471A-9AB0-EFA3008EA2A9}" type="pres">
      <dgm:prSet presAssocID="{F52C3744-14DA-4E12-B584-AC4A6D232434}" presName="Child" presStyleLbl="revTx" presStyleIdx="1" presStyleCnt="6">
        <dgm:presLayoutVars>
          <dgm:chMax val="0"/>
          <dgm:chPref val="0"/>
          <dgm:bulletEnabled val="1"/>
        </dgm:presLayoutVars>
      </dgm:prSet>
      <dgm:spPr/>
    </dgm:pt>
    <dgm:pt modelId="{18FBFC77-CA58-4EB4-BF8D-6033F6DEEC74}" type="pres">
      <dgm:prSet presAssocID="{D16F66D5-6C95-4140-97A1-B490A4744AD4}" presName="sibTrans" presStyleCnt="0"/>
      <dgm:spPr/>
    </dgm:pt>
    <dgm:pt modelId="{1D5B1634-066A-454D-99D1-0524A4C3AFE0}" type="pres">
      <dgm:prSet presAssocID="{493C57EC-8C53-4811-BB1E-C76E18185348}" presName="ParentComposite" presStyleCnt="0"/>
      <dgm:spPr/>
    </dgm:pt>
    <dgm:pt modelId="{9A47700C-3FFF-45FE-8C1F-B0DBE466C488}" type="pres">
      <dgm:prSet presAssocID="{493C57EC-8C53-4811-BB1E-C76E18185348}" presName="Chord" presStyleLbl="bgShp" presStyleIdx="1" presStyleCnt="3"/>
      <dgm:spPr/>
    </dgm:pt>
    <dgm:pt modelId="{05CBFAC5-4317-4E3E-90E1-9479FBA8FE7D}" type="pres">
      <dgm:prSet presAssocID="{493C57EC-8C53-4811-BB1E-C76E18185348}" presName="Pie" presStyleLbl="alignNode1" presStyleIdx="1" presStyleCnt="3"/>
      <dgm:spPr>
        <a:solidFill>
          <a:srgbClr val="00B050"/>
        </a:solidFill>
        <a:ln>
          <a:solidFill>
            <a:srgbClr val="00B050"/>
          </a:solidFill>
        </a:ln>
      </dgm:spPr>
    </dgm:pt>
    <dgm:pt modelId="{27AB8230-78F9-428E-BB39-27AF0A1E4476}" type="pres">
      <dgm:prSet presAssocID="{493C57EC-8C53-4811-BB1E-C76E18185348}" presName="Parent" presStyleLbl="revTx" presStyleIdx="2" presStyleCnt="6">
        <dgm:presLayoutVars>
          <dgm:chMax val="1"/>
          <dgm:chPref val="1"/>
          <dgm:bulletEnabled val="1"/>
        </dgm:presLayoutVars>
      </dgm:prSet>
      <dgm:spPr/>
    </dgm:pt>
    <dgm:pt modelId="{CDEF3268-12C5-4225-A997-FAE35A89E5DF}" type="pres">
      <dgm:prSet presAssocID="{425C0F78-287B-45F0-BBED-7683020B3A57}" presName="negSibTrans" presStyleCnt="0"/>
      <dgm:spPr/>
    </dgm:pt>
    <dgm:pt modelId="{E0BDC9C0-F64D-4569-B974-8FD5439A5130}" type="pres">
      <dgm:prSet presAssocID="{493C57EC-8C53-4811-BB1E-C76E18185348}" presName="composite" presStyleCnt="0"/>
      <dgm:spPr/>
    </dgm:pt>
    <dgm:pt modelId="{536F2803-1A91-4224-BA5E-3F16C9E272F0}" type="pres">
      <dgm:prSet presAssocID="{493C57EC-8C53-4811-BB1E-C76E18185348}" presName="Child" presStyleLbl="revTx" presStyleIdx="3" presStyleCnt="6">
        <dgm:presLayoutVars>
          <dgm:chMax val="0"/>
          <dgm:chPref val="0"/>
          <dgm:bulletEnabled val="1"/>
        </dgm:presLayoutVars>
      </dgm:prSet>
      <dgm:spPr/>
    </dgm:pt>
    <dgm:pt modelId="{8BA1D6D0-C39B-4F55-BCFB-091E8D52FFB4}" type="pres">
      <dgm:prSet presAssocID="{DF31C1A4-8647-40AD-A695-BB1F77B0065D}" presName="sibTrans" presStyleCnt="0"/>
      <dgm:spPr/>
    </dgm:pt>
    <dgm:pt modelId="{19834EA9-5F18-48E3-9378-C7083DA92651}" type="pres">
      <dgm:prSet presAssocID="{3A524D57-77AE-4415-B892-15582303156C}" presName="ParentComposite" presStyleCnt="0"/>
      <dgm:spPr/>
    </dgm:pt>
    <dgm:pt modelId="{D8E0D116-0A5F-4760-9F6A-9F135C410D03}" type="pres">
      <dgm:prSet presAssocID="{3A524D57-77AE-4415-B892-15582303156C}" presName="Chord" presStyleLbl="bgShp" presStyleIdx="2" presStyleCnt="3"/>
      <dgm:spPr/>
    </dgm:pt>
    <dgm:pt modelId="{8C0B63C6-31A3-4673-A518-44DB055C9818}" type="pres">
      <dgm:prSet presAssocID="{3A524D57-77AE-4415-B892-15582303156C}" presName="Pie" presStyleLbl="alignNode1" presStyleIdx="2" presStyleCnt="3"/>
      <dgm:spPr>
        <a:solidFill>
          <a:srgbClr val="FF0000"/>
        </a:solidFill>
        <a:ln>
          <a:solidFill>
            <a:srgbClr val="FF0000"/>
          </a:solidFill>
        </a:ln>
      </dgm:spPr>
    </dgm:pt>
    <dgm:pt modelId="{F54750E2-C4A7-4349-8EDF-B343EEC9704A}" type="pres">
      <dgm:prSet presAssocID="{3A524D57-77AE-4415-B892-15582303156C}" presName="Parent" presStyleLbl="revTx" presStyleIdx="4" presStyleCnt="6">
        <dgm:presLayoutVars>
          <dgm:chMax val="1"/>
          <dgm:chPref val="1"/>
          <dgm:bulletEnabled val="1"/>
        </dgm:presLayoutVars>
      </dgm:prSet>
      <dgm:spPr/>
    </dgm:pt>
    <dgm:pt modelId="{9A881571-23E8-4C4F-B910-6EC6B5FB6386}" type="pres">
      <dgm:prSet presAssocID="{8FBAFC66-E652-439C-A78E-D8875A8233CE}" presName="negSibTrans" presStyleCnt="0"/>
      <dgm:spPr/>
    </dgm:pt>
    <dgm:pt modelId="{129E9808-3E58-4B66-AA45-37E0F4DF12E6}" type="pres">
      <dgm:prSet presAssocID="{3A524D57-77AE-4415-B892-15582303156C}" presName="composite" presStyleCnt="0"/>
      <dgm:spPr/>
    </dgm:pt>
    <dgm:pt modelId="{79CEAEC6-3CE1-4A74-A239-A36702DE4810}" type="pres">
      <dgm:prSet presAssocID="{3A524D57-77AE-4415-B892-15582303156C}" presName="Child" presStyleLbl="revTx" presStyleIdx="5" presStyleCnt="6">
        <dgm:presLayoutVars>
          <dgm:chMax val="0"/>
          <dgm:chPref val="0"/>
          <dgm:bulletEnabled val="1"/>
        </dgm:presLayoutVars>
      </dgm:prSet>
      <dgm:spPr/>
    </dgm:pt>
  </dgm:ptLst>
  <dgm:cxnLst>
    <dgm:cxn modelId="{53D35418-D90B-483A-BFC2-AD834A63DCA1}" type="presOf" srcId="{F52C3744-14DA-4E12-B584-AC4A6D232434}" destId="{39711B2C-D87E-420A-A73E-C1BF7AC0BDCE}" srcOrd="0" destOrd="0" presId="urn:microsoft.com/office/officeart/2009/3/layout/PieProcess"/>
    <dgm:cxn modelId="{FDFBE620-F734-4D6A-8A17-9D501FB584C6}" srcId="{3A524D57-77AE-4415-B892-15582303156C}" destId="{A6D827E8-D51E-4C29-985D-6CF5E7E66ACD}" srcOrd="0" destOrd="0" parTransId="{F3AD3373-1D09-4051-B582-BA95F52AE8A6}" sibTransId="{8FBAFC66-E652-439C-A78E-D8875A8233CE}"/>
    <dgm:cxn modelId="{FE217426-D8FC-4102-B5DB-26DE1F9E60E2}" type="presOf" srcId="{493C57EC-8C53-4811-BB1E-C76E18185348}" destId="{27AB8230-78F9-428E-BB39-27AF0A1E4476}" srcOrd="0" destOrd="0" presId="urn:microsoft.com/office/officeart/2009/3/layout/PieProcess"/>
    <dgm:cxn modelId="{C852C72A-9DA1-4658-AD99-9031D40D6045}" type="presOf" srcId="{ACB9D59F-1E9C-4FAB-A4DF-98AB43A286F5}" destId="{536F2803-1A91-4224-BA5E-3F16C9E272F0}" srcOrd="0" destOrd="0" presId="urn:microsoft.com/office/officeart/2009/3/layout/PieProcess"/>
    <dgm:cxn modelId="{618C496E-6D66-4F81-9A50-157E8F611802}" srcId="{F52C3744-14DA-4E12-B584-AC4A6D232434}" destId="{9769DDAF-C28A-4466-8168-75D23F1F0BB5}" srcOrd="0" destOrd="0" parTransId="{798FBC98-7637-4737-8A58-F2A4D4A01B57}" sibTransId="{6A3A4A50-B193-4597-9D72-B8058E8367F4}"/>
    <dgm:cxn modelId="{F2948F70-4098-4F13-AB72-BFF3BBCBBE8D}" type="presOf" srcId="{71E8BB77-72BC-4B45-AE14-9AD8DC6C89CF}" destId="{7FDBA1BD-531A-436B-AE27-673909B197AA}" srcOrd="0" destOrd="0" presId="urn:microsoft.com/office/officeart/2009/3/layout/PieProcess"/>
    <dgm:cxn modelId="{BF4E6A54-E4C9-4A69-BC10-0F4C8E30CB13}" type="presOf" srcId="{3A524D57-77AE-4415-B892-15582303156C}" destId="{F54750E2-C4A7-4349-8EDF-B343EEC9704A}" srcOrd="0" destOrd="0" presId="urn:microsoft.com/office/officeart/2009/3/layout/PieProcess"/>
    <dgm:cxn modelId="{674E367B-159E-4DA6-AAED-6A099F775A21}" srcId="{71E8BB77-72BC-4B45-AE14-9AD8DC6C89CF}" destId="{F52C3744-14DA-4E12-B584-AC4A6D232434}" srcOrd="0" destOrd="0" parTransId="{FA523F06-F208-4126-A905-6AAAF3C80B6C}" sibTransId="{D16F66D5-6C95-4140-97A1-B490A4744AD4}"/>
    <dgm:cxn modelId="{A56D8F8A-04EA-4324-9667-6496BC93027F}" type="presOf" srcId="{A6D827E8-D51E-4C29-985D-6CF5E7E66ACD}" destId="{79CEAEC6-3CE1-4A74-A239-A36702DE4810}" srcOrd="0" destOrd="0" presId="urn:microsoft.com/office/officeart/2009/3/layout/PieProcess"/>
    <dgm:cxn modelId="{ABA1299A-DE2D-49C1-A608-41D780BAA82D}" srcId="{71E8BB77-72BC-4B45-AE14-9AD8DC6C89CF}" destId="{493C57EC-8C53-4811-BB1E-C76E18185348}" srcOrd="1" destOrd="0" parTransId="{593AAEB5-C312-4855-850D-C83BB5E14F4E}" sibTransId="{DF31C1A4-8647-40AD-A695-BB1F77B0065D}"/>
    <dgm:cxn modelId="{8A31A6A9-AD8E-41C2-B0D3-9784E5E97E01}" type="presOf" srcId="{9769DDAF-C28A-4466-8168-75D23F1F0BB5}" destId="{42BFA08E-CFB4-471A-9AB0-EFA3008EA2A9}" srcOrd="0" destOrd="0" presId="urn:microsoft.com/office/officeart/2009/3/layout/PieProcess"/>
    <dgm:cxn modelId="{5407E6D1-B609-41BE-9963-4592BCBE31EF}" srcId="{71E8BB77-72BC-4B45-AE14-9AD8DC6C89CF}" destId="{3A524D57-77AE-4415-B892-15582303156C}" srcOrd="2" destOrd="0" parTransId="{FB088943-45F9-4B0A-8270-50F2EB7C6613}" sibTransId="{C4B4E694-FB6C-4D35-B98F-F8728B3DC65F}"/>
    <dgm:cxn modelId="{0A1291F0-688E-4A41-8D51-90C61A991FBB}" srcId="{493C57EC-8C53-4811-BB1E-C76E18185348}" destId="{ACB9D59F-1E9C-4FAB-A4DF-98AB43A286F5}" srcOrd="0" destOrd="0" parTransId="{1C4A442F-FB66-4090-909B-2F8E51B252F6}" sibTransId="{425C0F78-287B-45F0-BBED-7683020B3A57}"/>
    <dgm:cxn modelId="{0B7981ED-EBD6-44CB-8328-24E5EE118B83}" type="presParOf" srcId="{7FDBA1BD-531A-436B-AE27-673909B197AA}" destId="{41862E1C-D16B-4F29-8D7B-147B2F9C9F8D}" srcOrd="0" destOrd="0" presId="urn:microsoft.com/office/officeart/2009/3/layout/PieProcess"/>
    <dgm:cxn modelId="{71F68577-F28E-4278-89F9-2B58CDFAF0AB}" type="presParOf" srcId="{41862E1C-D16B-4F29-8D7B-147B2F9C9F8D}" destId="{E515F2A8-4F82-4BC6-933C-3FDAB1AC6687}" srcOrd="0" destOrd="0" presId="urn:microsoft.com/office/officeart/2009/3/layout/PieProcess"/>
    <dgm:cxn modelId="{B01CFCE9-FB14-4ADF-A9FB-BBF3E179C5E8}" type="presParOf" srcId="{41862E1C-D16B-4F29-8D7B-147B2F9C9F8D}" destId="{805AD590-1628-4839-B593-BD691010A4AE}" srcOrd="1" destOrd="0" presId="urn:microsoft.com/office/officeart/2009/3/layout/PieProcess"/>
    <dgm:cxn modelId="{ACADBE0F-474D-4367-B872-F4EB796EC05B}" type="presParOf" srcId="{41862E1C-D16B-4F29-8D7B-147B2F9C9F8D}" destId="{39711B2C-D87E-420A-A73E-C1BF7AC0BDCE}" srcOrd="2" destOrd="0" presId="urn:microsoft.com/office/officeart/2009/3/layout/PieProcess"/>
    <dgm:cxn modelId="{D590D474-7791-4ACC-8EF6-B490B9CE0251}" type="presParOf" srcId="{7FDBA1BD-531A-436B-AE27-673909B197AA}" destId="{226BB861-C391-4EC8-91BA-25662DE1B7D8}" srcOrd="1" destOrd="0" presId="urn:microsoft.com/office/officeart/2009/3/layout/PieProcess"/>
    <dgm:cxn modelId="{93E1C6C9-ECF5-4BC8-A544-6E43D1B3770E}" type="presParOf" srcId="{7FDBA1BD-531A-436B-AE27-673909B197AA}" destId="{BD0F367A-2F3F-4152-88C8-B9311C0D43BE}" srcOrd="2" destOrd="0" presId="urn:microsoft.com/office/officeart/2009/3/layout/PieProcess"/>
    <dgm:cxn modelId="{52547578-665A-45CC-A570-7E32C6FD6EBC}" type="presParOf" srcId="{BD0F367A-2F3F-4152-88C8-B9311C0D43BE}" destId="{42BFA08E-CFB4-471A-9AB0-EFA3008EA2A9}" srcOrd="0" destOrd="0" presId="urn:microsoft.com/office/officeart/2009/3/layout/PieProcess"/>
    <dgm:cxn modelId="{40768112-1BCE-4805-89D4-529D070B468F}" type="presParOf" srcId="{7FDBA1BD-531A-436B-AE27-673909B197AA}" destId="{18FBFC77-CA58-4EB4-BF8D-6033F6DEEC74}" srcOrd="3" destOrd="0" presId="urn:microsoft.com/office/officeart/2009/3/layout/PieProcess"/>
    <dgm:cxn modelId="{4C92D06B-C59A-4918-B84C-48DC9EDBD5F5}" type="presParOf" srcId="{7FDBA1BD-531A-436B-AE27-673909B197AA}" destId="{1D5B1634-066A-454D-99D1-0524A4C3AFE0}" srcOrd="4" destOrd="0" presId="urn:microsoft.com/office/officeart/2009/3/layout/PieProcess"/>
    <dgm:cxn modelId="{FBC3F40B-D6CD-43E9-81D4-2E3B63691FD3}" type="presParOf" srcId="{1D5B1634-066A-454D-99D1-0524A4C3AFE0}" destId="{9A47700C-3FFF-45FE-8C1F-B0DBE466C488}" srcOrd="0" destOrd="0" presId="urn:microsoft.com/office/officeart/2009/3/layout/PieProcess"/>
    <dgm:cxn modelId="{467E6565-03B8-488A-8AF5-6AD573A12ABB}" type="presParOf" srcId="{1D5B1634-066A-454D-99D1-0524A4C3AFE0}" destId="{05CBFAC5-4317-4E3E-90E1-9479FBA8FE7D}" srcOrd="1" destOrd="0" presId="urn:microsoft.com/office/officeart/2009/3/layout/PieProcess"/>
    <dgm:cxn modelId="{70AAE703-F2EF-4ECE-82B5-9D112E3E0710}" type="presParOf" srcId="{1D5B1634-066A-454D-99D1-0524A4C3AFE0}" destId="{27AB8230-78F9-428E-BB39-27AF0A1E4476}" srcOrd="2" destOrd="0" presId="urn:microsoft.com/office/officeart/2009/3/layout/PieProcess"/>
    <dgm:cxn modelId="{74D3F723-1EBB-41C9-AC0B-8FF411D22C3A}" type="presParOf" srcId="{7FDBA1BD-531A-436B-AE27-673909B197AA}" destId="{CDEF3268-12C5-4225-A997-FAE35A89E5DF}" srcOrd="5" destOrd="0" presId="urn:microsoft.com/office/officeart/2009/3/layout/PieProcess"/>
    <dgm:cxn modelId="{38835979-2A31-403D-AE9D-B03849C3B9FC}" type="presParOf" srcId="{7FDBA1BD-531A-436B-AE27-673909B197AA}" destId="{E0BDC9C0-F64D-4569-B974-8FD5439A5130}" srcOrd="6" destOrd="0" presId="urn:microsoft.com/office/officeart/2009/3/layout/PieProcess"/>
    <dgm:cxn modelId="{A735F6A5-8CBE-46D4-9384-52B8CFFD80FD}" type="presParOf" srcId="{E0BDC9C0-F64D-4569-B974-8FD5439A5130}" destId="{536F2803-1A91-4224-BA5E-3F16C9E272F0}" srcOrd="0" destOrd="0" presId="urn:microsoft.com/office/officeart/2009/3/layout/PieProcess"/>
    <dgm:cxn modelId="{EA358C55-EBA7-4341-8769-98E3F4C7C33C}" type="presParOf" srcId="{7FDBA1BD-531A-436B-AE27-673909B197AA}" destId="{8BA1D6D0-C39B-4F55-BCFB-091E8D52FFB4}" srcOrd="7" destOrd="0" presId="urn:microsoft.com/office/officeart/2009/3/layout/PieProcess"/>
    <dgm:cxn modelId="{E51E15D0-0B1C-4E37-86CB-BDCEE04BA954}" type="presParOf" srcId="{7FDBA1BD-531A-436B-AE27-673909B197AA}" destId="{19834EA9-5F18-48E3-9378-C7083DA92651}" srcOrd="8" destOrd="0" presId="urn:microsoft.com/office/officeart/2009/3/layout/PieProcess"/>
    <dgm:cxn modelId="{B13F1F60-AE4C-4A01-8ED6-DBDAEF64FF68}" type="presParOf" srcId="{19834EA9-5F18-48E3-9378-C7083DA92651}" destId="{D8E0D116-0A5F-4760-9F6A-9F135C410D03}" srcOrd="0" destOrd="0" presId="urn:microsoft.com/office/officeart/2009/3/layout/PieProcess"/>
    <dgm:cxn modelId="{5F7E993B-DC9A-4D46-B1E5-6303C5F7FBA0}" type="presParOf" srcId="{19834EA9-5F18-48E3-9378-C7083DA92651}" destId="{8C0B63C6-31A3-4673-A518-44DB055C9818}" srcOrd="1" destOrd="0" presId="urn:microsoft.com/office/officeart/2009/3/layout/PieProcess"/>
    <dgm:cxn modelId="{A625DB8B-CFCB-4188-93FF-B0EF50C1FC42}" type="presParOf" srcId="{19834EA9-5F18-48E3-9378-C7083DA92651}" destId="{F54750E2-C4A7-4349-8EDF-B343EEC9704A}" srcOrd="2" destOrd="0" presId="urn:microsoft.com/office/officeart/2009/3/layout/PieProcess"/>
    <dgm:cxn modelId="{8033900D-3222-48DF-9191-C9888F6CEFB2}" type="presParOf" srcId="{7FDBA1BD-531A-436B-AE27-673909B197AA}" destId="{9A881571-23E8-4C4F-B910-6EC6B5FB6386}" srcOrd="9" destOrd="0" presId="urn:microsoft.com/office/officeart/2009/3/layout/PieProcess"/>
    <dgm:cxn modelId="{C7FF5EFE-522F-466D-B052-5B730B98B60B}" type="presParOf" srcId="{7FDBA1BD-531A-436B-AE27-673909B197AA}" destId="{129E9808-3E58-4B66-AA45-37E0F4DF12E6}" srcOrd="10" destOrd="0" presId="urn:microsoft.com/office/officeart/2009/3/layout/PieProcess"/>
    <dgm:cxn modelId="{B546BC56-D510-45F1-9252-7355ACB625A5}" type="presParOf" srcId="{129E9808-3E58-4B66-AA45-37E0F4DF12E6}" destId="{79CEAEC6-3CE1-4A74-A239-A36702DE4810}" srcOrd="0" destOrd="0" presId="urn:microsoft.com/office/officeart/2009/3/layout/Pie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15F2A8-4F82-4BC6-933C-3FDAB1AC6687}">
      <dsp:nvSpPr>
        <dsp:cNvPr id="0" name=""/>
        <dsp:cNvSpPr/>
      </dsp:nvSpPr>
      <dsp:spPr>
        <a:xfrm>
          <a:off x="575268" y="0"/>
          <a:ext cx="776121" cy="776121"/>
        </a:xfrm>
        <a:prstGeom prst="chord">
          <a:avLst>
            <a:gd name="adj1" fmla="val 4800000"/>
            <a:gd name="adj2" fmla="val 1680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05AD590-1628-4839-B593-BD691010A4AE}">
      <dsp:nvSpPr>
        <dsp:cNvPr id="0" name=""/>
        <dsp:cNvSpPr/>
      </dsp:nvSpPr>
      <dsp:spPr>
        <a:xfrm>
          <a:off x="652881" y="77612"/>
          <a:ext cx="620897" cy="620897"/>
        </a:xfrm>
        <a:prstGeom prst="pie">
          <a:avLst>
            <a:gd name="adj1" fmla="val 12600000"/>
            <a:gd name="adj2" fmla="val 16200000"/>
          </a:avLst>
        </a:prstGeom>
        <a:solidFill>
          <a:srgbClr val="00B0F0"/>
        </a:solidFill>
        <a:ln w="12700" cap="flat" cmpd="sng" algn="ctr">
          <a:solidFill>
            <a:srgbClr val="00B0F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9711B2C-D87E-420A-A73E-C1BF7AC0BDCE}">
      <dsp:nvSpPr>
        <dsp:cNvPr id="0" name=""/>
        <dsp:cNvSpPr/>
      </dsp:nvSpPr>
      <dsp:spPr>
        <a:xfrm rot="16200000">
          <a:off x="-317270" y="1746272"/>
          <a:ext cx="2250751" cy="4656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marL="0" lvl="0" indent="0" algn="r" defTabSz="1066800">
            <a:lnSpc>
              <a:spcPct val="90000"/>
            </a:lnSpc>
            <a:spcBef>
              <a:spcPct val="0"/>
            </a:spcBef>
            <a:spcAft>
              <a:spcPct val="35000"/>
            </a:spcAft>
            <a:buNone/>
          </a:pPr>
          <a:r>
            <a:rPr lang="vi-VN" sz="2400" kern="1200">
              <a:solidFill>
                <a:srgbClr val="00B0F0"/>
              </a:solidFill>
              <a:latin typeface="GillSans" panose="02020500000000000000" pitchFamily="18" charset="0"/>
              <a:ea typeface="GillSans" panose="02020500000000000000" pitchFamily="18" charset="0"/>
              <a:cs typeface="GillSans" panose="02020500000000000000" pitchFamily="18" charset="0"/>
            </a:rPr>
            <a:t>Thiết kế dữ liệu</a:t>
          </a:r>
          <a:endParaRPr lang="vi-VN" sz="2400" kern="1200">
            <a:solidFill>
              <a:srgbClr val="00B0F0"/>
            </a:solidFill>
          </a:endParaRPr>
        </a:p>
      </dsp:txBody>
      <dsp:txXfrm>
        <a:off x="-317270" y="1746272"/>
        <a:ext cx="2250751" cy="465672"/>
      </dsp:txXfrm>
    </dsp:sp>
    <dsp:sp modelId="{42BFA08E-CFB4-471A-9AB0-EFA3008EA2A9}">
      <dsp:nvSpPr>
        <dsp:cNvPr id="0" name=""/>
        <dsp:cNvSpPr/>
      </dsp:nvSpPr>
      <dsp:spPr>
        <a:xfrm>
          <a:off x="1118553" y="0"/>
          <a:ext cx="1552242" cy="31044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066800">
            <a:lnSpc>
              <a:spcPct val="90000"/>
            </a:lnSpc>
            <a:spcBef>
              <a:spcPct val="0"/>
            </a:spcBef>
            <a:spcAft>
              <a:spcPct val="35000"/>
            </a:spcAft>
            <a:buNone/>
          </a:pPr>
          <a:r>
            <a:rPr lang="en-US" sz="2400" kern="1200">
              <a:solidFill>
                <a:schemeClr val="tx1">
                  <a:lumMod val="85000"/>
                  <a:lumOff val="15000"/>
                </a:schemeClr>
              </a:solidFill>
              <a:latin typeface="GillSans" panose="02020500000000000000" pitchFamily="18" charset="0"/>
              <a:ea typeface="GillSans" panose="02020500000000000000" pitchFamily="18" charset="0"/>
              <a:cs typeface="GillSans" panose="02020500000000000000" pitchFamily="18" charset="0"/>
            </a:rPr>
            <a:t>L</a:t>
          </a:r>
          <a:r>
            <a:rPr lang="vi-VN" sz="2400" kern="1200">
              <a:solidFill>
                <a:schemeClr val="tx1">
                  <a:lumMod val="85000"/>
                  <a:lumOff val="15000"/>
                </a:schemeClr>
              </a:solidFill>
              <a:latin typeface="GillSans" panose="02020500000000000000" pitchFamily="18" charset="0"/>
              <a:ea typeface="GillSans" panose="02020500000000000000" pitchFamily="18" charset="0"/>
              <a:cs typeface="GillSans" panose="02020500000000000000" pitchFamily="18" charset="0"/>
            </a:rPr>
            <a:t>àm phần mềm</a:t>
          </a:r>
          <a:endParaRPr lang="vi-VN" sz="2400" kern="1200"/>
        </a:p>
      </dsp:txBody>
      <dsp:txXfrm>
        <a:off x="1118553" y="0"/>
        <a:ext cx="1552242" cy="3104485"/>
      </dsp:txXfrm>
    </dsp:sp>
    <dsp:sp modelId="{9A47700C-3FFF-45FE-8C1F-B0DBE466C488}">
      <dsp:nvSpPr>
        <dsp:cNvPr id="0" name=""/>
        <dsp:cNvSpPr/>
      </dsp:nvSpPr>
      <dsp:spPr>
        <a:xfrm>
          <a:off x="3016236" y="0"/>
          <a:ext cx="776121" cy="776121"/>
        </a:xfrm>
        <a:prstGeom prst="chord">
          <a:avLst>
            <a:gd name="adj1" fmla="val 4800000"/>
            <a:gd name="adj2" fmla="val 1680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5CBFAC5-4317-4E3E-90E1-9479FBA8FE7D}">
      <dsp:nvSpPr>
        <dsp:cNvPr id="0" name=""/>
        <dsp:cNvSpPr/>
      </dsp:nvSpPr>
      <dsp:spPr>
        <a:xfrm>
          <a:off x="3093848" y="77612"/>
          <a:ext cx="620897" cy="620897"/>
        </a:xfrm>
        <a:prstGeom prst="pie">
          <a:avLst>
            <a:gd name="adj1" fmla="val 9000000"/>
            <a:gd name="adj2" fmla="val 16200000"/>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7AB8230-78F9-428E-BB39-27AF0A1E4476}">
      <dsp:nvSpPr>
        <dsp:cNvPr id="0" name=""/>
        <dsp:cNvSpPr/>
      </dsp:nvSpPr>
      <dsp:spPr>
        <a:xfrm rot="16200000">
          <a:off x="2123696" y="1746272"/>
          <a:ext cx="2250751" cy="4656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marL="0" lvl="0" indent="0" algn="r" defTabSz="1066800">
            <a:lnSpc>
              <a:spcPct val="90000"/>
            </a:lnSpc>
            <a:spcBef>
              <a:spcPct val="0"/>
            </a:spcBef>
            <a:spcAft>
              <a:spcPct val="35000"/>
            </a:spcAft>
            <a:buNone/>
          </a:pPr>
          <a:r>
            <a:rPr lang="vi-VN" sz="2400" kern="1200">
              <a:solidFill>
                <a:srgbClr val="00B050"/>
              </a:solidFill>
              <a:latin typeface="GillSans" panose="02020500000000000000" pitchFamily="18" charset="0"/>
              <a:ea typeface="GillSans" panose="02020500000000000000" pitchFamily="18" charset="0"/>
              <a:cs typeface="GillSans" panose="02020500000000000000" pitchFamily="18" charset="0"/>
            </a:rPr>
            <a:t>Cập nhật dữ liệu</a:t>
          </a:r>
          <a:endParaRPr lang="vi-VN" sz="2400" kern="1200">
            <a:solidFill>
              <a:srgbClr val="00B050"/>
            </a:solidFill>
          </a:endParaRPr>
        </a:p>
      </dsp:txBody>
      <dsp:txXfrm>
        <a:off x="2123696" y="1746272"/>
        <a:ext cx="2250751" cy="465672"/>
      </dsp:txXfrm>
    </dsp:sp>
    <dsp:sp modelId="{536F2803-1A91-4224-BA5E-3F16C9E272F0}">
      <dsp:nvSpPr>
        <dsp:cNvPr id="0" name=""/>
        <dsp:cNvSpPr/>
      </dsp:nvSpPr>
      <dsp:spPr>
        <a:xfrm>
          <a:off x="3559521" y="0"/>
          <a:ext cx="1552242" cy="31044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066800">
            <a:lnSpc>
              <a:spcPct val="90000"/>
            </a:lnSpc>
            <a:spcBef>
              <a:spcPct val="0"/>
            </a:spcBef>
            <a:spcAft>
              <a:spcPct val="35000"/>
            </a:spcAft>
            <a:buNone/>
          </a:pPr>
          <a:r>
            <a:rPr lang="en-US" sz="2400" kern="1200">
              <a:solidFill>
                <a:schemeClr val="tx1">
                  <a:lumMod val="85000"/>
                  <a:lumOff val="15000"/>
                </a:schemeClr>
              </a:solidFill>
              <a:latin typeface="GillSans" panose="02020500000000000000" pitchFamily="18" charset="0"/>
              <a:ea typeface="GillSans" panose="02020500000000000000" pitchFamily="18" charset="0"/>
              <a:cs typeface="GillSans" panose="02020500000000000000" pitchFamily="18" charset="0"/>
            </a:rPr>
            <a:t>S</a:t>
          </a:r>
          <a:r>
            <a:rPr lang="vi-VN" sz="2400" kern="1200">
              <a:solidFill>
                <a:schemeClr val="tx1">
                  <a:lumMod val="85000"/>
                  <a:lumOff val="15000"/>
                </a:schemeClr>
              </a:solidFill>
              <a:latin typeface="GillSans" panose="02020500000000000000" pitchFamily="18" charset="0"/>
              <a:ea typeface="GillSans" panose="02020500000000000000" pitchFamily="18" charset="0"/>
              <a:cs typeface="GillSans" panose="02020500000000000000" pitchFamily="18" charset="0"/>
            </a:rPr>
            <a:t>ử dụng phần mềm</a:t>
          </a:r>
          <a:endParaRPr lang="vi-VN" sz="2400" kern="1200"/>
        </a:p>
      </dsp:txBody>
      <dsp:txXfrm>
        <a:off x="3559521" y="0"/>
        <a:ext cx="1552242" cy="3104485"/>
      </dsp:txXfrm>
    </dsp:sp>
    <dsp:sp modelId="{D8E0D116-0A5F-4760-9F6A-9F135C410D03}">
      <dsp:nvSpPr>
        <dsp:cNvPr id="0" name=""/>
        <dsp:cNvSpPr/>
      </dsp:nvSpPr>
      <dsp:spPr>
        <a:xfrm>
          <a:off x="5457203" y="0"/>
          <a:ext cx="776121" cy="776121"/>
        </a:xfrm>
        <a:prstGeom prst="chord">
          <a:avLst>
            <a:gd name="adj1" fmla="val 4800000"/>
            <a:gd name="adj2" fmla="val 1680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C0B63C6-31A3-4673-A518-44DB055C9818}">
      <dsp:nvSpPr>
        <dsp:cNvPr id="0" name=""/>
        <dsp:cNvSpPr/>
      </dsp:nvSpPr>
      <dsp:spPr>
        <a:xfrm>
          <a:off x="5534815" y="77612"/>
          <a:ext cx="620897" cy="620897"/>
        </a:xfrm>
        <a:prstGeom prst="pie">
          <a:avLst>
            <a:gd name="adj1" fmla="val 5400000"/>
            <a:gd name="adj2" fmla="val 16200000"/>
          </a:avLst>
        </a:prstGeom>
        <a:solidFill>
          <a:srgbClr val="FF0000"/>
        </a:solidFill>
        <a:ln w="12700" cap="flat" cmpd="sng" algn="ctr">
          <a:solidFill>
            <a:srgbClr val="FF000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54750E2-C4A7-4349-8EDF-B343EEC9704A}">
      <dsp:nvSpPr>
        <dsp:cNvPr id="0" name=""/>
        <dsp:cNvSpPr/>
      </dsp:nvSpPr>
      <dsp:spPr>
        <a:xfrm rot="16200000">
          <a:off x="4564664" y="1746272"/>
          <a:ext cx="2250751" cy="4656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marL="0" lvl="0" indent="0" algn="r" defTabSz="1066800">
            <a:lnSpc>
              <a:spcPct val="90000"/>
            </a:lnSpc>
            <a:spcBef>
              <a:spcPct val="0"/>
            </a:spcBef>
            <a:spcAft>
              <a:spcPct val="35000"/>
            </a:spcAft>
            <a:buNone/>
          </a:pPr>
          <a:r>
            <a:rPr lang="vi-VN" sz="2400" kern="1200">
              <a:solidFill>
                <a:srgbClr val="FF0000"/>
              </a:solidFill>
              <a:latin typeface="GillSans" panose="02020500000000000000" pitchFamily="18" charset="0"/>
              <a:ea typeface="GillSans" panose="02020500000000000000" pitchFamily="18" charset="0"/>
              <a:cs typeface="GillSans" panose="02020500000000000000" pitchFamily="18" charset="0"/>
            </a:rPr>
            <a:t>Sao lưu dữ liệu</a:t>
          </a:r>
          <a:endParaRPr lang="vi-VN" sz="2400" kern="1200">
            <a:solidFill>
              <a:srgbClr val="FF0000"/>
            </a:solidFill>
          </a:endParaRPr>
        </a:p>
      </dsp:txBody>
      <dsp:txXfrm>
        <a:off x="4564664" y="1746272"/>
        <a:ext cx="2250751" cy="465672"/>
      </dsp:txXfrm>
    </dsp:sp>
    <dsp:sp modelId="{79CEAEC6-3CE1-4A74-A239-A36702DE4810}">
      <dsp:nvSpPr>
        <dsp:cNvPr id="0" name=""/>
        <dsp:cNvSpPr/>
      </dsp:nvSpPr>
      <dsp:spPr>
        <a:xfrm>
          <a:off x="6000488" y="0"/>
          <a:ext cx="1552242" cy="31044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066800">
            <a:lnSpc>
              <a:spcPct val="90000"/>
            </a:lnSpc>
            <a:spcBef>
              <a:spcPct val="0"/>
            </a:spcBef>
            <a:spcAft>
              <a:spcPct val="35000"/>
            </a:spcAft>
            <a:buNone/>
          </a:pPr>
          <a:r>
            <a:rPr lang="en-US" sz="2400" kern="1200">
              <a:solidFill>
                <a:schemeClr val="tx1">
                  <a:lumMod val="85000"/>
                  <a:lumOff val="15000"/>
                </a:schemeClr>
              </a:solidFill>
              <a:latin typeface="GillSans" panose="02020500000000000000" pitchFamily="18" charset="0"/>
              <a:ea typeface="GillSans" panose="02020500000000000000" pitchFamily="18" charset="0"/>
              <a:cs typeface="GillSans" panose="02020500000000000000" pitchFamily="18" charset="0"/>
            </a:rPr>
            <a:t>Q</a:t>
          </a:r>
          <a:r>
            <a:rPr lang="vi-VN" sz="2400" kern="1200">
              <a:solidFill>
                <a:schemeClr val="tx1">
                  <a:lumMod val="85000"/>
                  <a:lumOff val="15000"/>
                </a:schemeClr>
              </a:solidFill>
              <a:latin typeface="GillSans" panose="02020500000000000000" pitchFamily="18" charset="0"/>
              <a:ea typeface="GillSans" panose="02020500000000000000" pitchFamily="18" charset="0"/>
              <a:cs typeface="GillSans" panose="02020500000000000000" pitchFamily="18" charset="0"/>
            </a:rPr>
            <a:t>uản trị CSDL</a:t>
          </a:r>
          <a:endParaRPr lang="vi-VN" sz="2400" kern="1200"/>
        </a:p>
      </dsp:txBody>
      <dsp:txXfrm>
        <a:off x="6000488" y="0"/>
        <a:ext cx="1552242" cy="3104485"/>
      </dsp:txXfrm>
    </dsp:sp>
  </dsp:spTree>
</dsp:drawing>
</file>

<file path=ppt/diagrams/layout1.xml><?xml version="1.0" encoding="utf-8"?>
<dgm:layoutDef xmlns:dgm="http://schemas.openxmlformats.org/drawingml/2006/diagram" xmlns:a="http://schemas.openxmlformats.org/drawingml/2006/main" uniqueId="urn:microsoft.com/office/officeart/2009/3/layout/PieProcess">
  <dgm:title val=""/>
  <dgm:desc val=""/>
  <dgm:catLst>
    <dgm:cat type="list" pri="8600"/>
    <dgm:cat type="process" pri="4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One val="branch"/>
      <dgm:animLvl val="lvl"/>
    </dgm:varLst>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constrLst>
      <dgm:constr type="primFontSz" for="des" forName="Parent" val="65"/>
      <dgm:constr type="primFontSz" for="des" forName="Child" refType="primFontSz" refFor="des" refForName="Parent" op="lte"/>
      <dgm:constr type="w" for="ch" forName="composite" refType="w"/>
      <dgm:constr type="h" for="ch" forName="composite" refType="h"/>
      <dgm:constr type="w" for="ch" forName="ParentComposite" refType="w" fact="0.5"/>
      <dgm:constr type="h" for="ch" forName="ParentComposite" refType="h"/>
      <dgm:constr type="w" for="ch" forName="negSibTrans" refType="h" refFor="ch" refForName="composite" fact="-0.075"/>
      <dgm:constr type="w" for="ch" forName="sibTrans" refType="w" refFor="ch" refForName="composite" fact="0.0425"/>
    </dgm:constrLst>
    <dgm:forEach name="nodesForEach" axis="ch" ptType="node" cnt="7">
      <dgm:layoutNode name="ParentComposite">
        <dgm:alg type="composite">
          <dgm:param type="ar" val="0.25"/>
        </dgm:alg>
        <dgm:shape xmlns:r="http://schemas.openxmlformats.org/officeDocument/2006/relationships" r:blip="">
          <dgm:adjLst/>
        </dgm:shape>
        <dgm:choose name="Name4">
          <dgm:if name="Name5" func="var" arg="dir" op="equ" val="norm">
            <dgm:constrLst>
              <dgm:constr type="l" for="ch" forName="Parent" refType="w" fact="0"/>
              <dgm:constr type="t" for="ch" forName="Parent" refType="h" fact="0.275"/>
              <dgm:constr type="w" for="ch" forName="Parent" refType="w" fact="0.6"/>
              <dgm:constr type="h" for="ch" forName="Parent" refType="h" fact="0.725"/>
              <dgm:constr type="l" for="ch" forName="Chord" refType="w" fact="0"/>
              <dgm:constr type="t" for="ch" forName="Chord" refType="h" fact="0"/>
              <dgm:constr type="w" for="ch" forName="Chord" refType="w"/>
              <dgm:constr type="h" for="ch" forName="Chord" refType="h" fact="0.25"/>
              <dgm:constr type="l" for="ch" forName="Pie" refType="w" fact="0.1"/>
              <dgm:constr type="t" for="ch" forName="Pie" refType="h" fact="0.025"/>
              <dgm:constr type="w" for="ch" forName="Pie" refType="w" fact="0.8"/>
              <dgm:constr type="h" for="ch" forName="Pie" refType="h" fact="0.2"/>
            </dgm:constrLst>
          </dgm:if>
          <dgm:else name="Name6">
            <dgm:constrLst>
              <dgm:constr type="r" for="ch" forName="Parent" refType="w"/>
              <dgm:constr type="t" for="ch" forName="Parent" refType="h" fact="0.275"/>
              <dgm:constr type="w" for="ch" forName="Parent" refType="w" fact="0.6"/>
              <dgm:constr type="h" for="ch" forName="Parent" refType="h" fact="0.725"/>
              <dgm:constr type="r" for="ch" forName="Chord" refType="w"/>
              <dgm:constr type="t" for="ch" forName="Chord" refType="h" fact="0"/>
              <dgm:constr type="w" for="ch" forName="Chord" refType="w"/>
              <dgm:constr type="h" for="ch" forName="Chord" refType="h" fact="0.25"/>
              <dgm:constr type="r" for="ch" forName="Pie" refType="w" fact="0.9"/>
              <dgm:constr type="t" for="ch" forName="Pie" refType="h" fact="0.025"/>
              <dgm:constr type="w" for="ch" forName="Pie" refType="w" fact="0.8"/>
              <dgm:constr type="h" for="ch" forName="Pie" refType="h" fact="0.2"/>
            </dgm:constrLst>
          </dgm:else>
        </dgm:choose>
        <dgm:layoutNode name="Chord" styleLbl="bgShp">
          <dgm:alg type="sp"/>
          <dgm:choose name="Name7">
            <dgm:if name="Name8" func="var" arg="dir" op="equ" val="norm">
              <dgm:shape xmlns:r="http://schemas.openxmlformats.org/officeDocument/2006/relationships" type="chord" r:blip="">
                <dgm:adjLst>
                  <dgm:adj idx="1" val="80"/>
                  <dgm:adj idx="2" val="-80"/>
                </dgm:adjLst>
              </dgm:shape>
            </dgm:if>
            <dgm:else name="Name9">
              <dgm:shape xmlns:r="http://schemas.openxmlformats.org/officeDocument/2006/relationships" rot="180" type="chord" r:blip="">
                <dgm:adjLst>
                  <dgm:adj idx="1" val="80"/>
                  <dgm:adj idx="2" val="-80"/>
                </dgm:adjLst>
              </dgm:shape>
            </dgm:else>
          </dgm:choose>
          <dgm:presOf/>
        </dgm:layoutNode>
        <dgm:layoutNode name="Pie" styleLbl="alignNode1">
          <dgm:alg type="sp"/>
          <dgm:choose name="Name10">
            <dgm:if name="Name11" func="var" arg="dir" op="equ" val="norm">
              <dgm:choose name="Name12">
                <dgm:if name="Name13" axis="precedSib" ptType="node" func="cnt" op="equ" val="0">
                  <dgm:choose name="Name14">
                    <dgm:if name="Name15" axis="followSib" ptType="node" func="cnt" op="equ" val="0">
                      <dgm:shape xmlns:r="http://schemas.openxmlformats.org/officeDocument/2006/relationships" type="pie" r:blip="">
                        <dgm:adjLst>
                          <dgm:adj idx="1" val="90"/>
                          <dgm:adj idx="2" val="-90"/>
                        </dgm:adjLst>
                      </dgm:shape>
                    </dgm:if>
                    <dgm:if name="Name16" axis="followSib" ptType="node" func="cnt" op="equ" val="1">
                      <dgm:shape xmlns:r="http://schemas.openxmlformats.org/officeDocument/2006/relationships" type="pie" r:blip="">
                        <dgm:adjLst>
                          <dgm:adj idx="1" val="180"/>
                          <dgm:adj idx="2" val="-90"/>
                        </dgm:adjLst>
                      </dgm:shape>
                    </dgm:if>
                    <dgm:if name="Name17" axis="followSib" ptType="node" func="cnt" op="equ" val="2">
                      <dgm:shape xmlns:r="http://schemas.openxmlformats.org/officeDocument/2006/relationships" type="pie" r:blip="">
                        <dgm:adjLst>
                          <dgm:adj idx="1" val="-150"/>
                          <dgm:adj idx="2" val="-90"/>
                        </dgm:adjLst>
                      </dgm:shape>
                    </dgm:if>
                    <dgm:if name="Name18" axis="followSib" ptType="node" func="cnt" op="equ" val="3">
                      <dgm:shape xmlns:r="http://schemas.openxmlformats.org/officeDocument/2006/relationships" type="pie" r:blip="">
                        <dgm:adjLst>
                          <dgm:adj idx="1" val="-135"/>
                          <dgm:adj idx="2" val="-90"/>
                        </dgm:adjLst>
                      </dgm:shape>
                    </dgm:if>
                    <dgm:if name="Name19" axis="followSib" ptType="node" func="cnt" op="equ" val="4">
                      <dgm:shape xmlns:r="http://schemas.openxmlformats.org/officeDocument/2006/relationships" type="pie" r:blip="">
                        <dgm:adjLst>
                          <dgm:adj idx="1" val="-126"/>
                          <dgm:adj idx="2" val="-90"/>
                        </dgm:adjLst>
                      </dgm:shape>
                    </dgm:if>
                    <dgm:if name="Name20" axis="followSib" ptType="node" func="cnt" op="equ" val="5">
                      <dgm:shape xmlns:r="http://schemas.openxmlformats.org/officeDocument/2006/relationships" type="pie" r:blip="">
                        <dgm:adjLst>
                          <dgm:adj idx="1" val="-120"/>
                          <dgm:adj idx="2" val="-90"/>
                        </dgm:adjLst>
                      </dgm:shape>
                    </dgm:if>
                    <dgm:else name="Name21">
                      <dgm:shape xmlns:r="http://schemas.openxmlformats.org/officeDocument/2006/relationships" type="pie" r:blip="">
                        <dgm:adjLst>
                          <dgm:adj idx="1" val="-115.7143"/>
                          <dgm:adj idx="2" val="-90"/>
                        </dgm:adjLst>
                      </dgm:shape>
                    </dgm:else>
                  </dgm:choose>
                </dgm:if>
                <dgm:if name="Name22" axis="precedSib" ptType="node" func="cnt" op="equ" val="1">
                  <dgm:choose name="Name23">
                    <dgm:if name="Name24" axis="followSib" ptType="node" func="cnt" op="equ" val="0">
                      <dgm:shape xmlns:r="http://schemas.openxmlformats.org/officeDocument/2006/relationships" type="pie" r:blip="">
                        <dgm:adjLst>
                          <dgm:adj idx="1" val="90"/>
                          <dgm:adj idx="2" val="-90"/>
                        </dgm:adjLst>
                      </dgm:shape>
                    </dgm:if>
                    <dgm:if name="Name25" axis="followSib" ptType="node" func="cnt" op="equ" val="1">
                      <dgm:shape xmlns:r="http://schemas.openxmlformats.org/officeDocument/2006/relationships" type="pie" r:blip="">
                        <dgm:adjLst>
                          <dgm:adj idx="1" val="150"/>
                          <dgm:adj idx="2" val="-90"/>
                        </dgm:adjLst>
                      </dgm:shape>
                    </dgm:if>
                    <dgm:if name="Name26" axis="followSib" ptType="node" func="cnt" op="equ" val="2">
                      <dgm:shape xmlns:r="http://schemas.openxmlformats.org/officeDocument/2006/relationships" type="pie" r:blip="">
                        <dgm:adjLst>
                          <dgm:adj idx="1" val="180"/>
                          <dgm:adj idx="2" val="-90"/>
                        </dgm:adjLst>
                      </dgm:shape>
                    </dgm:if>
                    <dgm:if name="Name27" axis="followSib" ptType="node" func="cnt" op="equ" val="3">
                      <dgm:shape xmlns:r="http://schemas.openxmlformats.org/officeDocument/2006/relationships" type="pie" r:blip="">
                        <dgm:adjLst>
                          <dgm:adj idx="1" val="-162"/>
                          <dgm:adj idx="2" val="-90"/>
                        </dgm:adjLst>
                      </dgm:shape>
                    </dgm:if>
                    <dgm:if name="Name28" axis="followSib" ptType="node" func="cnt" op="equ" val="4">
                      <dgm:shape xmlns:r="http://schemas.openxmlformats.org/officeDocument/2006/relationships" type="pie" r:blip="">
                        <dgm:adjLst>
                          <dgm:adj idx="1" val="-150"/>
                          <dgm:adj idx="2" val="-90"/>
                        </dgm:adjLst>
                      </dgm:shape>
                    </dgm:if>
                    <dgm:else name="Name29">
                      <dgm:shape xmlns:r="http://schemas.openxmlformats.org/officeDocument/2006/relationships" type="pie" r:blip="">
                        <dgm:adjLst>
                          <dgm:adj idx="1" val="-141.4286"/>
                          <dgm:adj idx="2" val="-90"/>
                        </dgm:adjLst>
                      </dgm:shape>
                    </dgm:else>
                  </dgm:choose>
                </dgm:if>
                <dgm:if name="Name30" axis="precedSib" ptType="node" func="cnt" op="equ" val="2">
                  <dgm:choose name="Name31">
                    <dgm:if name="Name32" axis="followSib" ptType="node" func="cnt" op="equ" val="0">
                      <dgm:shape xmlns:r="http://schemas.openxmlformats.org/officeDocument/2006/relationships" type="pie" r:blip="">
                        <dgm:adjLst>
                          <dgm:adj idx="1" val="90"/>
                          <dgm:adj idx="2" val="-90"/>
                        </dgm:adjLst>
                      </dgm:shape>
                    </dgm:if>
                    <dgm:if name="Name33" axis="followSib" ptType="node" func="cnt" op="equ" val="1">
                      <dgm:shape xmlns:r="http://schemas.openxmlformats.org/officeDocument/2006/relationships" type="pie" r:blip="">
                        <dgm:adjLst>
                          <dgm:adj idx="1" val="135"/>
                          <dgm:adj idx="2" val="-90"/>
                        </dgm:adjLst>
                      </dgm:shape>
                    </dgm:if>
                    <dgm:if name="Name34" axis="followSib" ptType="node" func="cnt" op="equ" val="2">
                      <dgm:shape xmlns:r="http://schemas.openxmlformats.org/officeDocument/2006/relationships" type="pie" r:blip="">
                        <dgm:adjLst>
                          <dgm:adj idx="1" val="162"/>
                          <dgm:adj idx="2" val="-90"/>
                        </dgm:adjLst>
                      </dgm:shape>
                    </dgm:if>
                    <dgm:if name="Name35" axis="followSib" ptType="node" func="cnt" op="equ" val="3">
                      <dgm:shape xmlns:r="http://schemas.openxmlformats.org/officeDocument/2006/relationships" type="pie" r:blip="">
                        <dgm:adjLst>
                          <dgm:adj idx="1" val="180"/>
                          <dgm:adj idx="2" val="-90"/>
                        </dgm:adjLst>
                      </dgm:shape>
                    </dgm:if>
                    <dgm:else name="Name36">
                      <dgm:shape xmlns:r="http://schemas.openxmlformats.org/officeDocument/2006/relationships" type="pie" r:blip="">
                        <dgm:adjLst>
                          <dgm:adj idx="1" val="-167.1429"/>
                          <dgm:adj idx="2" val="-90"/>
                        </dgm:adjLst>
                      </dgm:shape>
                    </dgm:else>
                  </dgm:choose>
                </dgm:if>
                <dgm:if name="Name37" axis="precedSib" ptType="node" func="cnt" op="equ" val="3">
                  <dgm:choose name="Name38">
                    <dgm:if name="Name39" axis="followSib" ptType="node" func="cnt" op="equ" val="0">
                      <dgm:shape xmlns:r="http://schemas.openxmlformats.org/officeDocument/2006/relationships" type="pie" r:blip="">
                        <dgm:adjLst>
                          <dgm:adj idx="1" val="90"/>
                          <dgm:adj idx="2" val="-90"/>
                        </dgm:adjLst>
                      </dgm:shape>
                    </dgm:if>
                    <dgm:if name="Name40" axis="followSib" ptType="node" func="cnt" op="equ" val="1">
                      <dgm:shape xmlns:r="http://schemas.openxmlformats.org/officeDocument/2006/relationships" type="pie" r:blip="">
                        <dgm:adjLst>
                          <dgm:adj idx="1" val="126"/>
                          <dgm:adj idx="2" val="-90"/>
                        </dgm:adjLst>
                      </dgm:shape>
                    </dgm:if>
                    <dgm:if name="Name41" axis="followSib" ptType="node" func="cnt" op="equ" val="2">
                      <dgm:shape xmlns:r="http://schemas.openxmlformats.org/officeDocument/2006/relationships" type="pie" r:blip="">
                        <dgm:adjLst>
                          <dgm:adj idx="1" val="150"/>
                          <dgm:adj idx="2" val="-90"/>
                        </dgm:adjLst>
                      </dgm:shape>
                    </dgm:if>
                    <dgm:else name="Name42">
                      <dgm:shape xmlns:r="http://schemas.openxmlformats.org/officeDocument/2006/relationships" type="pie" r:blip="">
                        <dgm:adjLst>
                          <dgm:adj idx="1" val="167.1429"/>
                          <dgm:adj idx="2" val="-90"/>
                        </dgm:adjLst>
                      </dgm:shape>
                    </dgm:else>
                  </dgm:choose>
                </dgm:if>
                <dgm:if name="Name43" axis="precedSib" ptType="node" func="cnt" op="equ" val="4">
                  <dgm:choose name="Name44">
                    <dgm:if name="Name45" axis="followSib" ptType="node" func="cnt" op="equ" val="0">
                      <dgm:shape xmlns:r="http://schemas.openxmlformats.org/officeDocument/2006/relationships" type="pie" r:blip="">
                        <dgm:adjLst>
                          <dgm:adj idx="1" val="90"/>
                          <dgm:adj idx="2" val="-90"/>
                        </dgm:adjLst>
                      </dgm:shape>
                    </dgm:if>
                    <dgm:if name="Name46" axis="followSib" ptType="node" func="cnt" op="equ" val="1">
                      <dgm:shape xmlns:r="http://schemas.openxmlformats.org/officeDocument/2006/relationships" type="pie" r:blip="">
                        <dgm:adjLst>
                          <dgm:adj idx="1" val="120"/>
                          <dgm:adj idx="2" val="-90"/>
                        </dgm:adjLst>
                      </dgm:shape>
                    </dgm:if>
                    <dgm:else name="Name47">
                      <dgm:shape xmlns:r="http://schemas.openxmlformats.org/officeDocument/2006/relationships" type="pie" r:blip="">
                        <dgm:adjLst>
                          <dgm:adj idx="1" val="141.4286"/>
                          <dgm:adj idx="2" val="-90"/>
                        </dgm:adjLst>
                      </dgm:shape>
                    </dgm:else>
                  </dgm:choose>
                </dgm:if>
                <dgm:if name="Name48" axis="precedSib" ptType="node" func="cnt" op="equ" val="5">
                  <dgm:choose name="Name49">
                    <dgm:if name="Name50" axis="followSib" ptType="node" func="cnt" op="equ" val="0">
                      <dgm:shape xmlns:r="http://schemas.openxmlformats.org/officeDocument/2006/relationships" type="pie" r:blip="">
                        <dgm:adjLst>
                          <dgm:adj idx="1" val="90"/>
                          <dgm:adj idx="2" val="-90"/>
                        </dgm:adjLst>
                      </dgm:shape>
                    </dgm:if>
                    <dgm:else name="Name51">
                      <dgm:shape xmlns:r="http://schemas.openxmlformats.org/officeDocument/2006/relationships" type="pie" r:blip="">
                        <dgm:adjLst>
                          <dgm:adj idx="1" val="115.7143"/>
                          <dgm:adj idx="2" val="-90"/>
                        </dgm:adjLst>
                      </dgm:shape>
                    </dgm:else>
                  </dgm:choose>
                </dgm:if>
                <dgm:else name="Name52">
                  <dgm:shape xmlns:r="http://schemas.openxmlformats.org/officeDocument/2006/relationships" type="pie" r:blip="">
                    <dgm:adjLst>
                      <dgm:adj idx="1" val="90"/>
                      <dgm:adj idx="2" val="-90"/>
                    </dgm:adjLst>
                  </dgm:shape>
                </dgm:else>
              </dgm:choose>
            </dgm:if>
            <dgm:else name="Name53">
              <dgm:choose name="Name54">
                <dgm:if name="Name55" axis="precedSib" ptType="node" func="cnt" op="equ" val="0">
                  <dgm:choose name="Name56">
                    <dgm:if name="Name57" axis="followSib" ptType="node" func="cnt" op="equ" val="0">
                      <dgm:shape xmlns:r="http://schemas.openxmlformats.org/officeDocument/2006/relationships" rot="180" type="pie" r:blip="">
                        <dgm:adjLst>
                          <dgm:adj idx="1" val="90"/>
                          <dgm:adj idx="2" val="-90"/>
                        </dgm:adjLst>
                      </dgm:shape>
                    </dgm:if>
                    <dgm:if name="Name58" axis="followSib" ptType="node" func="cnt" op="equ" val="1">
                      <dgm:shape xmlns:r="http://schemas.openxmlformats.org/officeDocument/2006/relationships" rot="180" type="pie" r:blip="">
                        <dgm:adjLst>
                          <dgm:adj idx="1" val="90"/>
                          <dgm:adj idx="2" val="180"/>
                        </dgm:adjLst>
                      </dgm:shape>
                    </dgm:if>
                    <dgm:if name="Name59" axis="followSib" ptType="node" func="cnt" op="equ" val="2">
                      <dgm:shape xmlns:r="http://schemas.openxmlformats.org/officeDocument/2006/relationships" rot="180" type="pie" r:blip="">
                        <dgm:adjLst>
                          <dgm:adj idx="1" val="90"/>
                          <dgm:adj idx="2" val="150"/>
                        </dgm:adjLst>
                      </dgm:shape>
                    </dgm:if>
                    <dgm:if name="Name60" axis="followSib" ptType="node" func="cnt" op="equ" val="3">
                      <dgm:shape xmlns:r="http://schemas.openxmlformats.org/officeDocument/2006/relationships" rot="180" type="pie" r:blip="">
                        <dgm:adjLst>
                          <dgm:adj idx="1" val="90"/>
                          <dgm:adj idx="2" val="135"/>
                        </dgm:adjLst>
                      </dgm:shape>
                    </dgm:if>
                    <dgm:if name="Name61" axis="followSib" ptType="node" func="cnt" op="equ" val="4">
                      <dgm:shape xmlns:r="http://schemas.openxmlformats.org/officeDocument/2006/relationships" rot="180" type="pie" r:blip="">
                        <dgm:adjLst>
                          <dgm:adj idx="1" val="90"/>
                          <dgm:adj idx="2" val="126"/>
                        </dgm:adjLst>
                      </dgm:shape>
                    </dgm:if>
                    <dgm:if name="Name62" axis="followSib" ptType="node" func="cnt" op="equ" val="5">
                      <dgm:shape xmlns:r="http://schemas.openxmlformats.org/officeDocument/2006/relationships" rot="180" type="pie" r:blip="">
                        <dgm:adjLst>
                          <dgm:adj idx="1" val="90"/>
                          <dgm:adj idx="2" val="120"/>
                        </dgm:adjLst>
                      </dgm:shape>
                    </dgm:if>
                    <dgm:else name="Name63">
                      <dgm:shape xmlns:r="http://schemas.openxmlformats.org/officeDocument/2006/relationships" rot="180" type="pie" r:blip="">
                        <dgm:adjLst>
                          <dgm:adj idx="1" val="90"/>
                          <dgm:adj idx="2" val="115.7143"/>
                        </dgm:adjLst>
                      </dgm:shape>
                    </dgm:else>
                  </dgm:choose>
                </dgm:if>
                <dgm:if name="Name64" axis="precedSib" ptType="node" func="cnt" op="equ" val="1">
                  <dgm:choose name="Name65">
                    <dgm:if name="Name66" axis="followSib" ptType="node" func="cnt" op="equ" val="0">
                      <dgm:shape xmlns:r="http://schemas.openxmlformats.org/officeDocument/2006/relationships" rot="180" type="pie" r:blip="">
                        <dgm:adjLst>
                          <dgm:adj idx="1" val="90"/>
                          <dgm:adj idx="2" val="-90"/>
                        </dgm:adjLst>
                      </dgm:shape>
                    </dgm:if>
                    <dgm:if name="Name67" axis="followSib" ptType="node" func="cnt" op="equ" val="1">
                      <dgm:shape xmlns:r="http://schemas.openxmlformats.org/officeDocument/2006/relationships" rot="180" type="pie" r:blip="">
                        <dgm:adjLst>
                          <dgm:adj idx="1" val="90"/>
                          <dgm:adj idx="2" val="-150"/>
                        </dgm:adjLst>
                      </dgm:shape>
                    </dgm:if>
                    <dgm:if name="Name68" axis="followSib" ptType="node" func="cnt" op="equ" val="2">
                      <dgm:shape xmlns:r="http://schemas.openxmlformats.org/officeDocument/2006/relationships" rot="180" type="pie" r:blip="">
                        <dgm:adjLst>
                          <dgm:adj idx="1" val="90"/>
                          <dgm:adj idx="2" val="180"/>
                        </dgm:adjLst>
                      </dgm:shape>
                    </dgm:if>
                    <dgm:if name="Name69" axis="followSib" ptType="node" func="cnt" op="equ" val="3">
                      <dgm:shape xmlns:r="http://schemas.openxmlformats.org/officeDocument/2006/relationships" rot="180" type="pie" r:blip="">
                        <dgm:adjLst>
                          <dgm:adj idx="1" val="90"/>
                          <dgm:adj idx="2" val="162"/>
                        </dgm:adjLst>
                      </dgm:shape>
                    </dgm:if>
                    <dgm:if name="Name70" axis="followSib" ptType="node" func="cnt" op="equ" val="4">
                      <dgm:shape xmlns:r="http://schemas.openxmlformats.org/officeDocument/2006/relationships" rot="180" type="pie" r:blip="">
                        <dgm:adjLst>
                          <dgm:adj idx="1" val="90"/>
                          <dgm:adj idx="2" val="150"/>
                        </dgm:adjLst>
                      </dgm:shape>
                    </dgm:if>
                    <dgm:else name="Name71">
                      <dgm:shape xmlns:r="http://schemas.openxmlformats.org/officeDocument/2006/relationships" rot="180" type="pie" r:blip="">
                        <dgm:adjLst>
                          <dgm:adj idx="1" val="90"/>
                          <dgm:adj idx="2" val="141.4286"/>
                        </dgm:adjLst>
                      </dgm:shape>
                    </dgm:else>
                  </dgm:choose>
                </dgm:if>
                <dgm:if name="Name72" axis="precedSib" ptType="node" func="cnt" op="equ" val="2">
                  <dgm:choose name="Name73">
                    <dgm:if name="Name74" axis="followSib" ptType="node" func="cnt" op="equ" val="0">
                      <dgm:shape xmlns:r="http://schemas.openxmlformats.org/officeDocument/2006/relationships" rot="180" type="pie" r:blip="">
                        <dgm:adjLst>
                          <dgm:adj idx="1" val="90"/>
                          <dgm:adj idx="2" val="-90"/>
                        </dgm:adjLst>
                      </dgm:shape>
                    </dgm:if>
                    <dgm:if name="Name75" axis="followSib" ptType="node" func="cnt" op="equ" val="1">
                      <dgm:shape xmlns:r="http://schemas.openxmlformats.org/officeDocument/2006/relationships" rot="180" type="pie" r:blip="">
                        <dgm:adjLst>
                          <dgm:adj idx="1" val="90"/>
                          <dgm:adj idx="2" val="-135"/>
                        </dgm:adjLst>
                      </dgm:shape>
                    </dgm:if>
                    <dgm:if name="Name76" axis="followSib" ptType="node" func="cnt" op="equ" val="2">
                      <dgm:shape xmlns:r="http://schemas.openxmlformats.org/officeDocument/2006/relationships" rot="180" type="pie" r:blip="">
                        <dgm:adjLst>
                          <dgm:adj idx="1" val="90"/>
                          <dgm:adj idx="2" val="-162"/>
                        </dgm:adjLst>
                      </dgm:shape>
                    </dgm:if>
                    <dgm:if name="Name77" axis="followSib" ptType="node" func="cnt" op="equ" val="3">
                      <dgm:shape xmlns:r="http://schemas.openxmlformats.org/officeDocument/2006/relationships" rot="180" type="pie" r:blip="">
                        <dgm:adjLst>
                          <dgm:adj idx="1" val="90"/>
                          <dgm:adj idx="2" val="180"/>
                        </dgm:adjLst>
                      </dgm:shape>
                    </dgm:if>
                    <dgm:else name="Name78">
                      <dgm:shape xmlns:r="http://schemas.openxmlformats.org/officeDocument/2006/relationships" rot="180" type="pie" r:blip="">
                        <dgm:adjLst>
                          <dgm:adj idx="1" val="90"/>
                          <dgm:adj idx="2" val="167.1429"/>
                        </dgm:adjLst>
                      </dgm:shape>
                    </dgm:else>
                  </dgm:choose>
                </dgm:if>
                <dgm:if name="Name79" axis="precedSib" ptType="node" func="cnt" op="equ" val="3">
                  <dgm:choose name="Name80">
                    <dgm:if name="Name81" axis="followSib" ptType="node" func="cnt" op="equ" val="0">
                      <dgm:shape xmlns:r="http://schemas.openxmlformats.org/officeDocument/2006/relationships" rot="180" type="pie" r:blip="">
                        <dgm:adjLst>
                          <dgm:adj idx="1" val="90"/>
                          <dgm:adj idx="2" val="-90"/>
                        </dgm:adjLst>
                      </dgm:shape>
                    </dgm:if>
                    <dgm:if name="Name82" axis="followSib" ptType="node" func="cnt" op="equ" val="1">
                      <dgm:shape xmlns:r="http://schemas.openxmlformats.org/officeDocument/2006/relationships" rot="180" type="pie" r:blip="">
                        <dgm:adjLst>
                          <dgm:adj idx="1" val="90"/>
                          <dgm:adj idx="2" val="-126"/>
                        </dgm:adjLst>
                      </dgm:shape>
                    </dgm:if>
                    <dgm:if name="Name83" axis="followSib" ptType="node" func="cnt" op="equ" val="2">
                      <dgm:shape xmlns:r="http://schemas.openxmlformats.org/officeDocument/2006/relationships" rot="180" type="pie" r:blip="">
                        <dgm:adjLst>
                          <dgm:adj idx="1" val="90"/>
                          <dgm:adj idx="2" val="-150"/>
                        </dgm:adjLst>
                      </dgm:shape>
                    </dgm:if>
                    <dgm:else name="Name84">
                      <dgm:shape xmlns:r="http://schemas.openxmlformats.org/officeDocument/2006/relationships" rot="180" type="pie" r:blip="">
                        <dgm:adjLst>
                          <dgm:adj idx="1" val="90"/>
                          <dgm:adj idx="2" val="-167.1429"/>
                        </dgm:adjLst>
                      </dgm:shape>
                    </dgm:else>
                  </dgm:choose>
                </dgm:if>
                <dgm:if name="Name85" axis="precedSib" ptType="node" func="cnt" op="equ" val="4">
                  <dgm:choose name="Name86">
                    <dgm:if name="Name87" axis="followSib" ptType="node" func="cnt" op="equ" val="0">
                      <dgm:shape xmlns:r="http://schemas.openxmlformats.org/officeDocument/2006/relationships" rot="180" type="pie" r:blip="">
                        <dgm:adjLst>
                          <dgm:adj idx="1" val="90"/>
                          <dgm:adj idx="2" val="-90"/>
                        </dgm:adjLst>
                      </dgm:shape>
                    </dgm:if>
                    <dgm:if name="Name88" axis="followSib" ptType="node" func="cnt" op="equ" val="1">
                      <dgm:shape xmlns:r="http://schemas.openxmlformats.org/officeDocument/2006/relationships" rot="180" type="pie" r:blip="">
                        <dgm:adjLst>
                          <dgm:adj idx="1" val="90"/>
                          <dgm:adj idx="2" val="-120"/>
                        </dgm:adjLst>
                      </dgm:shape>
                    </dgm:if>
                    <dgm:else name="Name89">
                      <dgm:shape xmlns:r="http://schemas.openxmlformats.org/officeDocument/2006/relationships" rot="180" type="pie" r:blip="">
                        <dgm:adjLst>
                          <dgm:adj idx="1" val="90"/>
                          <dgm:adj idx="2" val="-141.4286"/>
                        </dgm:adjLst>
                      </dgm:shape>
                    </dgm:else>
                  </dgm:choose>
                </dgm:if>
                <dgm:if name="Name90" axis="precedSib" ptType="node" func="cnt" op="equ" val="5">
                  <dgm:choose name="Name91">
                    <dgm:if name="Name92" axis="followSib" ptType="node" func="cnt" op="equ" val="0">
                      <dgm:shape xmlns:r="http://schemas.openxmlformats.org/officeDocument/2006/relationships" rot="180" type="pie" r:blip="">
                        <dgm:adjLst>
                          <dgm:adj idx="1" val="90"/>
                          <dgm:adj idx="2" val="-90"/>
                        </dgm:adjLst>
                      </dgm:shape>
                    </dgm:if>
                    <dgm:else name="Name93">
                      <dgm:shape xmlns:r="http://schemas.openxmlformats.org/officeDocument/2006/relationships" rot="180" type="pie" r:blip="">
                        <dgm:adjLst>
                          <dgm:adj idx="1" val="90"/>
                          <dgm:adj idx="2" val="-115.7143"/>
                        </dgm:adjLst>
                      </dgm:shape>
                    </dgm:else>
                  </dgm:choose>
                </dgm:if>
                <dgm:else name="Name94">
                  <dgm:shape xmlns:r="http://schemas.openxmlformats.org/officeDocument/2006/relationships" rot="180" type="pie" r:blip="">
                    <dgm:adjLst>
                      <dgm:adj idx="1" val="90"/>
                      <dgm:adj idx="2" val="-90"/>
                    </dgm:adjLst>
                  </dgm:shape>
                </dgm:else>
              </dgm:choose>
            </dgm:else>
          </dgm:choose>
          <dgm:presOf/>
        </dgm:layoutNode>
        <dgm:layoutNode name="Parent" styleLbl="revTx">
          <dgm:varLst>
            <dgm:chMax val="1"/>
            <dgm:chPref val="1"/>
            <dgm:bulletEnabled val="1"/>
          </dgm:varLst>
          <dgm:choose name="Name95">
            <dgm:if name="Name96" func="var" arg="dir" op="equ" val="norm">
              <dgm:alg type="tx">
                <dgm:param type="parTxLTRAlign" val="r"/>
                <dgm:param type="parTxRTLAlign" val="r"/>
                <dgm:param type="shpTxLTRAlignCh" val="r"/>
                <dgm:param type="shpTxRTLAlignCh" val="r"/>
                <dgm:param type="txAnchorVert" val="b"/>
                <dgm:param type="autoTxRot" val="grav"/>
              </dgm:alg>
            </dgm:if>
            <dgm:else name="Name97">
              <dgm:alg type="tx">
                <dgm:param type="parTxLTRAlign" val="l"/>
                <dgm:param type="parTxRTLAlign" val="l"/>
                <dgm:param type="shpTxLTRAlignCh" val="l"/>
                <dgm:param type="shpTxRTLAlignCh" val="l"/>
                <dgm:param type="txAnchorVert" val="b"/>
                <dgm:param type="autoTxRot" val="grav"/>
              </dgm:alg>
            </dgm:else>
          </dgm:choose>
          <dgm:choose name="Name98">
            <dgm:if name="Name99" func="var" arg="dir" op="equ" val="norm">
              <dgm:shape xmlns:r="http://schemas.openxmlformats.org/officeDocument/2006/relationships" rot="-90" type="rect" r:blip="">
                <dgm:adjLst/>
              </dgm:shape>
            </dgm:if>
            <dgm:else name="Name100">
              <dgm:shape xmlns:r="http://schemas.openxmlformats.org/officeDocument/2006/relationships" rot="90" type="rect" r:blip="">
                <dgm:adjLst/>
              </dgm:shape>
            </dgm:else>
          </dgm:choose>
          <dgm:presOf axis="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layoutNode>
      <dgm:choose name="Name101">
        <dgm:if name="Name102" axis="ch" ptType="node" func="cnt" op="gte" val="1">
          <dgm:forEach name="negSibTransForEach" axis="ch" ptType="sibTrans" hideLastTrans="0" cnt="1">
            <dgm:layoutNode name="negSibTrans">
              <dgm:alg type="sp"/>
              <dgm:shape xmlns:r="http://schemas.openxmlformats.org/officeDocument/2006/relationships" r:blip="">
                <dgm:adjLst/>
              </dgm:shape>
            </dgm:layoutNode>
          </dgm:forEach>
          <dgm:layoutNode name="composite">
            <dgm:alg type="composite">
              <dgm:param type="ar" val="0.5"/>
            </dgm:alg>
            <dgm:shape xmlns:r="http://schemas.openxmlformats.org/officeDocument/2006/relationships" r:blip="">
              <dgm:adjLst/>
            </dgm:shape>
            <dgm:choose name="Name103">
              <dgm:if name="Name104" func="var" arg="dir" op="equ" val="norm">
                <dgm:constrLst>
                  <dgm:constr type="l" for="ch" forName="Child" refType="w" fact="0"/>
                  <dgm:constr type="t" for="ch" forName="Child" refType="h" fact="0"/>
                  <dgm:constr type="w" for="ch" forName="Child" refType="w"/>
                  <dgm:constr type="h" for="ch" forName="Child" refType="h"/>
                </dgm:constrLst>
              </dgm:if>
              <dgm:else name="Name105">
                <dgm:constrLst>
                  <dgm:constr type="r" for="ch" forName="Child" refType="w"/>
                  <dgm:constr type="t" for="ch" forName="Child" refType="h" fact="0"/>
                  <dgm:constr type="w" for="ch" forName="Child" refType="w"/>
                  <dgm:constr type="h" for="ch" forName="Child" refType="h"/>
                </dgm:constrLst>
              </dgm:else>
            </dgm:choose>
            <dgm:ruleLst/>
            <dgm:layoutNode name="Child" styleLbl="revTx">
              <dgm:varLst>
                <dgm:chMax val="0"/>
                <dgm:chPref val="0"/>
                <dgm:bulletEnabled val="1"/>
              </dgm:varLst>
              <dgm:choose name="Name106">
                <dgm:if name="Name107" func="var" arg="dir" op="equ" val="norm">
                  <dgm:alg type="tx">
                    <dgm:param type="parTxLTRAlign" val="l"/>
                    <dgm:param type="parTxRTLAlign" val="r"/>
                    <dgm:param type="txAnchorVert" val="t"/>
                  </dgm:alg>
                </dgm:if>
                <dgm:else name="Name108">
                  <dgm:alg type="tx">
                    <dgm:param type="parTxLTRAlign" val="r"/>
                    <dgm:param type="parTxRTLAlign" val="l"/>
                    <dgm:param type="txAnchorVert" val="t"/>
                  </dgm:alg>
                </dgm:else>
              </dgm:choose>
              <dgm:shape xmlns:r="http://schemas.openxmlformats.org/officeDocument/2006/relationships" type="rect" r:blip="">
                <dgm:adjLst/>
              </dgm:shape>
              <dgm:presOf axis="des"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if>
        <dgm:else name="Name109"/>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BF26D3B-A842-4D45-852C-62BEF856D46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8CAC8A44-69AC-4E7F-A872-AF38C78B967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3D3E7A1-554A-4C4C-B50A-4CE3CCC57540}" type="datetimeFigureOut">
              <a:rPr lang="en-US" smtClean="0"/>
              <a:t>19/08/2023</a:t>
            </a:fld>
            <a:endParaRPr lang="en-US" dirty="0"/>
          </a:p>
        </p:txBody>
      </p:sp>
      <p:sp>
        <p:nvSpPr>
          <p:cNvPr id="4" name="Footer Placeholder 3">
            <a:extLst>
              <a:ext uri="{FF2B5EF4-FFF2-40B4-BE49-F238E27FC236}">
                <a16:creationId xmlns:a16="http://schemas.microsoft.com/office/drawing/2014/main" id="{2FED8AC2-4250-4798-8C65-BE81E0746BB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A04545EA-290A-486D-A31F-D71167BFCC7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83941FD-E006-40E2-B340-6286CD553DB4}" type="slidenum">
              <a:rPr lang="en-US" smtClean="0"/>
              <a:t>‹#›</a:t>
            </a:fld>
            <a:endParaRPr lang="en-US" dirty="0"/>
          </a:p>
        </p:txBody>
      </p:sp>
    </p:spTree>
    <p:extLst>
      <p:ext uri="{BB962C8B-B14F-4D97-AF65-F5344CB8AC3E}">
        <p14:creationId xmlns:p14="http://schemas.microsoft.com/office/powerpoint/2010/main" val="3120096080"/>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9-21T21:29:10.219"/>
    </inkml:context>
    <inkml:brush xml:id="br0">
      <inkml:brushProperty name="width" value="0.05" units="cm"/>
      <inkml:brushProperty name="height" value="0.05" units="cm"/>
    </inkml:brush>
  </inkml:definitions>
  <inkml:trace contextRef="#ctx0" brushRef="#br0">1 0 32</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7363ECC-78D2-4E8A-A700-59972B31285C}" type="datetimeFigureOut">
              <a:rPr lang="en-US" smtClean="0"/>
              <a:t>19/08/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B661EF0-BB50-46E2-AC40-CAE3182A294D}" type="slidenum">
              <a:rPr lang="en-US" smtClean="0"/>
              <a:t>‹#›</a:t>
            </a:fld>
            <a:endParaRPr lang="en-US" dirty="0"/>
          </a:p>
        </p:txBody>
      </p:sp>
    </p:spTree>
    <p:extLst>
      <p:ext uri="{BB962C8B-B14F-4D97-AF65-F5344CB8AC3E}">
        <p14:creationId xmlns:p14="http://schemas.microsoft.com/office/powerpoint/2010/main" val="16899331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948611-887A-46A5-B63E-16AA286D8B1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940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948611-887A-46A5-B63E-16AA286D8B1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98702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Install Power-user to access thousands of templates, icons, maps, diagrams and charts with Power-user.</a:t>
            </a:r>
          </a:p>
          <a:p>
            <a:r>
              <a:rPr lang="en-US"/>
              <a:t>Visit </a:t>
            </a:r>
            <a:r>
              <a:rPr lang="en-US">
                <a:hlinkClick r:id="rId3"/>
              </a:rPr>
              <a:t>https://www.powerusersoftwares.com/</a:t>
            </a:r>
            <a:endParaRPr lang="en-US"/>
          </a:p>
          <a:p>
            <a:r>
              <a:rPr lang="en-US"/>
              <a:t>©Power-user SAS, terms of license: </a:t>
            </a:r>
            <a:r>
              <a:rPr lang="en-US">
                <a:hlinkClick r:id="rId4"/>
              </a:rPr>
              <a:t>https://www.powerusersoftwares.com/terms</a:t>
            </a:r>
            <a:endParaRPr lang="en-US" dirty="0"/>
          </a:p>
        </p:txBody>
      </p:sp>
      <p:sp>
        <p:nvSpPr>
          <p:cNvPr id="4" name="Slide Number Placeholder 3"/>
          <p:cNvSpPr>
            <a:spLocks noGrp="1"/>
          </p:cNvSpPr>
          <p:nvPr>
            <p:ph type="sldNum" sz="quarter" idx="10"/>
          </p:nvPr>
        </p:nvSpPr>
        <p:spPr/>
        <p:txBody>
          <a:bodyPr/>
          <a:lstStyle/>
          <a:p>
            <a:fld id="{B4A55CF2-256D-44FD-9430-5B63A079CF51}" type="slidenum">
              <a:rPr lang="en-US" smtClean="0"/>
              <a:t>4</a:t>
            </a:fld>
            <a:endParaRPr lang="en-US" dirty="0"/>
          </a:p>
        </p:txBody>
      </p:sp>
    </p:spTree>
    <p:extLst>
      <p:ext uri="{BB962C8B-B14F-4D97-AF65-F5344CB8AC3E}">
        <p14:creationId xmlns:p14="http://schemas.microsoft.com/office/powerpoint/2010/main" val="15989109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Install Power-user to access thousands of templates, icons, maps, diagrams and charts with Power-user.</a:t>
            </a:r>
          </a:p>
          <a:p>
            <a:r>
              <a:rPr lang="en-US"/>
              <a:t>Visit </a:t>
            </a:r>
            <a:r>
              <a:rPr lang="en-US">
                <a:hlinkClick r:id="rId3"/>
              </a:rPr>
              <a:t>https://www.powerusersoftwares.com/</a:t>
            </a:r>
            <a:endParaRPr lang="en-US"/>
          </a:p>
          <a:p>
            <a:r>
              <a:rPr lang="en-US"/>
              <a:t>©Power-user SAS, terms of license: </a:t>
            </a:r>
            <a:r>
              <a:rPr lang="en-US">
                <a:hlinkClick r:id="rId4"/>
              </a:rPr>
              <a:t>https://www.powerusersoftwares.com/terms</a:t>
            </a:r>
            <a:endParaRPr lang="en-US" dirty="0"/>
          </a:p>
        </p:txBody>
      </p:sp>
      <p:sp>
        <p:nvSpPr>
          <p:cNvPr id="4" name="Slide Number Placeholder 3"/>
          <p:cNvSpPr>
            <a:spLocks noGrp="1"/>
          </p:cNvSpPr>
          <p:nvPr>
            <p:ph type="sldNum" sz="quarter" idx="5"/>
          </p:nvPr>
        </p:nvSpPr>
        <p:spPr/>
        <p:txBody>
          <a:bodyPr/>
          <a:lstStyle/>
          <a:p>
            <a:fld id="{B4A55CF2-256D-44FD-9430-5B63A079CF51}" type="slidenum">
              <a:rPr lang="en-US" smtClean="0"/>
              <a:t>6</a:t>
            </a:fld>
            <a:endParaRPr lang="en-US" dirty="0"/>
          </a:p>
        </p:txBody>
      </p:sp>
    </p:spTree>
    <p:extLst>
      <p:ext uri="{BB962C8B-B14F-4D97-AF65-F5344CB8AC3E}">
        <p14:creationId xmlns:p14="http://schemas.microsoft.com/office/powerpoint/2010/main" val="22509517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5F6F3B-5405-44C5-B000-77179EACE79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80940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56E4E501-35F4-4853-B201-F5B8E672304F}"/>
              </a:ext>
            </a:extLst>
          </p:cNvPr>
          <p:cNvSpPr/>
          <p:nvPr userDrawn="1"/>
        </p:nvSpPr>
        <p:spPr>
          <a:xfrm>
            <a:off x="-2" y="0"/>
            <a:ext cx="12191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eform: Shape 47">
            <a:extLst>
              <a:ext uri="{FF2B5EF4-FFF2-40B4-BE49-F238E27FC236}">
                <a16:creationId xmlns:a16="http://schemas.microsoft.com/office/drawing/2014/main" id="{E06E6322-04D4-4AF7-B9D8-27972C61BF01}"/>
              </a:ext>
              <a:ext uri="{C183D7F6-B498-43B3-948B-1728B52AA6E4}">
                <adec:decorative xmlns:adec="http://schemas.microsoft.com/office/drawing/2017/decorative" val="1"/>
              </a:ext>
            </a:extLst>
          </p:cNvPr>
          <p:cNvSpPr/>
          <p:nvPr userDrawn="1"/>
        </p:nvSpPr>
        <p:spPr>
          <a:xfrm>
            <a:off x="4716797" y="5064781"/>
            <a:ext cx="5311" cy="1673"/>
          </a:xfrm>
          <a:custGeom>
            <a:avLst/>
            <a:gdLst>
              <a:gd name="connsiteX0" fmla="*/ 5040 w 5311"/>
              <a:gd name="connsiteY0" fmla="*/ 0 h 1673"/>
              <a:gd name="connsiteX1" fmla="*/ 5311 w 5311"/>
              <a:gd name="connsiteY1" fmla="*/ 504 h 1673"/>
              <a:gd name="connsiteX2" fmla="*/ 633 w 5311"/>
              <a:gd name="connsiteY2" fmla="*/ 1238 h 1673"/>
              <a:gd name="connsiteX3" fmla="*/ 5040 w 5311"/>
              <a:gd name="connsiteY3" fmla="*/ 0 h 1673"/>
            </a:gdLst>
            <a:ahLst/>
            <a:cxnLst>
              <a:cxn ang="0">
                <a:pos x="connsiteX0" y="connsiteY0"/>
              </a:cxn>
              <a:cxn ang="0">
                <a:pos x="connsiteX1" y="connsiteY1"/>
              </a:cxn>
              <a:cxn ang="0">
                <a:pos x="connsiteX2" y="connsiteY2"/>
              </a:cxn>
              <a:cxn ang="0">
                <a:pos x="connsiteX3" y="connsiteY3"/>
              </a:cxn>
            </a:cxnLst>
            <a:rect l="l" t="t" r="r" b="b"/>
            <a:pathLst>
              <a:path w="5311" h="1673">
                <a:moveTo>
                  <a:pt x="5040" y="0"/>
                </a:moveTo>
                <a:lnTo>
                  <a:pt x="5311" y="504"/>
                </a:lnTo>
                <a:cubicBezTo>
                  <a:pt x="3865" y="1390"/>
                  <a:pt x="-1892" y="2201"/>
                  <a:pt x="633" y="1238"/>
                </a:cubicBezTo>
                <a:lnTo>
                  <a:pt x="5040" y="0"/>
                </a:lnTo>
                <a:close/>
              </a:path>
            </a:pathLst>
          </a:custGeom>
          <a:solidFill>
            <a:srgbClr val="8276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Bembo"/>
              <a:ea typeface="+mn-ea"/>
              <a:cs typeface="+mn-cs"/>
            </a:endParaRPr>
          </a:p>
        </p:txBody>
      </p:sp>
      <p:sp>
        <p:nvSpPr>
          <p:cNvPr id="57" name="Freeform: Shape 56">
            <a:extLst>
              <a:ext uri="{FF2B5EF4-FFF2-40B4-BE49-F238E27FC236}">
                <a16:creationId xmlns:a16="http://schemas.microsoft.com/office/drawing/2014/main" id="{D14F34EE-2765-4E68-817F-8FACFF30FD39}"/>
              </a:ext>
              <a:ext uri="{C183D7F6-B498-43B3-948B-1728B52AA6E4}">
                <adec:decorative xmlns:adec="http://schemas.microsoft.com/office/drawing/2017/decorative" val="1"/>
              </a:ext>
            </a:extLst>
          </p:cNvPr>
          <p:cNvSpPr/>
          <p:nvPr userDrawn="1"/>
        </p:nvSpPr>
        <p:spPr>
          <a:xfrm>
            <a:off x="-2" y="4906504"/>
            <a:ext cx="12192000" cy="1951997"/>
          </a:xfrm>
          <a:custGeom>
            <a:avLst/>
            <a:gdLst>
              <a:gd name="connsiteX0" fmla="*/ 5626960 w 12192002"/>
              <a:gd name="connsiteY0" fmla="*/ 0 h 2122526"/>
              <a:gd name="connsiteX1" fmla="*/ 5758918 w 12192002"/>
              <a:gd name="connsiteY1" fmla="*/ 1023 h 2122526"/>
              <a:gd name="connsiteX2" fmla="*/ 5957375 w 12192002"/>
              <a:gd name="connsiteY2" fmla="*/ 16715 h 2122526"/>
              <a:gd name="connsiteX3" fmla="*/ 6010090 w 12192002"/>
              <a:gd name="connsiteY3" fmla="*/ 20359 h 2122526"/>
              <a:gd name="connsiteX4" fmla="*/ 6041282 w 12192002"/>
              <a:gd name="connsiteY4" fmla="*/ 15266 h 2122526"/>
              <a:gd name="connsiteX5" fmla="*/ 6048637 w 12192002"/>
              <a:gd name="connsiteY5" fmla="*/ 6917 h 2122526"/>
              <a:gd name="connsiteX6" fmla="*/ 6068529 w 12192002"/>
              <a:gd name="connsiteY6" fmla="*/ 7600 h 2122526"/>
              <a:gd name="connsiteX7" fmla="*/ 6073847 w 12192002"/>
              <a:gd name="connsiteY7" fmla="*/ 6063 h 2122526"/>
              <a:gd name="connsiteX8" fmla="*/ 6168673 w 12192002"/>
              <a:gd name="connsiteY8" fmla="*/ 26525 h 2122526"/>
              <a:gd name="connsiteX9" fmla="*/ 6285754 w 12192002"/>
              <a:gd name="connsiteY9" fmla="*/ 28612 h 2122526"/>
              <a:gd name="connsiteX10" fmla="*/ 6549454 w 12192002"/>
              <a:gd name="connsiteY10" fmla="*/ 75412 h 2122526"/>
              <a:gd name="connsiteX11" fmla="*/ 6708221 w 12192002"/>
              <a:gd name="connsiteY11" fmla="*/ 104188 h 2122526"/>
              <a:gd name="connsiteX12" fmla="*/ 6904145 w 12192002"/>
              <a:gd name="connsiteY12" fmla="*/ 132143 h 2122526"/>
              <a:gd name="connsiteX13" fmla="*/ 7018495 w 12192002"/>
              <a:gd name="connsiteY13" fmla="*/ 161649 h 2122526"/>
              <a:gd name="connsiteX14" fmla="*/ 7096987 w 12192002"/>
              <a:gd name="connsiteY14" fmla="*/ 161275 h 2122526"/>
              <a:gd name="connsiteX15" fmla="*/ 7170807 w 12192002"/>
              <a:gd name="connsiteY15" fmla="*/ 173503 h 2122526"/>
              <a:gd name="connsiteX16" fmla="*/ 7197003 w 12192002"/>
              <a:gd name="connsiteY16" fmla="*/ 178151 h 2122526"/>
              <a:gd name="connsiteX17" fmla="*/ 7201101 w 12192002"/>
              <a:gd name="connsiteY17" fmla="*/ 183509 h 2122526"/>
              <a:gd name="connsiteX18" fmla="*/ 7218559 w 12192002"/>
              <a:gd name="connsiteY18" fmla="*/ 188059 h 2122526"/>
              <a:gd name="connsiteX19" fmla="*/ 7310852 w 12192002"/>
              <a:gd name="connsiteY19" fmla="*/ 213308 h 2122526"/>
              <a:gd name="connsiteX20" fmla="*/ 7312179 w 12192002"/>
              <a:gd name="connsiteY20" fmla="*/ 211866 h 2122526"/>
              <a:gd name="connsiteX21" fmla="*/ 7405390 w 12192002"/>
              <a:gd name="connsiteY21" fmla="*/ 202271 h 2122526"/>
              <a:gd name="connsiteX22" fmla="*/ 7495794 w 12192002"/>
              <a:gd name="connsiteY22" fmla="*/ 194166 h 2122526"/>
              <a:gd name="connsiteX23" fmla="*/ 7507039 w 12192002"/>
              <a:gd name="connsiteY23" fmla="*/ 196118 h 2122526"/>
              <a:gd name="connsiteX24" fmla="*/ 7507411 w 12192002"/>
              <a:gd name="connsiteY24" fmla="*/ 195791 h 2122526"/>
              <a:gd name="connsiteX25" fmla="*/ 7519570 w 12192002"/>
              <a:gd name="connsiteY25" fmla="*/ 197126 h 2122526"/>
              <a:gd name="connsiteX26" fmla="*/ 7527542 w 12192002"/>
              <a:gd name="connsiteY26" fmla="*/ 199679 h 2122526"/>
              <a:gd name="connsiteX27" fmla="*/ 7614346 w 12192002"/>
              <a:gd name="connsiteY27" fmla="*/ 205507 h 2122526"/>
              <a:gd name="connsiteX28" fmla="*/ 7718744 w 12192002"/>
              <a:gd name="connsiteY28" fmla="*/ 202036 h 2122526"/>
              <a:gd name="connsiteX29" fmla="*/ 7905407 w 12192002"/>
              <a:gd name="connsiteY29" fmla="*/ 227751 h 2122526"/>
              <a:gd name="connsiteX30" fmla="*/ 8090271 w 12192002"/>
              <a:gd name="connsiteY30" fmla="*/ 269724 h 2122526"/>
              <a:gd name="connsiteX31" fmla="*/ 8245834 w 12192002"/>
              <a:gd name="connsiteY31" fmla="*/ 315885 h 2122526"/>
              <a:gd name="connsiteX32" fmla="*/ 8252033 w 12192002"/>
              <a:gd name="connsiteY32" fmla="*/ 328877 h 2122526"/>
              <a:gd name="connsiteX33" fmla="*/ 8263376 w 12192002"/>
              <a:gd name="connsiteY33" fmla="*/ 338720 h 2122526"/>
              <a:gd name="connsiteX34" fmla="*/ 8266075 w 12192002"/>
              <a:gd name="connsiteY34" fmla="*/ 338490 h 2122526"/>
              <a:gd name="connsiteX35" fmla="*/ 8283149 w 12192002"/>
              <a:gd name="connsiteY35" fmla="*/ 345665 h 2122526"/>
              <a:gd name="connsiteX36" fmla="*/ 8284276 w 12192002"/>
              <a:gd name="connsiteY36" fmla="*/ 350108 h 2122526"/>
              <a:gd name="connsiteX37" fmla="*/ 8295173 w 12192002"/>
              <a:gd name="connsiteY37" fmla="*/ 355931 h 2122526"/>
              <a:gd name="connsiteX38" fmla="*/ 8314432 w 12192002"/>
              <a:gd name="connsiteY38" fmla="*/ 369826 h 2122526"/>
              <a:gd name="connsiteX39" fmla="*/ 8320104 w 12192002"/>
              <a:gd name="connsiteY39" fmla="*/ 370152 h 2122526"/>
              <a:gd name="connsiteX40" fmla="*/ 8352372 w 12192002"/>
              <a:gd name="connsiteY40" fmla="*/ 387570 h 2122526"/>
              <a:gd name="connsiteX41" fmla="*/ 8353799 w 12192002"/>
              <a:gd name="connsiteY41" fmla="*/ 386730 h 2122526"/>
              <a:gd name="connsiteX42" fmla="*/ 8367182 w 12192002"/>
              <a:gd name="connsiteY42" fmla="*/ 386924 h 2122526"/>
              <a:gd name="connsiteX43" fmla="*/ 8490249 w 12192002"/>
              <a:gd name="connsiteY43" fmla="*/ 400966 h 2122526"/>
              <a:gd name="connsiteX44" fmla="*/ 8497594 w 12192002"/>
              <a:gd name="connsiteY44" fmla="*/ 404016 h 2122526"/>
              <a:gd name="connsiteX45" fmla="*/ 8497968 w 12192002"/>
              <a:gd name="connsiteY45" fmla="*/ 403837 h 2122526"/>
              <a:gd name="connsiteX46" fmla="*/ 8506167 w 12192002"/>
              <a:gd name="connsiteY46" fmla="*/ 406575 h 2122526"/>
              <a:gd name="connsiteX47" fmla="*/ 8510983 w 12192002"/>
              <a:gd name="connsiteY47" fmla="*/ 409576 h 2122526"/>
              <a:gd name="connsiteX48" fmla="*/ 8525230 w 12192002"/>
              <a:gd name="connsiteY48" fmla="*/ 415491 h 2122526"/>
              <a:gd name="connsiteX49" fmla="*/ 8596071 w 12192002"/>
              <a:gd name="connsiteY49" fmla="*/ 400649 h 2122526"/>
              <a:gd name="connsiteX50" fmla="*/ 8707847 w 12192002"/>
              <a:gd name="connsiteY50" fmla="*/ 409221 h 2122526"/>
              <a:gd name="connsiteX51" fmla="*/ 8752444 w 12192002"/>
              <a:gd name="connsiteY51" fmla="*/ 411322 h 2122526"/>
              <a:gd name="connsiteX52" fmla="*/ 8928988 w 12192002"/>
              <a:gd name="connsiteY52" fmla="*/ 430554 h 2122526"/>
              <a:gd name="connsiteX53" fmla="*/ 8963048 w 12192002"/>
              <a:gd name="connsiteY53" fmla="*/ 427366 h 2122526"/>
              <a:gd name="connsiteX54" fmla="*/ 8968011 w 12192002"/>
              <a:gd name="connsiteY54" fmla="*/ 425141 h 2122526"/>
              <a:gd name="connsiteX55" fmla="*/ 8974337 w 12192002"/>
              <a:gd name="connsiteY55" fmla="*/ 424441 h 2122526"/>
              <a:gd name="connsiteX56" fmla="*/ 8990394 w 12192002"/>
              <a:gd name="connsiteY56" fmla="*/ 427667 h 2122526"/>
              <a:gd name="connsiteX57" fmla="*/ 8996232 w 12192002"/>
              <a:gd name="connsiteY57" fmla="*/ 429728 h 2122526"/>
              <a:gd name="connsiteX58" fmla="*/ 9005201 w 12192002"/>
              <a:gd name="connsiteY58" fmla="*/ 430939 h 2122526"/>
              <a:gd name="connsiteX59" fmla="*/ 9005486 w 12192002"/>
              <a:gd name="connsiteY59" fmla="*/ 430699 h 2122526"/>
              <a:gd name="connsiteX60" fmla="*/ 9053453 w 12192002"/>
              <a:gd name="connsiteY60" fmla="*/ 433984 h 2122526"/>
              <a:gd name="connsiteX61" fmla="*/ 9113812 w 12192002"/>
              <a:gd name="connsiteY61" fmla="*/ 425670 h 2122526"/>
              <a:gd name="connsiteX62" fmla="*/ 9137318 w 12192002"/>
              <a:gd name="connsiteY62" fmla="*/ 424304 h 2122526"/>
              <a:gd name="connsiteX63" fmla="*/ 9150210 w 12192002"/>
              <a:gd name="connsiteY63" fmla="*/ 422135 h 2122526"/>
              <a:gd name="connsiteX64" fmla="*/ 9151232 w 12192002"/>
              <a:gd name="connsiteY64" fmla="*/ 421070 h 2122526"/>
              <a:gd name="connsiteX65" fmla="*/ 9189246 w 12192002"/>
              <a:gd name="connsiteY65" fmla="*/ 432272 h 2122526"/>
              <a:gd name="connsiteX66" fmla="*/ 9194810 w 12192002"/>
              <a:gd name="connsiteY66" fmla="*/ 441511 h 2122526"/>
              <a:gd name="connsiteX67" fmla="*/ 9231370 w 12192002"/>
              <a:gd name="connsiteY67" fmla="*/ 451590 h 2122526"/>
              <a:gd name="connsiteX68" fmla="*/ 9343052 w 12192002"/>
              <a:gd name="connsiteY68" fmla="*/ 503495 h 2122526"/>
              <a:gd name="connsiteX69" fmla="*/ 9584507 w 12192002"/>
              <a:gd name="connsiteY69" fmla="*/ 549197 h 2122526"/>
              <a:gd name="connsiteX70" fmla="*/ 9728309 w 12192002"/>
              <a:gd name="connsiteY70" fmla="*/ 560617 h 2122526"/>
              <a:gd name="connsiteX71" fmla="*/ 9847792 w 12192002"/>
              <a:gd name="connsiteY71" fmla="*/ 580824 h 2122526"/>
              <a:gd name="connsiteX72" fmla="*/ 9960019 w 12192002"/>
              <a:gd name="connsiteY72" fmla="*/ 587592 h 2122526"/>
              <a:gd name="connsiteX73" fmla="*/ 10039240 w 12192002"/>
              <a:gd name="connsiteY73" fmla="*/ 603107 h 2122526"/>
              <a:gd name="connsiteX74" fmla="*/ 10082169 w 12192002"/>
              <a:gd name="connsiteY74" fmla="*/ 601443 h 2122526"/>
              <a:gd name="connsiteX75" fmla="*/ 10126500 w 12192002"/>
              <a:gd name="connsiteY75" fmla="*/ 603538 h 2122526"/>
              <a:gd name="connsiteX76" fmla="*/ 10261101 w 12192002"/>
              <a:gd name="connsiteY76" fmla="*/ 615053 h 2122526"/>
              <a:gd name="connsiteX77" fmla="*/ 10336855 w 12192002"/>
              <a:gd name="connsiteY77" fmla="*/ 624804 h 2122526"/>
              <a:gd name="connsiteX78" fmla="*/ 10383868 w 12192002"/>
              <a:gd name="connsiteY78" fmla="*/ 625415 h 2122526"/>
              <a:gd name="connsiteX79" fmla="*/ 10445984 w 12192002"/>
              <a:gd name="connsiteY79" fmla="*/ 629262 h 2122526"/>
              <a:gd name="connsiteX80" fmla="*/ 10519280 w 12192002"/>
              <a:gd name="connsiteY80" fmla="*/ 631320 h 2122526"/>
              <a:gd name="connsiteX81" fmla="*/ 10644619 w 12192002"/>
              <a:gd name="connsiteY81" fmla="*/ 651566 h 2122526"/>
              <a:gd name="connsiteX82" fmla="*/ 10857724 w 12192002"/>
              <a:gd name="connsiteY82" fmla="*/ 712684 h 2122526"/>
              <a:gd name="connsiteX83" fmla="*/ 10951063 w 12192002"/>
              <a:gd name="connsiteY83" fmla="*/ 725767 h 2122526"/>
              <a:gd name="connsiteX84" fmla="*/ 11030956 w 12192002"/>
              <a:gd name="connsiteY84" fmla="*/ 721011 h 2122526"/>
              <a:gd name="connsiteX85" fmla="*/ 11085938 w 12192002"/>
              <a:gd name="connsiteY85" fmla="*/ 723892 h 2122526"/>
              <a:gd name="connsiteX86" fmla="*/ 11143411 w 12192002"/>
              <a:gd name="connsiteY86" fmla="*/ 733141 h 2122526"/>
              <a:gd name="connsiteX87" fmla="*/ 11195087 w 12192002"/>
              <a:gd name="connsiteY87" fmla="*/ 732494 h 2122526"/>
              <a:gd name="connsiteX88" fmla="*/ 11273972 w 12192002"/>
              <a:gd name="connsiteY88" fmla="*/ 729660 h 2122526"/>
              <a:gd name="connsiteX89" fmla="*/ 11369715 w 12192002"/>
              <a:gd name="connsiteY89" fmla="*/ 813181 h 2122526"/>
              <a:gd name="connsiteX90" fmla="*/ 11462695 w 12192002"/>
              <a:gd name="connsiteY90" fmla="*/ 874654 h 2122526"/>
              <a:gd name="connsiteX91" fmla="*/ 11564181 w 12192002"/>
              <a:gd name="connsiteY91" fmla="*/ 888450 h 2122526"/>
              <a:gd name="connsiteX92" fmla="*/ 11684760 w 12192002"/>
              <a:gd name="connsiteY92" fmla="*/ 929360 h 2122526"/>
              <a:gd name="connsiteX93" fmla="*/ 11744187 w 12192002"/>
              <a:gd name="connsiteY93" fmla="*/ 984253 h 2122526"/>
              <a:gd name="connsiteX94" fmla="*/ 11834979 w 12192002"/>
              <a:gd name="connsiteY94" fmla="*/ 1013094 h 2122526"/>
              <a:gd name="connsiteX95" fmla="*/ 11933790 w 12192002"/>
              <a:gd name="connsiteY95" fmla="*/ 990933 h 2122526"/>
              <a:gd name="connsiteX96" fmla="*/ 12084140 w 12192002"/>
              <a:gd name="connsiteY96" fmla="*/ 1007396 h 2122526"/>
              <a:gd name="connsiteX97" fmla="*/ 12140863 w 12192002"/>
              <a:gd name="connsiteY97" fmla="*/ 1035036 h 2122526"/>
              <a:gd name="connsiteX98" fmla="*/ 12192002 w 12192002"/>
              <a:gd name="connsiteY98" fmla="*/ 1015838 h 2122526"/>
              <a:gd name="connsiteX99" fmla="*/ 12192002 w 12192002"/>
              <a:gd name="connsiteY99" fmla="*/ 1955549 h 2122526"/>
              <a:gd name="connsiteX100" fmla="*/ 12192000 w 12192002"/>
              <a:gd name="connsiteY100" fmla="*/ 1955549 h 2122526"/>
              <a:gd name="connsiteX101" fmla="*/ 12192000 w 12192002"/>
              <a:gd name="connsiteY101" fmla="*/ 2122526 h 2122526"/>
              <a:gd name="connsiteX102" fmla="*/ 0 w 12192002"/>
              <a:gd name="connsiteY102" fmla="*/ 2122526 h 2122526"/>
              <a:gd name="connsiteX103" fmla="*/ 0 w 12192002"/>
              <a:gd name="connsiteY103" fmla="*/ 1348327 h 2122526"/>
              <a:gd name="connsiteX104" fmla="*/ 2 w 12192002"/>
              <a:gd name="connsiteY104" fmla="*/ 1348327 h 2122526"/>
              <a:gd name="connsiteX105" fmla="*/ 2 w 12192002"/>
              <a:gd name="connsiteY105" fmla="*/ 592017 h 2122526"/>
              <a:gd name="connsiteX106" fmla="*/ 15526 w 12192002"/>
              <a:gd name="connsiteY106" fmla="*/ 586548 h 2122526"/>
              <a:gd name="connsiteX107" fmla="*/ 118381 w 12192002"/>
              <a:gd name="connsiteY107" fmla="*/ 583692 h 2122526"/>
              <a:gd name="connsiteX108" fmla="*/ 292435 w 12192002"/>
              <a:gd name="connsiteY108" fmla="*/ 531887 h 2122526"/>
              <a:gd name="connsiteX109" fmla="*/ 404015 w 12192002"/>
              <a:gd name="connsiteY109" fmla="*/ 511191 h 2122526"/>
              <a:gd name="connsiteX110" fmla="*/ 445099 w 12192002"/>
              <a:gd name="connsiteY110" fmla="*/ 505368 h 2122526"/>
              <a:gd name="connsiteX111" fmla="*/ 571717 w 12192002"/>
              <a:gd name="connsiteY111" fmla="*/ 467338 h 2122526"/>
              <a:gd name="connsiteX112" fmla="*/ 578535 w 12192002"/>
              <a:gd name="connsiteY112" fmla="*/ 467527 h 2122526"/>
              <a:gd name="connsiteX113" fmla="*/ 596792 w 12192002"/>
              <a:gd name="connsiteY113" fmla="*/ 464875 h 2122526"/>
              <a:gd name="connsiteX114" fmla="*/ 708875 w 12192002"/>
              <a:gd name="connsiteY114" fmla="*/ 422017 h 2122526"/>
              <a:gd name="connsiteX115" fmla="*/ 719742 w 12192002"/>
              <a:gd name="connsiteY115" fmla="*/ 416340 h 2122526"/>
              <a:gd name="connsiteX116" fmla="*/ 720047 w 12192002"/>
              <a:gd name="connsiteY116" fmla="*/ 415078 h 2122526"/>
              <a:gd name="connsiteX117" fmla="*/ 763053 w 12192002"/>
              <a:gd name="connsiteY117" fmla="*/ 414307 h 2122526"/>
              <a:gd name="connsiteX118" fmla="*/ 767901 w 12192002"/>
              <a:gd name="connsiteY118" fmla="*/ 412086 h 2122526"/>
              <a:gd name="connsiteX119" fmla="*/ 797041 w 12192002"/>
              <a:gd name="connsiteY119" fmla="*/ 414293 h 2122526"/>
              <a:gd name="connsiteX120" fmla="*/ 811506 w 12192002"/>
              <a:gd name="connsiteY120" fmla="*/ 413988 h 2122526"/>
              <a:gd name="connsiteX121" fmla="*/ 816809 w 12192002"/>
              <a:gd name="connsiteY121" fmla="*/ 416882 h 2122526"/>
              <a:gd name="connsiteX122" fmla="*/ 837540 w 12192002"/>
              <a:gd name="connsiteY122" fmla="*/ 414918 h 2122526"/>
              <a:gd name="connsiteX123" fmla="*/ 858269 w 12192002"/>
              <a:gd name="connsiteY123" fmla="*/ 416131 h 2122526"/>
              <a:gd name="connsiteX124" fmla="*/ 948732 w 12192002"/>
              <a:gd name="connsiteY124" fmla="*/ 404293 h 2122526"/>
              <a:gd name="connsiteX125" fmla="*/ 1149979 w 12192002"/>
              <a:gd name="connsiteY125" fmla="*/ 406698 h 2122526"/>
              <a:gd name="connsiteX126" fmla="*/ 1496110 w 12192002"/>
              <a:gd name="connsiteY126" fmla="*/ 357263 h 2122526"/>
              <a:gd name="connsiteX127" fmla="*/ 1608669 w 12192002"/>
              <a:gd name="connsiteY127" fmla="*/ 331673 h 2122526"/>
              <a:gd name="connsiteX128" fmla="*/ 1675071 w 12192002"/>
              <a:gd name="connsiteY128" fmla="*/ 324776 h 2122526"/>
              <a:gd name="connsiteX129" fmla="*/ 1738204 w 12192002"/>
              <a:gd name="connsiteY129" fmla="*/ 308427 h 2122526"/>
              <a:gd name="connsiteX130" fmla="*/ 1786655 w 12192002"/>
              <a:gd name="connsiteY130" fmla="*/ 303376 h 2122526"/>
              <a:gd name="connsiteX131" fmla="*/ 1873080 w 12192002"/>
              <a:gd name="connsiteY131" fmla="*/ 330998 h 2122526"/>
              <a:gd name="connsiteX132" fmla="*/ 1921650 w 12192002"/>
              <a:gd name="connsiteY132" fmla="*/ 332593 h 2122526"/>
              <a:gd name="connsiteX133" fmla="*/ 1928172 w 12192002"/>
              <a:gd name="connsiteY133" fmla="*/ 327762 h 2122526"/>
              <a:gd name="connsiteX134" fmla="*/ 1997356 w 12192002"/>
              <a:gd name="connsiteY134" fmla="*/ 349707 h 2122526"/>
              <a:gd name="connsiteX135" fmla="*/ 2094665 w 12192002"/>
              <a:gd name="connsiteY135" fmla="*/ 341687 h 2122526"/>
              <a:gd name="connsiteX136" fmla="*/ 2208578 w 12192002"/>
              <a:gd name="connsiteY136" fmla="*/ 324976 h 2122526"/>
              <a:gd name="connsiteX137" fmla="*/ 2315112 w 12192002"/>
              <a:gd name="connsiteY137" fmla="*/ 319743 h 2122526"/>
              <a:gd name="connsiteX138" fmla="*/ 2443255 w 12192002"/>
              <a:gd name="connsiteY138" fmla="*/ 328210 h 2122526"/>
              <a:gd name="connsiteX139" fmla="*/ 2587906 w 12192002"/>
              <a:gd name="connsiteY139" fmla="*/ 322233 h 2122526"/>
              <a:gd name="connsiteX140" fmla="*/ 2646527 w 12192002"/>
              <a:gd name="connsiteY140" fmla="*/ 315870 h 2122526"/>
              <a:gd name="connsiteX141" fmla="*/ 2781569 w 12192002"/>
              <a:gd name="connsiteY141" fmla="*/ 326406 h 2122526"/>
              <a:gd name="connsiteX142" fmla="*/ 3030291 w 12192002"/>
              <a:gd name="connsiteY142" fmla="*/ 348227 h 2122526"/>
              <a:gd name="connsiteX143" fmla="*/ 3142556 w 12192002"/>
              <a:gd name="connsiteY143" fmla="*/ 350870 h 2122526"/>
              <a:gd name="connsiteX144" fmla="*/ 3262356 w 12192002"/>
              <a:gd name="connsiteY144" fmla="*/ 358645 h 2122526"/>
              <a:gd name="connsiteX145" fmla="*/ 3341698 w 12192002"/>
              <a:gd name="connsiteY145" fmla="*/ 364522 h 2122526"/>
              <a:gd name="connsiteX146" fmla="*/ 3344026 w 12192002"/>
              <a:gd name="connsiteY146" fmla="*/ 363547 h 2122526"/>
              <a:gd name="connsiteX147" fmla="*/ 3363888 w 12192002"/>
              <a:gd name="connsiteY147" fmla="*/ 365229 h 2122526"/>
              <a:gd name="connsiteX148" fmla="*/ 3400728 w 12192002"/>
              <a:gd name="connsiteY148" fmla="*/ 382181 h 2122526"/>
              <a:gd name="connsiteX149" fmla="*/ 3473223 w 12192002"/>
              <a:gd name="connsiteY149" fmla="*/ 370133 h 2122526"/>
              <a:gd name="connsiteX150" fmla="*/ 3536135 w 12192002"/>
              <a:gd name="connsiteY150" fmla="*/ 366472 h 2122526"/>
              <a:gd name="connsiteX151" fmla="*/ 3585978 w 12192002"/>
              <a:gd name="connsiteY151" fmla="*/ 356773 h 2122526"/>
              <a:gd name="connsiteX152" fmla="*/ 3594501 w 12192002"/>
              <a:gd name="connsiteY152" fmla="*/ 357463 h 2122526"/>
              <a:gd name="connsiteX153" fmla="*/ 3594736 w 12192002"/>
              <a:gd name="connsiteY153" fmla="*/ 357194 h 2122526"/>
              <a:gd name="connsiteX154" fmla="*/ 3603855 w 12192002"/>
              <a:gd name="connsiteY154" fmla="*/ 357358 h 2122526"/>
              <a:gd name="connsiteX155" fmla="*/ 3610035 w 12192002"/>
              <a:gd name="connsiteY155" fmla="*/ 358720 h 2122526"/>
              <a:gd name="connsiteX156" fmla="*/ 3682513 w 12192002"/>
              <a:gd name="connsiteY156" fmla="*/ 326449 h 2122526"/>
              <a:gd name="connsiteX157" fmla="*/ 3789760 w 12192002"/>
              <a:gd name="connsiteY157" fmla="*/ 302526 h 2122526"/>
              <a:gd name="connsiteX158" fmla="*/ 3897275 w 12192002"/>
              <a:gd name="connsiteY158" fmla="*/ 282288 h 2122526"/>
              <a:gd name="connsiteX159" fmla="*/ 3936846 w 12192002"/>
              <a:gd name="connsiteY159" fmla="*/ 276633 h 2122526"/>
              <a:gd name="connsiteX160" fmla="*/ 4004538 w 12192002"/>
              <a:gd name="connsiteY160" fmla="*/ 259176 h 2122526"/>
              <a:gd name="connsiteX161" fmla="*/ 4033778 w 12192002"/>
              <a:gd name="connsiteY161" fmla="*/ 246608 h 2122526"/>
              <a:gd name="connsiteX162" fmla="*/ 4035363 w 12192002"/>
              <a:gd name="connsiteY162" fmla="*/ 246843 h 2122526"/>
              <a:gd name="connsiteX163" fmla="*/ 4036996 w 12192002"/>
              <a:gd name="connsiteY163" fmla="*/ 243176 h 2122526"/>
              <a:gd name="connsiteX164" fmla="*/ 4042364 w 12192002"/>
              <a:gd name="connsiteY164" fmla="*/ 240742 h 2122526"/>
              <a:gd name="connsiteX165" fmla="*/ 4058954 w 12192002"/>
              <a:gd name="connsiteY165" fmla="*/ 239121 h 2122526"/>
              <a:gd name="connsiteX166" fmla="*/ 4065510 w 12192002"/>
              <a:gd name="connsiteY166" fmla="*/ 239339 h 2122526"/>
              <a:gd name="connsiteX167" fmla="*/ 4074427 w 12192002"/>
              <a:gd name="connsiteY167" fmla="*/ 237895 h 2122526"/>
              <a:gd name="connsiteX168" fmla="*/ 4074546 w 12192002"/>
              <a:gd name="connsiteY168" fmla="*/ 237596 h 2122526"/>
              <a:gd name="connsiteX169" fmla="*/ 4083097 w 12192002"/>
              <a:gd name="connsiteY169" fmla="*/ 236761 h 2122526"/>
              <a:gd name="connsiteX170" fmla="*/ 4170574 w 12192002"/>
              <a:gd name="connsiteY170" fmla="*/ 202276 h 2122526"/>
              <a:gd name="connsiteX171" fmla="*/ 4191248 w 12192002"/>
              <a:gd name="connsiteY171" fmla="*/ 194363 h 2122526"/>
              <a:gd name="connsiteX172" fmla="*/ 4201744 w 12192002"/>
              <a:gd name="connsiteY172" fmla="*/ 188729 h 2122526"/>
              <a:gd name="connsiteX173" fmla="*/ 4202048 w 12192002"/>
              <a:gd name="connsiteY173" fmla="*/ 187470 h 2122526"/>
              <a:gd name="connsiteX174" fmla="*/ 4248116 w 12192002"/>
              <a:gd name="connsiteY174" fmla="*/ 184675 h 2122526"/>
              <a:gd name="connsiteX175" fmla="*/ 4276141 w 12192002"/>
              <a:gd name="connsiteY175" fmla="*/ 186999 h 2122526"/>
              <a:gd name="connsiteX176" fmla="*/ 4290062 w 12192002"/>
              <a:gd name="connsiteY176" fmla="*/ 186753 h 2122526"/>
              <a:gd name="connsiteX177" fmla="*/ 4295143 w 12192002"/>
              <a:gd name="connsiteY177" fmla="*/ 189670 h 2122526"/>
              <a:gd name="connsiteX178" fmla="*/ 4315108 w 12192002"/>
              <a:gd name="connsiteY178" fmla="*/ 187791 h 2122526"/>
              <a:gd name="connsiteX179" fmla="*/ 4316965 w 12192002"/>
              <a:gd name="connsiteY179" fmla="*/ 186450 h 2122526"/>
              <a:gd name="connsiteX180" fmla="*/ 4335046 w 12192002"/>
              <a:gd name="connsiteY180" fmla="*/ 189089 h 2122526"/>
              <a:gd name="connsiteX181" fmla="*/ 4372883 w 12192002"/>
              <a:gd name="connsiteY181" fmla="*/ 199670 h 2122526"/>
              <a:gd name="connsiteX182" fmla="*/ 4515813 w 12192002"/>
              <a:gd name="connsiteY182" fmla="*/ 181068 h 2122526"/>
              <a:gd name="connsiteX183" fmla="*/ 4715526 w 12192002"/>
              <a:gd name="connsiteY183" fmla="*/ 171166 h 2122526"/>
              <a:gd name="connsiteX184" fmla="*/ 4762447 w 12192002"/>
              <a:gd name="connsiteY184" fmla="*/ 162678 h 2122526"/>
              <a:gd name="connsiteX185" fmla="*/ 4840439 w 12192002"/>
              <a:gd name="connsiteY185" fmla="*/ 134910 h 2122526"/>
              <a:gd name="connsiteX186" fmla="*/ 5011513 w 12192002"/>
              <a:gd name="connsiteY186" fmla="*/ 110893 h 2122526"/>
              <a:gd name="connsiteX187" fmla="*/ 5065790 w 12192002"/>
              <a:gd name="connsiteY187" fmla="*/ 94512 h 2122526"/>
              <a:gd name="connsiteX188" fmla="*/ 5121659 w 12192002"/>
              <a:gd name="connsiteY188" fmla="*/ 101083 h 2122526"/>
              <a:gd name="connsiteX189" fmla="*/ 5139595 w 12192002"/>
              <a:gd name="connsiteY189" fmla="*/ 90230 h 2122526"/>
              <a:gd name="connsiteX190" fmla="*/ 5142598 w 12192002"/>
              <a:gd name="connsiteY190" fmla="*/ 88129 h 2122526"/>
              <a:gd name="connsiteX191" fmla="*/ 5156554 w 12192002"/>
              <a:gd name="connsiteY191" fmla="*/ 84729 h 2122526"/>
              <a:gd name="connsiteX192" fmla="*/ 5174660 w 12192002"/>
              <a:gd name="connsiteY192" fmla="*/ 77506 h 2122526"/>
              <a:gd name="connsiteX193" fmla="*/ 5222961 w 12192002"/>
              <a:gd name="connsiteY193" fmla="*/ 74516 h 2122526"/>
              <a:gd name="connsiteX194" fmla="*/ 5261763 w 12192002"/>
              <a:gd name="connsiteY194" fmla="*/ 63392 h 2122526"/>
              <a:gd name="connsiteX195" fmla="*/ 5381667 w 12192002"/>
              <a:gd name="connsiteY195" fmla="*/ 42975 h 2122526"/>
              <a:gd name="connsiteX196" fmla="*/ 5432760 w 12192002"/>
              <a:gd name="connsiteY196" fmla="*/ 25273 h 2122526"/>
              <a:gd name="connsiteX197" fmla="*/ 5470905 w 12192002"/>
              <a:gd name="connsiteY197" fmla="*/ 14020 h 2122526"/>
              <a:gd name="connsiteX0" fmla="*/ 5626960 w 12192002"/>
              <a:gd name="connsiteY0" fmla="*/ 0 h 2122526"/>
              <a:gd name="connsiteX1" fmla="*/ 5758918 w 12192002"/>
              <a:gd name="connsiteY1" fmla="*/ 1023 h 2122526"/>
              <a:gd name="connsiteX2" fmla="*/ 5957375 w 12192002"/>
              <a:gd name="connsiteY2" fmla="*/ 16715 h 2122526"/>
              <a:gd name="connsiteX3" fmla="*/ 6010090 w 12192002"/>
              <a:gd name="connsiteY3" fmla="*/ 20359 h 2122526"/>
              <a:gd name="connsiteX4" fmla="*/ 6041282 w 12192002"/>
              <a:gd name="connsiteY4" fmla="*/ 15266 h 2122526"/>
              <a:gd name="connsiteX5" fmla="*/ 6048637 w 12192002"/>
              <a:gd name="connsiteY5" fmla="*/ 6917 h 2122526"/>
              <a:gd name="connsiteX6" fmla="*/ 6068529 w 12192002"/>
              <a:gd name="connsiteY6" fmla="*/ 7600 h 2122526"/>
              <a:gd name="connsiteX7" fmla="*/ 6073847 w 12192002"/>
              <a:gd name="connsiteY7" fmla="*/ 6063 h 2122526"/>
              <a:gd name="connsiteX8" fmla="*/ 6168673 w 12192002"/>
              <a:gd name="connsiteY8" fmla="*/ 26525 h 2122526"/>
              <a:gd name="connsiteX9" fmla="*/ 6317559 w 12192002"/>
              <a:gd name="connsiteY9" fmla="*/ 28612 h 2122526"/>
              <a:gd name="connsiteX10" fmla="*/ 6549454 w 12192002"/>
              <a:gd name="connsiteY10" fmla="*/ 75412 h 2122526"/>
              <a:gd name="connsiteX11" fmla="*/ 6708221 w 12192002"/>
              <a:gd name="connsiteY11" fmla="*/ 104188 h 2122526"/>
              <a:gd name="connsiteX12" fmla="*/ 6904145 w 12192002"/>
              <a:gd name="connsiteY12" fmla="*/ 132143 h 2122526"/>
              <a:gd name="connsiteX13" fmla="*/ 7018495 w 12192002"/>
              <a:gd name="connsiteY13" fmla="*/ 161649 h 2122526"/>
              <a:gd name="connsiteX14" fmla="*/ 7096987 w 12192002"/>
              <a:gd name="connsiteY14" fmla="*/ 161275 h 2122526"/>
              <a:gd name="connsiteX15" fmla="*/ 7170807 w 12192002"/>
              <a:gd name="connsiteY15" fmla="*/ 173503 h 2122526"/>
              <a:gd name="connsiteX16" fmla="*/ 7197003 w 12192002"/>
              <a:gd name="connsiteY16" fmla="*/ 178151 h 2122526"/>
              <a:gd name="connsiteX17" fmla="*/ 7201101 w 12192002"/>
              <a:gd name="connsiteY17" fmla="*/ 183509 h 2122526"/>
              <a:gd name="connsiteX18" fmla="*/ 7218559 w 12192002"/>
              <a:gd name="connsiteY18" fmla="*/ 188059 h 2122526"/>
              <a:gd name="connsiteX19" fmla="*/ 7310852 w 12192002"/>
              <a:gd name="connsiteY19" fmla="*/ 213308 h 2122526"/>
              <a:gd name="connsiteX20" fmla="*/ 7312179 w 12192002"/>
              <a:gd name="connsiteY20" fmla="*/ 211866 h 2122526"/>
              <a:gd name="connsiteX21" fmla="*/ 7405390 w 12192002"/>
              <a:gd name="connsiteY21" fmla="*/ 202271 h 2122526"/>
              <a:gd name="connsiteX22" fmla="*/ 7495794 w 12192002"/>
              <a:gd name="connsiteY22" fmla="*/ 194166 h 2122526"/>
              <a:gd name="connsiteX23" fmla="*/ 7507039 w 12192002"/>
              <a:gd name="connsiteY23" fmla="*/ 196118 h 2122526"/>
              <a:gd name="connsiteX24" fmla="*/ 7507411 w 12192002"/>
              <a:gd name="connsiteY24" fmla="*/ 195791 h 2122526"/>
              <a:gd name="connsiteX25" fmla="*/ 7519570 w 12192002"/>
              <a:gd name="connsiteY25" fmla="*/ 197126 h 2122526"/>
              <a:gd name="connsiteX26" fmla="*/ 7527542 w 12192002"/>
              <a:gd name="connsiteY26" fmla="*/ 199679 h 2122526"/>
              <a:gd name="connsiteX27" fmla="*/ 7614346 w 12192002"/>
              <a:gd name="connsiteY27" fmla="*/ 205507 h 2122526"/>
              <a:gd name="connsiteX28" fmla="*/ 7718744 w 12192002"/>
              <a:gd name="connsiteY28" fmla="*/ 202036 h 2122526"/>
              <a:gd name="connsiteX29" fmla="*/ 7905407 w 12192002"/>
              <a:gd name="connsiteY29" fmla="*/ 227751 h 2122526"/>
              <a:gd name="connsiteX30" fmla="*/ 8090271 w 12192002"/>
              <a:gd name="connsiteY30" fmla="*/ 269724 h 2122526"/>
              <a:gd name="connsiteX31" fmla="*/ 8245834 w 12192002"/>
              <a:gd name="connsiteY31" fmla="*/ 315885 h 2122526"/>
              <a:gd name="connsiteX32" fmla="*/ 8252033 w 12192002"/>
              <a:gd name="connsiteY32" fmla="*/ 328877 h 2122526"/>
              <a:gd name="connsiteX33" fmla="*/ 8263376 w 12192002"/>
              <a:gd name="connsiteY33" fmla="*/ 338720 h 2122526"/>
              <a:gd name="connsiteX34" fmla="*/ 8266075 w 12192002"/>
              <a:gd name="connsiteY34" fmla="*/ 338490 h 2122526"/>
              <a:gd name="connsiteX35" fmla="*/ 8283149 w 12192002"/>
              <a:gd name="connsiteY35" fmla="*/ 345665 h 2122526"/>
              <a:gd name="connsiteX36" fmla="*/ 8284276 w 12192002"/>
              <a:gd name="connsiteY36" fmla="*/ 350108 h 2122526"/>
              <a:gd name="connsiteX37" fmla="*/ 8295173 w 12192002"/>
              <a:gd name="connsiteY37" fmla="*/ 355931 h 2122526"/>
              <a:gd name="connsiteX38" fmla="*/ 8314432 w 12192002"/>
              <a:gd name="connsiteY38" fmla="*/ 369826 h 2122526"/>
              <a:gd name="connsiteX39" fmla="*/ 8320104 w 12192002"/>
              <a:gd name="connsiteY39" fmla="*/ 370152 h 2122526"/>
              <a:gd name="connsiteX40" fmla="*/ 8352372 w 12192002"/>
              <a:gd name="connsiteY40" fmla="*/ 387570 h 2122526"/>
              <a:gd name="connsiteX41" fmla="*/ 8353799 w 12192002"/>
              <a:gd name="connsiteY41" fmla="*/ 386730 h 2122526"/>
              <a:gd name="connsiteX42" fmla="*/ 8367182 w 12192002"/>
              <a:gd name="connsiteY42" fmla="*/ 386924 h 2122526"/>
              <a:gd name="connsiteX43" fmla="*/ 8490249 w 12192002"/>
              <a:gd name="connsiteY43" fmla="*/ 400966 h 2122526"/>
              <a:gd name="connsiteX44" fmla="*/ 8497594 w 12192002"/>
              <a:gd name="connsiteY44" fmla="*/ 404016 h 2122526"/>
              <a:gd name="connsiteX45" fmla="*/ 8497968 w 12192002"/>
              <a:gd name="connsiteY45" fmla="*/ 403837 h 2122526"/>
              <a:gd name="connsiteX46" fmla="*/ 8506167 w 12192002"/>
              <a:gd name="connsiteY46" fmla="*/ 406575 h 2122526"/>
              <a:gd name="connsiteX47" fmla="*/ 8510983 w 12192002"/>
              <a:gd name="connsiteY47" fmla="*/ 409576 h 2122526"/>
              <a:gd name="connsiteX48" fmla="*/ 8525230 w 12192002"/>
              <a:gd name="connsiteY48" fmla="*/ 415491 h 2122526"/>
              <a:gd name="connsiteX49" fmla="*/ 8596071 w 12192002"/>
              <a:gd name="connsiteY49" fmla="*/ 400649 h 2122526"/>
              <a:gd name="connsiteX50" fmla="*/ 8707847 w 12192002"/>
              <a:gd name="connsiteY50" fmla="*/ 409221 h 2122526"/>
              <a:gd name="connsiteX51" fmla="*/ 8752444 w 12192002"/>
              <a:gd name="connsiteY51" fmla="*/ 411322 h 2122526"/>
              <a:gd name="connsiteX52" fmla="*/ 8928988 w 12192002"/>
              <a:gd name="connsiteY52" fmla="*/ 430554 h 2122526"/>
              <a:gd name="connsiteX53" fmla="*/ 8963048 w 12192002"/>
              <a:gd name="connsiteY53" fmla="*/ 427366 h 2122526"/>
              <a:gd name="connsiteX54" fmla="*/ 8968011 w 12192002"/>
              <a:gd name="connsiteY54" fmla="*/ 425141 h 2122526"/>
              <a:gd name="connsiteX55" fmla="*/ 8974337 w 12192002"/>
              <a:gd name="connsiteY55" fmla="*/ 424441 h 2122526"/>
              <a:gd name="connsiteX56" fmla="*/ 8990394 w 12192002"/>
              <a:gd name="connsiteY56" fmla="*/ 427667 h 2122526"/>
              <a:gd name="connsiteX57" fmla="*/ 8996232 w 12192002"/>
              <a:gd name="connsiteY57" fmla="*/ 429728 h 2122526"/>
              <a:gd name="connsiteX58" fmla="*/ 9005201 w 12192002"/>
              <a:gd name="connsiteY58" fmla="*/ 430939 h 2122526"/>
              <a:gd name="connsiteX59" fmla="*/ 9005486 w 12192002"/>
              <a:gd name="connsiteY59" fmla="*/ 430699 h 2122526"/>
              <a:gd name="connsiteX60" fmla="*/ 9053453 w 12192002"/>
              <a:gd name="connsiteY60" fmla="*/ 433984 h 2122526"/>
              <a:gd name="connsiteX61" fmla="*/ 9113812 w 12192002"/>
              <a:gd name="connsiteY61" fmla="*/ 425670 h 2122526"/>
              <a:gd name="connsiteX62" fmla="*/ 9137318 w 12192002"/>
              <a:gd name="connsiteY62" fmla="*/ 424304 h 2122526"/>
              <a:gd name="connsiteX63" fmla="*/ 9150210 w 12192002"/>
              <a:gd name="connsiteY63" fmla="*/ 422135 h 2122526"/>
              <a:gd name="connsiteX64" fmla="*/ 9151232 w 12192002"/>
              <a:gd name="connsiteY64" fmla="*/ 421070 h 2122526"/>
              <a:gd name="connsiteX65" fmla="*/ 9189246 w 12192002"/>
              <a:gd name="connsiteY65" fmla="*/ 432272 h 2122526"/>
              <a:gd name="connsiteX66" fmla="*/ 9194810 w 12192002"/>
              <a:gd name="connsiteY66" fmla="*/ 441511 h 2122526"/>
              <a:gd name="connsiteX67" fmla="*/ 9231370 w 12192002"/>
              <a:gd name="connsiteY67" fmla="*/ 451590 h 2122526"/>
              <a:gd name="connsiteX68" fmla="*/ 9343052 w 12192002"/>
              <a:gd name="connsiteY68" fmla="*/ 503495 h 2122526"/>
              <a:gd name="connsiteX69" fmla="*/ 9584507 w 12192002"/>
              <a:gd name="connsiteY69" fmla="*/ 549197 h 2122526"/>
              <a:gd name="connsiteX70" fmla="*/ 9728309 w 12192002"/>
              <a:gd name="connsiteY70" fmla="*/ 560617 h 2122526"/>
              <a:gd name="connsiteX71" fmla="*/ 9847792 w 12192002"/>
              <a:gd name="connsiteY71" fmla="*/ 580824 h 2122526"/>
              <a:gd name="connsiteX72" fmla="*/ 9960019 w 12192002"/>
              <a:gd name="connsiteY72" fmla="*/ 587592 h 2122526"/>
              <a:gd name="connsiteX73" fmla="*/ 10039240 w 12192002"/>
              <a:gd name="connsiteY73" fmla="*/ 603107 h 2122526"/>
              <a:gd name="connsiteX74" fmla="*/ 10082169 w 12192002"/>
              <a:gd name="connsiteY74" fmla="*/ 601443 h 2122526"/>
              <a:gd name="connsiteX75" fmla="*/ 10126500 w 12192002"/>
              <a:gd name="connsiteY75" fmla="*/ 603538 h 2122526"/>
              <a:gd name="connsiteX76" fmla="*/ 10261101 w 12192002"/>
              <a:gd name="connsiteY76" fmla="*/ 615053 h 2122526"/>
              <a:gd name="connsiteX77" fmla="*/ 10336855 w 12192002"/>
              <a:gd name="connsiteY77" fmla="*/ 624804 h 2122526"/>
              <a:gd name="connsiteX78" fmla="*/ 10383868 w 12192002"/>
              <a:gd name="connsiteY78" fmla="*/ 625415 h 2122526"/>
              <a:gd name="connsiteX79" fmla="*/ 10445984 w 12192002"/>
              <a:gd name="connsiteY79" fmla="*/ 629262 h 2122526"/>
              <a:gd name="connsiteX80" fmla="*/ 10519280 w 12192002"/>
              <a:gd name="connsiteY80" fmla="*/ 631320 h 2122526"/>
              <a:gd name="connsiteX81" fmla="*/ 10644619 w 12192002"/>
              <a:gd name="connsiteY81" fmla="*/ 651566 h 2122526"/>
              <a:gd name="connsiteX82" fmla="*/ 10857724 w 12192002"/>
              <a:gd name="connsiteY82" fmla="*/ 712684 h 2122526"/>
              <a:gd name="connsiteX83" fmla="*/ 10951063 w 12192002"/>
              <a:gd name="connsiteY83" fmla="*/ 725767 h 2122526"/>
              <a:gd name="connsiteX84" fmla="*/ 11030956 w 12192002"/>
              <a:gd name="connsiteY84" fmla="*/ 721011 h 2122526"/>
              <a:gd name="connsiteX85" fmla="*/ 11085938 w 12192002"/>
              <a:gd name="connsiteY85" fmla="*/ 723892 h 2122526"/>
              <a:gd name="connsiteX86" fmla="*/ 11143411 w 12192002"/>
              <a:gd name="connsiteY86" fmla="*/ 733141 h 2122526"/>
              <a:gd name="connsiteX87" fmla="*/ 11195087 w 12192002"/>
              <a:gd name="connsiteY87" fmla="*/ 732494 h 2122526"/>
              <a:gd name="connsiteX88" fmla="*/ 11273972 w 12192002"/>
              <a:gd name="connsiteY88" fmla="*/ 729660 h 2122526"/>
              <a:gd name="connsiteX89" fmla="*/ 11369715 w 12192002"/>
              <a:gd name="connsiteY89" fmla="*/ 813181 h 2122526"/>
              <a:gd name="connsiteX90" fmla="*/ 11462695 w 12192002"/>
              <a:gd name="connsiteY90" fmla="*/ 874654 h 2122526"/>
              <a:gd name="connsiteX91" fmla="*/ 11564181 w 12192002"/>
              <a:gd name="connsiteY91" fmla="*/ 888450 h 2122526"/>
              <a:gd name="connsiteX92" fmla="*/ 11684760 w 12192002"/>
              <a:gd name="connsiteY92" fmla="*/ 929360 h 2122526"/>
              <a:gd name="connsiteX93" fmla="*/ 11744187 w 12192002"/>
              <a:gd name="connsiteY93" fmla="*/ 984253 h 2122526"/>
              <a:gd name="connsiteX94" fmla="*/ 11834979 w 12192002"/>
              <a:gd name="connsiteY94" fmla="*/ 1013094 h 2122526"/>
              <a:gd name="connsiteX95" fmla="*/ 11933790 w 12192002"/>
              <a:gd name="connsiteY95" fmla="*/ 990933 h 2122526"/>
              <a:gd name="connsiteX96" fmla="*/ 12084140 w 12192002"/>
              <a:gd name="connsiteY96" fmla="*/ 1007396 h 2122526"/>
              <a:gd name="connsiteX97" fmla="*/ 12140863 w 12192002"/>
              <a:gd name="connsiteY97" fmla="*/ 1035036 h 2122526"/>
              <a:gd name="connsiteX98" fmla="*/ 12192002 w 12192002"/>
              <a:gd name="connsiteY98" fmla="*/ 1015838 h 2122526"/>
              <a:gd name="connsiteX99" fmla="*/ 12192002 w 12192002"/>
              <a:gd name="connsiteY99" fmla="*/ 1955549 h 2122526"/>
              <a:gd name="connsiteX100" fmla="*/ 12192000 w 12192002"/>
              <a:gd name="connsiteY100" fmla="*/ 1955549 h 2122526"/>
              <a:gd name="connsiteX101" fmla="*/ 12192000 w 12192002"/>
              <a:gd name="connsiteY101" fmla="*/ 2122526 h 2122526"/>
              <a:gd name="connsiteX102" fmla="*/ 0 w 12192002"/>
              <a:gd name="connsiteY102" fmla="*/ 2122526 h 2122526"/>
              <a:gd name="connsiteX103" fmla="*/ 0 w 12192002"/>
              <a:gd name="connsiteY103" fmla="*/ 1348327 h 2122526"/>
              <a:gd name="connsiteX104" fmla="*/ 2 w 12192002"/>
              <a:gd name="connsiteY104" fmla="*/ 1348327 h 2122526"/>
              <a:gd name="connsiteX105" fmla="*/ 2 w 12192002"/>
              <a:gd name="connsiteY105" fmla="*/ 592017 h 2122526"/>
              <a:gd name="connsiteX106" fmla="*/ 15526 w 12192002"/>
              <a:gd name="connsiteY106" fmla="*/ 586548 h 2122526"/>
              <a:gd name="connsiteX107" fmla="*/ 118381 w 12192002"/>
              <a:gd name="connsiteY107" fmla="*/ 583692 h 2122526"/>
              <a:gd name="connsiteX108" fmla="*/ 292435 w 12192002"/>
              <a:gd name="connsiteY108" fmla="*/ 531887 h 2122526"/>
              <a:gd name="connsiteX109" fmla="*/ 404015 w 12192002"/>
              <a:gd name="connsiteY109" fmla="*/ 511191 h 2122526"/>
              <a:gd name="connsiteX110" fmla="*/ 445099 w 12192002"/>
              <a:gd name="connsiteY110" fmla="*/ 505368 h 2122526"/>
              <a:gd name="connsiteX111" fmla="*/ 571717 w 12192002"/>
              <a:gd name="connsiteY111" fmla="*/ 467338 h 2122526"/>
              <a:gd name="connsiteX112" fmla="*/ 578535 w 12192002"/>
              <a:gd name="connsiteY112" fmla="*/ 467527 h 2122526"/>
              <a:gd name="connsiteX113" fmla="*/ 596792 w 12192002"/>
              <a:gd name="connsiteY113" fmla="*/ 464875 h 2122526"/>
              <a:gd name="connsiteX114" fmla="*/ 708875 w 12192002"/>
              <a:gd name="connsiteY114" fmla="*/ 422017 h 2122526"/>
              <a:gd name="connsiteX115" fmla="*/ 719742 w 12192002"/>
              <a:gd name="connsiteY115" fmla="*/ 416340 h 2122526"/>
              <a:gd name="connsiteX116" fmla="*/ 720047 w 12192002"/>
              <a:gd name="connsiteY116" fmla="*/ 415078 h 2122526"/>
              <a:gd name="connsiteX117" fmla="*/ 763053 w 12192002"/>
              <a:gd name="connsiteY117" fmla="*/ 414307 h 2122526"/>
              <a:gd name="connsiteX118" fmla="*/ 767901 w 12192002"/>
              <a:gd name="connsiteY118" fmla="*/ 412086 h 2122526"/>
              <a:gd name="connsiteX119" fmla="*/ 797041 w 12192002"/>
              <a:gd name="connsiteY119" fmla="*/ 414293 h 2122526"/>
              <a:gd name="connsiteX120" fmla="*/ 811506 w 12192002"/>
              <a:gd name="connsiteY120" fmla="*/ 413988 h 2122526"/>
              <a:gd name="connsiteX121" fmla="*/ 816809 w 12192002"/>
              <a:gd name="connsiteY121" fmla="*/ 416882 h 2122526"/>
              <a:gd name="connsiteX122" fmla="*/ 837540 w 12192002"/>
              <a:gd name="connsiteY122" fmla="*/ 414918 h 2122526"/>
              <a:gd name="connsiteX123" fmla="*/ 858269 w 12192002"/>
              <a:gd name="connsiteY123" fmla="*/ 416131 h 2122526"/>
              <a:gd name="connsiteX124" fmla="*/ 948732 w 12192002"/>
              <a:gd name="connsiteY124" fmla="*/ 404293 h 2122526"/>
              <a:gd name="connsiteX125" fmla="*/ 1149979 w 12192002"/>
              <a:gd name="connsiteY125" fmla="*/ 406698 h 2122526"/>
              <a:gd name="connsiteX126" fmla="*/ 1496110 w 12192002"/>
              <a:gd name="connsiteY126" fmla="*/ 357263 h 2122526"/>
              <a:gd name="connsiteX127" fmla="*/ 1608669 w 12192002"/>
              <a:gd name="connsiteY127" fmla="*/ 331673 h 2122526"/>
              <a:gd name="connsiteX128" fmla="*/ 1675071 w 12192002"/>
              <a:gd name="connsiteY128" fmla="*/ 324776 h 2122526"/>
              <a:gd name="connsiteX129" fmla="*/ 1738204 w 12192002"/>
              <a:gd name="connsiteY129" fmla="*/ 308427 h 2122526"/>
              <a:gd name="connsiteX130" fmla="*/ 1786655 w 12192002"/>
              <a:gd name="connsiteY130" fmla="*/ 303376 h 2122526"/>
              <a:gd name="connsiteX131" fmla="*/ 1873080 w 12192002"/>
              <a:gd name="connsiteY131" fmla="*/ 330998 h 2122526"/>
              <a:gd name="connsiteX132" fmla="*/ 1921650 w 12192002"/>
              <a:gd name="connsiteY132" fmla="*/ 332593 h 2122526"/>
              <a:gd name="connsiteX133" fmla="*/ 1928172 w 12192002"/>
              <a:gd name="connsiteY133" fmla="*/ 327762 h 2122526"/>
              <a:gd name="connsiteX134" fmla="*/ 1997356 w 12192002"/>
              <a:gd name="connsiteY134" fmla="*/ 349707 h 2122526"/>
              <a:gd name="connsiteX135" fmla="*/ 2094665 w 12192002"/>
              <a:gd name="connsiteY135" fmla="*/ 341687 h 2122526"/>
              <a:gd name="connsiteX136" fmla="*/ 2208578 w 12192002"/>
              <a:gd name="connsiteY136" fmla="*/ 324976 h 2122526"/>
              <a:gd name="connsiteX137" fmla="*/ 2315112 w 12192002"/>
              <a:gd name="connsiteY137" fmla="*/ 319743 h 2122526"/>
              <a:gd name="connsiteX138" fmla="*/ 2443255 w 12192002"/>
              <a:gd name="connsiteY138" fmla="*/ 328210 h 2122526"/>
              <a:gd name="connsiteX139" fmla="*/ 2587906 w 12192002"/>
              <a:gd name="connsiteY139" fmla="*/ 322233 h 2122526"/>
              <a:gd name="connsiteX140" fmla="*/ 2646527 w 12192002"/>
              <a:gd name="connsiteY140" fmla="*/ 315870 h 2122526"/>
              <a:gd name="connsiteX141" fmla="*/ 2781569 w 12192002"/>
              <a:gd name="connsiteY141" fmla="*/ 326406 h 2122526"/>
              <a:gd name="connsiteX142" fmla="*/ 3030291 w 12192002"/>
              <a:gd name="connsiteY142" fmla="*/ 348227 h 2122526"/>
              <a:gd name="connsiteX143" fmla="*/ 3142556 w 12192002"/>
              <a:gd name="connsiteY143" fmla="*/ 350870 h 2122526"/>
              <a:gd name="connsiteX144" fmla="*/ 3262356 w 12192002"/>
              <a:gd name="connsiteY144" fmla="*/ 358645 h 2122526"/>
              <a:gd name="connsiteX145" fmla="*/ 3341698 w 12192002"/>
              <a:gd name="connsiteY145" fmla="*/ 364522 h 2122526"/>
              <a:gd name="connsiteX146" fmla="*/ 3344026 w 12192002"/>
              <a:gd name="connsiteY146" fmla="*/ 363547 h 2122526"/>
              <a:gd name="connsiteX147" fmla="*/ 3363888 w 12192002"/>
              <a:gd name="connsiteY147" fmla="*/ 365229 h 2122526"/>
              <a:gd name="connsiteX148" fmla="*/ 3400728 w 12192002"/>
              <a:gd name="connsiteY148" fmla="*/ 382181 h 2122526"/>
              <a:gd name="connsiteX149" fmla="*/ 3473223 w 12192002"/>
              <a:gd name="connsiteY149" fmla="*/ 370133 h 2122526"/>
              <a:gd name="connsiteX150" fmla="*/ 3536135 w 12192002"/>
              <a:gd name="connsiteY150" fmla="*/ 366472 h 2122526"/>
              <a:gd name="connsiteX151" fmla="*/ 3585978 w 12192002"/>
              <a:gd name="connsiteY151" fmla="*/ 356773 h 2122526"/>
              <a:gd name="connsiteX152" fmla="*/ 3594501 w 12192002"/>
              <a:gd name="connsiteY152" fmla="*/ 357463 h 2122526"/>
              <a:gd name="connsiteX153" fmla="*/ 3594736 w 12192002"/>
              <a:gd name="connsiteY153" fmla="*/ 357194 h 2122526"/>
              <a:gd name="connsiteX154" fmla="*/ 3603855 w 12192002"/>
              <a:gd name="connsiteY154" fmla="*/ 357358 h 2122526"/>
              <a:gd name="connsiteX155" fmla="*/ 3610035 w 12192002"/>
              <a:gd name="connsiteY155" fmla="*/ 358720 h 2122526"/>
              <a:gd name="connsiteX156" fmla="*/ 3682513 w 12192002"/>
              <a:gd name="connsiteY156" fmla="*/ 326449 h 2122526"/>
              <a:gd name="connsiteX157" fmla="*/ 3789760 w 12192002"/>
              <a:gd name="connsiteY157" fmla="*/ 302526 h 2122526"/>
              <a:gd name="connsiteX158" fmla="*/ 3897275 w 12192002"/>
              <a:gd name="connsiteY158" fmla="*/ 282288 h 2122526"/>
              <a:gd name="connsiteX159" fmla="*/ 3936846 w 12192002"/>
              <a:gd name="connsiteY159" fmla="*/ 276633 h 2122526"/>
              <a:gd name="connsiteX160" fmla="*/ 4004538 w 12192002"/>
              <a:gd name="connsiteY160" fmla="*/ 259176 h 2122526"/>
              <a:gd name="connsiteX161" fmla="*/ 4033778 w 12192002"/>
              <a:gd name="connsiteY161" fmla="*/ 246608 h 2122526"/>
              <a:gd name="connsiteX162" fmla="*/ 4035363 w 12192002"/>
              <a:gd name="connsiteY162" fmla="*/ 246843 h 2122526"/>
              <a:gd name="connsiteX163" fmla="*/ 4036996 w 12192002"/>
              <a:gd name="connsiteY163" fmla="*/ 243176 h 2122526"/>
              <a:gd name="connsiteX164" fmla="*/ 4042364 w 12192002"/>
              <a:gd name="connsiteY164" fmla="*/ 240742 h 2122526"/>
              <a:gd name="connsiteX165" fmla="*/ 4058954 w 12192002"/>
              <a:gd name="connsiteY165" fmla="*/ 239121 h 2122526"/>
              <a:gd name="connsiteX166" fmla="*/ 4065510 w 12192002"/>
              <a:gd name="connsiteY166" fmla="*/ 239339 h 2122526"/>
              <a:gd name="connsiteX167" fmla="*/ 4074427 w 12192002"/>
              <a:gd name="connsiteY167" fmla="*/ 237895 h 2122526"/>
              <a:gd name="connsiteX168" fmla="*/ 4074546 w 12192002"/>
              <a:gd name="connsiteY168" fmla="*/ 237596 h 2122526"/>
              <a:gd name="connsiteX169" fmla="*/ 4083097 w 12192002"/>
              <a:gd name="connsiteY169" fmla="*/ 236761 h 2122526"/>
              <a:gd name="connsiteX170" fmla="*/ 4170574 w 12192002"/>
              <a:gd name="connsiteY170" fmla="*/ 202276 h 2122526"/>
              <a:gd name="connsiteX171" fmla="*/ 4191248 w 12192002"/>
              <a:gd name="connsiteY171" fmla="*/ 194363 h 2122526"/>
              <a:gd name="connsiteX172" fmla="*/ 4201744 w 12192002"/>
              <a:gd name="connsiteY172" fmla="*/ 188729 h 2122526"/>
              <a:gd name="connsiteX173" fmla="*/ 4202048 w 12192002"/>
              <a:gd name="connsiteY173" fmla="*/ 187470 h 2122526"/>
              <a:gd name="connsiteX174" fmla="*/ 4248116 w 12192002"/>
              <a:gd name="connsiteY174" fmla="*/ 184675 h 2122526"/>
              <a:gd name="connsiteX175" fmla="*/ 4276141 w 12192002"/>
              <a:gd name="connsiteY175" fmla="*/ 186999 h 2122526"/>
              <a:gd name="connsiteX176" fmla="*/ 4290062 w 12192002"/>
              <a:gd name="connsiteY176" fmla="*/ 186753 h 2122526"/>
              <a:gd name="connsiteX177" fmla="*/ 4295143 w 12192002"/>
              <a:gd name="connsiteY177" fmla="*/ 189670 h 2122526"/>
              <a:gd name="connsiteX178" fmla="*/ 4315108 w 12192002"/>
              <a:gd name="connsiteY178" fmla="*/ 187791 h 2122526"/>
              <a:gd name="connsiteX179" fmla="*/ 4316965 w 12192002"/>
              <a:gd name="connsiteY179" fmla="*/ 186450 h 2122526"/>
              <a:gd name="connsiteX180" fmla="*/ 4335046 w 12192002"/>
              <a:gd name="connsiteY180" fmla="*/ 189089 h 2122526"/>
              <a:gd name="connsiteX181" fmla="*/ 4372883 w 12192002"/>
              <a:gd name="connsiteY181" fmla="*/ 199670 h 2122526"/>
              <a:gd name="connsiteX182" fmla="*/ 4515813 w 12192002"/>
              <a:gd name="connsiteY182" fmla="*/ 181068 h 2122526"/>
              <a:gd name="connsiteX183" fmla="*/ 4715526 w 12192002"/>
              <a:gd name="connsiteY183" fmla="*/ 171166 h 2122526"/>
              <a:gd name="connsiteX184" fmla="*/ 4762447 w 12192002"/>
              <a:gd name="connsiteY184" fmla="*/ 162678 h 2122526"/>
              <a:gd name="connsiteX185" fmla="*/ 4840439 w 12192002"/>
              <a:gd name="connsiteY185" fmla="*/ 134910 h 2122526"/>
              <a:gd name="connsiteX186" fmla="*/ 5011513 w 12192002"/>
              <a:gd name="connsiteY186" fmla="*/ 110893 h 2122526"/>
              <a:gd name="connsiteX187" fmla="*/ 5065790 w 12192002"/>
              <a:gd name="connsiteY187" fmla="*/ 94512 h 2122526"/>
              <a:gd name="connsiteX188" fmla="*/ 5121659 w 12192002"/>
              <a:gd name="connsiteY188" fmla="*/ 101083 h 2122526"/>
              <a:gd name="connsiteX189" fmla="*/ 5139595 w 12192002"/>
              <a:gd name="connsiteY189" fmla="*/ 90230 h 2122526"/>
              <a:gd name="connsiteX190" fmla="*/ 5142598 w 12192002"/>
              <a:gd name="connsiteY190" fmla="*/ 88129 h 2122526"/>
              <a:gd name="connsiteX191" fmla="*/ 5156554 w 12192002"/>
              <a:gd name="connsiteY191" fmla="*/ 84729 h 2122526"/>
              <a:gd name="connsiteX192" fmla="*/ 5174660 w 12192002"/>
              <a:gd name="connsiteY192" fmla="*/ 77506 h 2122526"/>
              <a:gd name="connsiteX193" fmla="*/ 5222961 w 12192002"/>
              <a:gd name="connsiteY193" fmla="*/ 74516 h 2122526"/>
              <a:gd name="connsiteX194" fmla="*/ 5261763 w 12192002"/>
              <a:gd name="connsiteY194" fmla="*/ 63392 h 2122526"/>
              <a:gd name="connsiteX195" fmla="*/ 5381667 w 12192002"/>
              <a:gd name="connsiteY195" fmla="*/ 42975 h 2122526"/>
              <a:gd name="connsiteX196" fmla="*/ 5432760 w 12192002"/>
              <a:gd name="connsiteY196" fmla="*/ 25273 h 2122526"/>
              <a:gd name="connsiteX197" fmla="*/ 5470905 w 12192002"/>
              <a:gd name="connsiteY197" fmla="*/ 14020 h 2122526"/>
              <a:gd name="connsiteX198" fmla="*/ 5626960 w 12192002"/>
              <a:gd name="connsiteY198" fmla="*/ 0 h 2122526"/>
              <a:gd name="connsiteX0" fmla="*/ 5626960 w 12192002"/>
              <a:gd name="connsiteY0" fmla="*/ 0 h 2122526"/>
              <a:gd name="connsiteX1" fmla="*/ 5758918 w 12192002"/>
              <a:gd name="connsiteY1" fmla="*/ 1023 h 2122526"/>
              <a:gd name="connsiteX2" fmla="*/ 5957375 w 12192002"/>
              <a:gd name="connsiteY2" fmla="*/ 16715 h 2122526"/>
              <a:gd name="connsiteX3" fmla="*/ 6010090 w 12192002"/>
              <a:gd name="connsiteY3" fmla="*/ 20359 h 2122526"/>
              <a:gd name="connsiteX4" fmla="*/ 6041282 w 12192002"/>
              <a:gd name="connsiteY4" fmla="*/ 15266 h 2122526"/>
              <a:gd name="connsiteX5" fmla="*/ 6048637 w 12192002"/>
              <a:gd name="connsiteY5" fmla="*/ 6917 h 2122526"/>
              <a:gd name="connsiteX6" fmla="*/ 6068529 w 12192002"/>
              <a:gd name="connsiteY6" fmla="*/ 7600 h 2122526"/>
              <a:gd name="connsiteX7" fmla="*/ 6073847 w 12192002"/>
              <a:gd name="connsiteY7" fmla="*/ 6063 h 2122526"/>
              <a:gd name="connsiteX8" fmla="*/ 6168673 w 12192002"/>
              <a:gd name="connsiteY8" fmla="*/ 26525 h 2122526"/>
              <a:gd name="connsiteX9" fmla="*/ 6317559 w 12192002"/>
              <a:gd name="connsiteY9" fmla="*/ 28612 h 2122526"/>
              <a:gd name="connsiteX10" fmla="*/ 6549454 w 12192002"/>
              <a:gd name="connsiteY10" fmla="*/ 75412 h 2122526"/>
              <a:gd name="connsiteX11" fmla="*/ 6708221 w 12192002"/>
              <a:gd name="connsiteY11" fmla="*/ 104188 h 2122526"/>
              <a:gd name="connsiteX12" fmla="*/ 6904145 w 12192002"/>
              <a:gd name="connsiteY12" fmla="*/ 132143 h 2122526"/>
              <a:gd name="connsiteX13" fmla="*/ 7018495 w 12192002"/>
              <a:gd name="connsiteY13" fmla="*/ 161649 h 2122526"/>
              <a:gd name="connsiteX14" fmla="*/ 7096987 w 12192002"/>
              <a:gd name="connsiteY14" fmla="*/ 161275 h 2122526"/>
              <a:gd name="connsiteX15" fmla="*/ 7170807 w 12192002"/>
              <a:gd name="connsiteY15" fmla="*/ 173503 h 2122526"/>
              <a:gd name="connsiteX16" fmla="*/ 7197003 w 12192002"/>
              <a:gd name="connsiteY16" fmla="*/ 178151 h 2122526"/>
              <a:gd name="connsiteX17" fmla="*/ 7201101 w 12192002"/>
              <a:gd name="connsiteY17" fmla="*/ 183509 h 2122526"/>
              <a:gd name="connsiteX18" fmla="*/ 7218559 w 12192002"/>
              <a:gd name="connsiteY18" fmla="*/ 188059 h 2122526"/>
              <a:gd name="connsiteX19" fmla="*/ 7310852 w 12192002"/>
              <a:gd name="connsiteY19" fmla="*/ 213308 h 2122526"/>
              <a:gd name="connsiteX20" fmla="*/ 7312179 w 12192002"/>
              <a:gd name="connsiteY20" fmla="*/ 211866 h 2122526"/>
              <a:gd name="connsiteX21" fmla="*/ 7405390 w 12192002"/>
              <a:gd name="connsiteY21" fmla="*/ 202271 h 2122526"/>
              <a:gd name="connsiteX22" fmla="*/ 7495794 w 12192002"/>
              <a:gd name="connsiteY22" fmla="*/ 194166 h 2122526"/>
              <a:gd name="connsiteX23" fmla="*/ 7507039 w 12192002"/>
              <a:gd name="connsiteY23" fmla="*/ 196118 h 2122526"/>
              <a:gd name="connsiteX24" fmla="*/ 7507411 w 12192002"/>
              <a:gd name="connsiteY24" fmla="*/ 195791 h 2122526"/>
              <a:gd name="connsiteX25" fmla="*/ 7519570 w 12192002"/>
              <a:gd name="connsiteY25" fmla="*/ 197126 h 2122526"/>
              <a:gd name="connsiteX26" fmla="*/ 7527542 w 12192002"/>
              <a:gd name="connsiteY26" fmla="*/ 199679 h 2122526"/>
              <a:gd name="connsiteX27" fmla="*/ 7614346 w 12192002"/>
              <a:gd name="connsiteY27" fmla="*/ 205507 h 2122526"/>
              <a:gd name="connsiteX28" fmla="*/ 7718744 w 12192002"/>
              <a:gd name="connsiteY28" fmla="*/ 202036 h 2122526"/>
              <a:gd name="connsiteX29" fmla="*/ 7905407 w 12192002"/>
              <a:gd name="connsiteY29" fmla="*/ 227751 h 2122526"/>
              <a:gd name="connsiteX30" fmla="*/ 8090271 w 12192002"/>
              <a:gd name="connsiteY30" fmla="*/ 269724 h 2122526"/>
              <a:gd name="connsiteX31" fmla="*/ 8245834 w 12192002"/>
              <a:gd name="connsiteY31" fmla="*/ 315885 h 2122526"/>
              <a:gd name="connsiteX32" fmla="*/ 8252033 w 12192002"/>
              <a:gd name="connsiteY32" fmla="*/ 328877 h 2122526"/>
              <a:gd name="connsiteX33" fmla="*/ 8263376 w 12192002"/>
              <a:gd name="connsiteY33" fmla="*/ 338720 h 2122526"/>
              <a:gd name="connsiteX34" fmla="*/ 8266075 w 12192002"/>
              <a:gd name="connsiteY34" fmla="*/ 338490 h 2122526"/>
              <a:gd name="connsiteX35" fmla="*/ 8283149 w 12192002"/>
              <a:gd name="connsiteY35" fmla="*/ 345665 h 2122526"/>
              <a:gd name="connsiteX36" fmla="*/ 8284276 w 12192002"/>
              <a:gd name="connsiteY36" fmla="*/ 350108 h 2122526"/>
              <a:gd name="connsiteX37" fmla="*/ 8295173 w 12192002"/>
              <a:gd name="connsiteY37" fmla="*/ 355931 h 2122526"/>
              <a:gd name="connsiteX38" fmla="*/ 8314432 w 12192002"/>
              <a:gd name="connsiteY38" fmla="*/ 369826 h 2122526"/>
              <a:gd name="connsiteX39" fmla="*/ 8320104 w 12192002"/>
              <a:gd name="connsiteY39" fmla="*/ 370152 h 2122526"/>
              <a:gd name="connsiteX40" fmla="*/ 8352372 w 12192002"/>
              <a:gd name="connsiteY40" fmla="*/ 387570 h 2122526"/>
              <a:gd name="connsiteX41" fmla="*/ 8353799 w 12192002"/>
              <a:gd name="connsiteY41" fmla="*/ 386730 h 2122526"/>
              <a:gd name="connsiteX42" fmla="*/ 8367182 w 12192002"/>
              <a:gd name="connsiteY42" fmla="*/ 386924 h 2122526"/>
              <a:gd name="connsiteX43" fmla="*/ 8490249 w 12192002"/>
              <a:gd name="connsiteY43" fmla="*/ 400966 h 2122526"/>
              <a:gd name="connsiteX44" fmla="*/ 8497594 w 12192002"/>
              <a:gd name="connsiteY44" fmla="*/ 404016 h 2122526"/>
              <a:gd name="connsiteX45" fmla="*/ 8497968 w 12192002"/>
              <a:gd name="connsiteY45" fmla="*/ 403837 h 2122526"/>
              <a:gd name="connsiteX46" fmla="*/ 8506167 w 12192002"/>
              <a:gd name="connsiteY46" fmla="*/ 406575 h 2122526"/>
              <a:gd name="connsiteX47" fmla="*/ 8510983 w 12192002"/>
              <a:gd name="connsiteY47" fmla="*/ 409576 h 2122526"/>
              <a:gd name="connsiteX48" fmla="*/ 8525230 w 12192002"/>
              <a:gd name="connsiteY48" fmla="*/ 415491 h 2122526"/>
              <a:gd name="connsiteX49" fmla="*/ 8596071 w 12192002"/>
              <a:gd name="connsiteY49" fmla="*/ 400649 h 2122526"/>
              <a:gd name="connsiteX50" fmla="*/ 8707847 w 12192002"/>
              <a:gd name="connsiteY50" fmla="*/ 409221 h 2122526"/>
              <a:gd name="connsiteX51" fmla="*/ 8752444 w 12192002"/>
              <a:gd name="connsiteY51" fmla="*/ 411322 h 2122526"/>
              <a:gd name="connsiteX52" fmla="*/ 8928988 w 12192002"/>
              <a:gd name="connsiteY52" fmla="*/ 430554 h 2122526"/>
              <a:gd name="connsiteX53" fmla="*/ 8963048 w 12192002"/>
              <a:gd name="connsiteY53" fmla="*/ 427366 h 2122526"/>
              <a:gd name="connsiteX54" fmla="*/ 8968011 w 12192002"/>
              <a:gd name="connsiteY54" fmla="*/ 425141 h 2122526"/>
              <a:gd name="connsiteX55" fmla="*/ 8974337 w 12192002"/>
              <a:gd name="connsiteY55" fmla="*/ 424441 h 2122526"/>
              <a:gd name="connsiteX56" fmla="*/ 8990394 w 12192002"/>
              <a:gd name="connsiteY56" fmla="*/ 427667 h 2122526"/>
              <a:gd name="connsiteX57" fmla="*/ 8996232 w 12192002"/>
              <a:gd name="connsiteY57" fmla="*/ 429728 h 2122526"/>
              <a:gd name="connsiteX58" fmla="*/ 9005201 w 12192002"/>
              <a:gd name="connsiteY58" fmla="*/ 430939 h 2122526"/>
              <a:gd name="connsiteX59" fmla="*/ 9005486 w 12192002"/>
              <a:gd name="connsiteY59" fmla="*/ 430699 h 2122526"/>
              <a:gd name="connsiteX60" fmla="*/ 9053453 w 12192002"/>
              <a:gd name="connsiteY60" fmla="*/ 433984 h 2122526"/>
              <a:gd name="connsiteX61" fmla="*/ 9113812 w 12192002"/>
              <a:gd name="connsiteY61" fmla="*/ 425670 h 2122526"/>
              <a:gd name="connsiteX62" fmla="*/ 9137318 w 12192002"/>
              <a:gd name="connsiteY62" fmla="*/ 424304 h 2122526"/>
              <a:gd name="connsiteX63" fmla="*/ 9150210 w 12192002"/>
              <a:gd name="connsiteY63" fmla="*/ 422135 h 2122526"/>
              <a:gd name="connsiteX64" fmla="*/ 9151232 w 12192002"/>
              <a:gd name="connsiteY64" fmla="*/ 421070 h 2122526"/>
              <a:gd name="connsiteX65" fmla="*/ 9189246 w 12192002"/>
              <a:gd name="connsiteY65" fmla="*/ 432272 h 2122526"/>
              <a:gd name="connsiteX66" fmla="*/ 9194810 w 12192002"/>
              <a:gd name="connsiteY66" fmla="*/ 441511 h 2122526"/>
              <a:gd name="connsiteX67" fmla="*/ 9231370 w 12192002"/>
              <a:gd name="connsiteY67" fmla="*/ 451590 h 2122526"/>
              <a:gd name="connsiteX68" fmla="*/ 9343052 w 12192002"/>
              <a:gd name="connsiteY68" fmla="*/ 503495 h 2122526"/>
              <a:gd name="connsiteX69" fmla="*/ 9584507 w 12192002"/>
              <a:gd name="connsiteY69" fmla="*/ 549197 h 2122526"/>
              <a:gd name="connsiteX70" fmla="*/ 9728309 w 12192002"/>
              <a:gd name="connsiteY70" fmla="*/ 560617 h 2122526"/>
              <a:gd name="connsiteX71" fmla="*/ 9847792 w 12192002"/>
              <a:gd name="connsiteY71" fmla="*/ 580824 h 2122526"/>
              <a:gd name="connsiteX72" fmla="*/ 9960019 w 12192002"/>
              <a:gd name="connsiteY72" fmla="*/ 587592 h 2122526"/>
              <a:gd name="connsiteX73" fmla="*/ 10039240 w 12192002"/>
              <a:gd name="connsiteY73" fmla="*/ 603107 h 2122526"/>
              <a:gd name="connsiteX74" fmla="*/ 10082169 w 12192002"/>
              <a:gd name="connsiteY74" fmla="*/ 601443 h 2122526"/>
              <a:gd name="connsiteX75" fmla="*/ 10126500 w 12192002"/>
              <a:gd name="connsiteY75" fmla="*/ 603538 h 2122526"/>
              <a:gd name="connsiteX76" fmla="*/ 10261101 w 12192002"/>
              <a:gd name="connsiteY76" fmla="*/ 615053 h 2122526"/>
              <a:gd name="connsiteX77" fmla="*/ 10336855 w 12192002"/>
              <a:gd name="connsiteY77" fmla="*/ 624804 h 2122526"/>
              <a:gd name="connsiteX78" fmla="*/ 10383868 w 12192002"/>
              <a:gd name="connsiteY78" fmla="*/ 625415 h 2122526"/>
              <a:gd name="connsiteX79" fmla="*/ 10445984 w 12192002"/>
              <a:gd name="connsiteY79" fmla="*/ 629262 h 2122526"/>
              <a:gd name="connsiteX80" fmla="*/ 10519280 w 12192002"/>
              <a:gd name="connsiteY80" fmla="*/ 631320 h 2122526"/>
              <a:gd name="connsiteX81" fmla="*/ 10644619 w 12192002"/>
              <a:gd name="connsiteY81" fmla="*/ 651566 h 2122526"/>
              <a:gd name="connsiteX82" fmla="*/ 10857724 w 12192002"/>
              <a:gd name="connsiteY82" fmla="*/ 712684 h 2122526"/>
              <a:gd name="connsiteX83" fmla="*/ 10951063 w 12192002"/>
              <a:gd name="connsiteY83" fmla="*/ 725767 h 2122526"/>
              <a:gd name="connsiteX84" fmla="*/ 11030956 w 12192002"/>
              <a:gd name="connsiteY84" fmla="*/ 721011 h 2122526"/>
              <a:gd name="connsiteX85" fmla="*/ 11085938 w 12192002"/>
              <a:gd name="connsiteY85" fmla="*/ 723892 h 2122526"/>
              <a:gd name="connsiteX86" fmla="*/ 11143411 w 12192002"/>
              <a:gd name="connsiteY86" fmla="*/ 733141 h 2122526"/>
              <a:gd name="connsiteX87" fmla="*/ 11195087 w 12192002"/>
              <a:gd name="connsiteY87" fmla="*/ 732494 h 2122526"/>
              <a:gd name="connsiteX88" fmla="*/ 11273972 w 12192002"/>
              <a:gd name="connsiteY88" fmla="*/ 729660 h 2122526"/>
              <a:gd name="connsiteX89" fmla="*/ 11369715 w 12192002"/>
              <a:gd name="connsiteY89" fmla="*/ 813181 h 2122526"/>
              <a:gd name="connsiteX90" fmla="*/ 11462695 w 12192002"/>
              <a:gd name="connsiteY90" fmla="*/ 874654 h 2122526"/>
              <a:gd name="connsiteX91" fmla="*/ 11564181 w 12192002"/>
              <a:gd name="connsiteY91" fmla="*/ 888450 h 2122526"/>
              <a:gd name="connsiteX92" fmla="*/ 11684760 w 12192002"/>
              <a:gd name="connsiteY92" fmla="*/ 929360 h 2122526"/>
              <a:gd name="connsiteX93" fmla="*/ 11744187 w 12192002"/>
              <a:gd name="connsiteY93" fmla="*/ 984253 h 2122526"/>
              <a:gd name="connsiteX94" fmla="*/ 11834979 w 12192002"/>
              <a:gd name="connsiteY94" fmla="*/ 1013094 h 2122526"/>
              <a:gd name="connsiteX95" fmla="*/ 11933790 w 12192002"/>
              <a:gd name="connsiteY95" fmla="*/ 990933 h 2122526"/>
              <a:gd name="connsiteX96" fmla="*/ 12084140 w 12192002"/>
              <a:gd name="connsiteY96" fmla="*/ 1007396 h 2122526"/>
              <a:gd name="connsiteX97" fmla="*/ 12140863 w 12192002"/>
              <a:gd name="connsiteY97" fmla="*/ 1035036 h 2122526"/>
              <a:gd name="connsiteX98" fmla="*/ 12192002 w 12192002"/>
              <a:gd name="connsiteY98" fmla="*/ 1015838 h 2122526"/>
              <a:gd name="connsiteX99" fmla="*/ 12192002 w 12192002"/>
              <a:gd name="connsiteY99" fmla="*/ 1955549 h 2122526"/>
              <a:gd name="connsiteX100" fmla="*/ 12192000 w 12192002"/>
              <a:gd name="connsiteY100" fmla="*/ 1955549 h 2122526"/>
              <a:gd name="connsiteX101" fmla="*/ 12192000 w 12192002"/>
              <a:gd name="connsiteY101" fmla="*/ 2122526 h 2122526"/>
              <a:gd name="connsiteX102" fmla="*/ 0 w 12192002"/>
              <a:gd name="connsiteY102" fmla="*/ 2122526 h 2122526"/>
              <a:gd name="connsiteX103" fmla="*/ 0 w 12192002"/>
              <a:gd name="connsiteY103" fmla="*/ 1348327 h 2122526"/>
              <a:gd name="connsiteX104" fmla="*/ 2 w 12192002"/>
              <a:gd name="connsiteY104" fmla="*/ 1348327 h 2122526"/>
              <a:gd name="connsiteX105" fmla="*/ 2 w 12192002"/>
              <a:gd name="connsiteY105" fmla="*/ 592017 h 2122526"/>
              <a:gd name="connsiteX106" fmla="*/ 15526 w 12192002"/>
              <a:gd name="connsiteY106" fmla="*/ 586548 h 2122526"/>
              <a:gd name="connsiteX107" fmla="*/ 118381 w 12192002"/>
              <a:gd name="connsiteY107" fmla="*/ 583692 h 2122526"/>
              <a:gd name="connsiteX108" fmla="*/ 292435 w 12192002"/>
              <a:gd name="connsiteY108" fmla="*/ 531887 h 2122526"/>
              <a:gd name="connsiteX109" fmla="*/ 404015 w 12192002"/>
              <a:gd name="connsiteY109" fmla="*/ 511191 h 2122526"/>
              <a:gd name="connsiteX110" fmla="*/ 445099 w 12192002"/>
              <a:gd name="connsiteY110" fmla="*/ 505368 h 2122526"/>
              <a:gd name="connsiteX111" fmla="*/ 571717 w 12192002"/>
              <a:gd name="connsiteY111" fmla="*/ 467338 h 2122526"/>
              <a:gd name="connsiteX112" fmla="*/ 578535 w 12192002"/>
              <a:gd name="connsiteY112" fmla="*/ 467527 h 2122526"/>
              <a:gd name="connsiteX113" fmla="*/ 596792 w 12192002"/>
              <a:gd name="connsiteY113" fmla="*/ 464875 h 2122526"/>
              <a:gd name="connsiteX114" fmla="*/ 708875 w 12192002"/>
              <a:gd name="connsiteY114" fmla="*/ 422017 h 2122526"/>
              <a:gd name="connsiteX115" fmla="*/ 719742 w 12192002"/>
              <a:gd name="connsiteY115" fmla="*/ 416340 h 2122526"/>
              <a:gd name="connsiteX116" fmla="*/ 720047 w 12192002"/>
              <a:gd name="connsiteY116" fmla="*/ 415078 h 2122526"/>
              <a:gd name="connsiteX117" fmla="*/ 763053 w 12192002"/>
              <a:gd name="connsiteY117" fmla="*/ 414307 h 2122526"/>
              <a:gd name="connsiteX118" fmla="*/ 767901 w 12192002"/>
              <a:gd name="connsiteY118" fmla="*/ 412086 h 2122526"/>
              <a:gd name="connsiteX119" fmla="*/ 797041 w 12192002"/>
              <a:gd name="connsiteY119" fmla="*/ 414293 h 2122526"/>
              <a:gd name="connsiteX120" fmla="*/ 811506 w 12192002"/>
              <a:gd name="connsiteY120" fmla="*/ 413988 h 2122526"/>
              <a:gd name="connsiteX121" fmla="*/ 816809 w 12192002"/>
              <a:gd name="connsiteY121" fmla="*/ 416882 h 2122526"/>
              <a:gd name="connsiteX122" fmla="*/ 837540 w 12192002"/>
              <a:gd name="connsiteY122" fmla="*/ 414918 h 2122526"/>
              <a:gd name="connsiteX123" fmla="*/ 858269 w 12192002"/>
              <a:gd name="connsiteY123" fmla="*/ 416131 h 2122526"/>
              <a:gd name="connsiteX124" fmla="*/ 948732 w 12192002"/>
              <a:gd name="connsiteY124" fmla="*/ 404293 h 2122526"/>
              <a:gd name="connsiteX125" fmla="*/ 1149979 w 12192002"/>
              <a:gd name="connsiteY125" fmla="*/ 406698 h 2122526"/>
              <a:gd name="connsiteX126" fmla="*/ 1496110 w 12192002"/>
              <a:gd name="connsiteY126" fmla="*/ 357263 h 2122526"/>
              <a:gd name="connsiteX127" fmla="*/ 1608669 w 12192002"/>
              <a:gd name="connsiteY127" fmla="*/ 331673 h 2122526"/>
              <a:gd name="connsiteX128" fmla="*/ 1675071 w 12192002"/>
              <a:gd name="connsiteY128" fmla="*/ 324776 h 2122526"/>
              <a:gd name="connsiteX129" fmla="*/ 1738204 w 12192002"/>
              <a:gd name="connsiteY129" fmla="*/ 308427 h 2122526"/>
              <a:gd name="connsiteX130" fmla="*/ 1786655 w 12192002"/>
              <a:gd name="connsiteY130" fmla="*/ 303376 h 2122526"/>
              <a:gd name="connsiteX131" fmla="*/ 1873080 w 12192002"/>
              <a:gd name="connsiteY131" fmla="*/ 330998 h 2122526"/>
              <a:gd name="connsiteX132" fmla="*/ 1921650 w 12192002"/>
              <a:gd name="connsiteY132" fmla="*/ 332593 h 2122526"/>
              <a:gd name="connsiteX133" fmla="*/ 1928172 w 12192002"/>
              <a:gd name="connsiteY133" fmla="*/ 327762 h 2122526"/>
              <a:gd name="connsiteX134" fmla="*/ 1997356 w 12192002"/>
              <a:gd name="connsiteY134" fmla="*/ 349707 h 2122526"/>
              <a:gd name="connsiteX135" fmla="*/ 2094665 w 12192002"/>
              <a:gd name="connsiteY135" fmla="*/ 341687 h 2122526"/>
              <a:gd name="connsiteX136" fmla="*/ 2208578 w 12192002"/>
              <a:gd name="connsiteY136" fmla="*/ 324976 h 2122526"/>
              <a:gd name="connsiteX137" fmla="*/ 2315112 w 12192002"/>
              <a:gd name="connsiteY137" fmla="*/ 319743 h 2122526"/>
              <a:gd name="connsiteX138" fmla="*/ 2443255 w 12192002"/>
              <a:gd name="connsiteY138" fmla="*/ 328210 h 2122526"/>
              <a:gd name="connsiteX139" fmla="*/ 2587906 w 12192002"/>
              <a:gd name="connsiteY139" fmla="*/ 322233 h 2122526"/>
              <a:gd name="connsiteX140" fmla="*/ 2646527 w 12192002"/>
              <a:gd name="connsiteY140" fmla="*/ 315870 h 2122526"/>
              <a:gd name="connsiteX141" fmla="*/ 2781569 w 12192002"/>
              <a:gd name="connsiteY141" fmla="*/ 326406 h 2122526"/>
              <a:gd name="connsiteX142" fmla="*/ 3030291 w 12192002"/>
              <a:gd name="connsiteY142" fmla="*/ 348227 h 2122526"/>
              <a:gd name="connsiteX143" fmla="*/ 3142556 w 12192002"/>
              <a:gd name="connsiteY143" fmla="*/ 350870 h 2122526"/>
              <a:gd name="connsiteX144" fmla="*/ 3262356 w 12192002"/>
              <a:gd name="connsiteY144" fmla="*/ 358645 h 2122526"/>
              <a:gd name="connsiteX145" fmla="*/ 3341698 w 12192002"/>
              <a:gd name="connsiteY145" fmla="*/ 364522 h 2122526"/>
              <a:gd name="connsiteX146" fmla="*/ 3344026 w 12192002"/>
              <a:gd name="connsiteY146" fmla="*/ 363547 h 2122526"/>
              <a:gd name="connsiteX147" fmla="*/ 3363888 w 12192002"/>
              <a:gd name="connsiteY147" fmla="*/ 365229 h 2122526"/>
              <a:gd name="connsiteX148" fmla="*/ 3400728 w 12192002"/>
              <a:gd name="connsiteY148" fmla="*/ 382181 h 2122526"/>
              <a:gd name="connsiteX149" fmla="*/ 3473223 w 12192002"/>
              <a:gd name="connsiteY149" fmla="*/ 370133 h 2122526"/>
              <a:gd name="connsiteX150" fmla="*/ 3536135 w 12192002"/>
              <a:gd name="connsiteY150" fmla="*/ 366472 h 2122526"/>
              <a:gd name="connsiteX151" fmla="*/ 3585978 w 12192002"/>
              <a:gd name="connsiteY151" fmla="*/ 356773 h 2122526"/>
              <a:gd name="connsiteX152" fmla="*/ 3594501 w 12192002"/>
              <a:gd name="connsiteY152" fmla="*/ 357463 h 2122526"/>
              <a:gd name="connsiteX153" fmla="*/ 3594736 w 12192002"/>
              <a:gd name="connsiteY153" fmla="*/ 357194 h 2122526"/>
              <a:gd name="connsiteX154" fmla="*/ 3603855 w 12192002"/>
              <a:gd name="connsiteY154" fmla="*/ 357358 h 2122526"/>
              <a:gd name="connsiteX155" fmla="*/ 3610035 w 12192002"/>
              <a:gd name="connsiteY155" fmla="*/ 358720 h 2122526"/>
              <a:gd name="connsiteX156" fmla="*/ 3682513 w 12192002"/>
              <a:gd name="connsiteY156" fmla="*/ 326449 h 2122526"/>
              <a:gd name="connsiteX157" fmla="*/ 3789760 w 12192002"/>
              <a:gd name="connsiteY157" fmla="*/ 302526 h 2122526"/>
              <a:gd name="connsiteX158" fmla="*/ 3897275 w 12192002"/>
              <a:gd name="connsiteY158" fmla="*/ 282288 h 2122526"/>
              <a:gd name="connsiteX159" fmla="*/ 3936846 w 12192002"/>
              <a:gd name="connsiteY159" fmla="*/ 276633 h 2122526"/>
              <a:gd name="connsiteX160" fmla="*/ 4004538 w 12192002"/>
              <a:gd name="connsiteY160" fmla="*/ 259176 h 2122526"/>
              <a:gd name="connsiteX161" fmla="*/ 4033778 w 12192002"/>
              <a:gd name="connsiteY161" fmla="*/ 246608 h 2122526"/>
              <a:gd name="connsiteX162" fmla="*/ 4035363 w 12192002"/>
              <a:gd name="connsiteY162" fmla="*/ 246843 h 2122526"/>
              <a:gd name="connsiteX163" fmla="*/ 4036996 w 12192002"/>
              <a:gd name="connsiteY163" fmla="*/ 243176 h 2122526"/>
              <a:gd name="connsiteX164" fmla="*/ 4042364 w 12192002"/>
              <a:gd name="connsiteY164" fmla="*/ 240742 h 2122526"/>
              <a:gd name="connsiteX165" fmla="*/ 4058954 w 12192002"/>
              <a:gd name="connsiteY165" fmla="*/ 239121 h 2122526"/>
              <a:gd name="connsiteX166" fmla="*/ 4065510 w 12192002"/>
              <a:gd name="connsiteY166" fmla="*/ 239339 h 2122526"/>
              <a:gd name="connsiteX167" fmla="*/ 4074427 w 12192002"/>
              <a:gd name="connsiteY167" fmla="*/ 237895 h 2122526"/>
              <a:gd name="connsiteX168" fmla="*/ 4074546 w 12192002"/>
              <a:gd name="connsiteY168" fmla="*/ 237596 h 2122526"/>
              <a:gd name="connsiteX169" fmla="*/ 4083097 w 12192002"/>
              <a:gd name="connsiteY169" fmla="*/ 236761 h 2122526"/>
              <a:gd name="connsiteX170" fmla="*/ 4170574 w 12192002"/>
              <a:gd name="connsiteY170" fmla="*/ 202276 h 2122526"/>
              <a:gd name="connsiteX171" fmla="*/ 4191248 w 12192002"/>
              <a:gd name="connsiteY171" fmla="*/ 194363 h 2122526"/>
              <a:gd name="connsiteX172" fmla="*/ 4201744 w 12192002"/>
              <a:gd name="connsiteY172" fmla="*/ 188729 h 2122526"/>
              <a:gd name="connsiteX173" fmla="*/ 4202048 w 12192002"/>
              <a:gd name="connsiteY173" fmla="*/ 187470 h 2122526"/>
              <a:gd name="connsiteX174" fmla="*/ 4248116 w 12192002"/>
              <a:gd name="connsiteY174" fmla="*/ 184675 h 2122526"/>
              <a:gd name="connsiteX175" fmla="*/ 4276141 w 12192002"/>
              <a:gd name="connsiteY175" fmla="*/ 186999 h 2122526"/>
              <a:gd name="connsiteX176" fmla="*/ 4290062 w 12192002"/>
              <a:gd name="connsiteY176" fmla="*/ 186753 h 2122526"/>
              <a:gd name="connsiteX177" fmla="*/ 4295143 w 12192002"/>
              <a:gd name="connsiteY177" fmla="*/ 189670 h 2122526"/>
              <a:gd name="connsiteX178" fmla="*/ 4315108 w 12192002"/>
              <a:gd name="connsiteY178" fmla="*/ 187791 h 2122526"/>
              <a:gd name="connsiteX179" fmla="*/ 4316965 w 12192002"/>
              <a:gd name="connsiteY179" fmla="*/ 186450 h 2122526"/>
              <a:gd name="connsiteX180" fmla="*/ 4335046 w 12192002"/>
              <a:gd name="connsiteY180" fmla="*/ 189089 h 2122526"/>
              <a:gd name="connsiteX181" fmla="*/ 4372883 w 12192002"/>
              <a:gd name="connsiteY181" fmla="*/ 199670 h 2122526"/>
              <a:gd name="connsiteX182" fmla="*/ 4515813 w 12192002"/>
              <a:gd name="connsiteY182" fmla="*/ 181068 h 2122526"/>
              <a:gd name="connsiteX183" fmla="*/ 4715526 w 12192002"/>
              <a:gd name="connsiteY183" fmla="*/ 171166 h 2122526"/>
              <a:gd name="connsiteX184" fmla="*/ 4762447 w 12192002"/>
              <a:gd name="connsiteY184" fmla="*/ 162678 h 2122526"/>
              <a:gd name="connsiteX185" fmla="*/ 4840439 w 12192002"/>
              <a:gd name="connsiteY185" fmla="*/ 134910 h 2122526"/>
              <a:gd name="connsiteX186" fmla="*/ 5011513 w 12192002"/>
              <a:gd name="connsiteY186" fmla="*/ 110893 h 2122526"/>
              <a:gd name="connsiteX187" fmla="*/ 5065790 w 12192002"/>
              <a:gd name="connsiteY187" fmla="*/ 94512 h 2122526"/>
              <a:gd name="connsiteX188" fmla="*/ 5121659 w 12192002"/>
              <a:gd name="connsiteY188" fmla="*/ 101083 h 2122526"/>
              <a:gd name="connsiteX189" fmla="*/ 5139595 w 12192002"/>
              <a:gd name="connsiteY189" fmla="*/ 90230 h 2122526"/>
              <a:gd name="connsiteX190" fmla="*/ 5142598 w 12192002"/>
              <a:gd name="connsiteY190" fmla="*/ 88129 h 2122526"/>
              <a:gd name="connsiteX191" fmla="*/ 5156554 w 12192002"/>
              <a:gd name="connsiteY191" fmla="*/ 84729 h 2122526"/>
              <a:gd name="connsiteX192" fmla="*/ 5174660 w 12192002"/>
              <a:gd name="connsiteY192" fmla="*/ 77506 h 2122526"/>
              <a:gd name="connsiteX193" fmla="*/ 5222961 w 12192002"/>
              <a:gd name="connsiteY193" fmla="*/ 74516 h 2122526"/>
              <a:gd name="connsiteX194" fmla="*/ 5261763 w 12192002"/>
              <a:gd name="connsiteY194" fmla="*/ 63392 h 2122526"/>
              <a:gd name="connsiteX195" fmla="*/ 5381667 w 12192002"/>
              <a:gd name="connsiteY195" fmla="*/ 42975 h 2122526"/>
              <a:gd name="connsiteX196" fmla="*/ 5432760 w 12192002"/>
              <a:gd name="connsiteY196" fmla="*/ 25273 h 2122526"/>
              <a:gd name="connsiteX197" fmla="*/ 5470905 w 12192002"/>
              <a:gd name="connsiteY197" fmla="*/ 14020 h 2122526"/>
              <a:gd name="connsiteX198" fmla="*/ 5626960 w 12192002"/>
              <a:gd name="connsiteY198" fmla="*/ 0 h 2122526"/>
              <a:gd name="connsiteX0" fmla="*/ 5626960 w 12192002"/>
              <a:gd name="connsiteY0" fmla="*/ 0 h 2122526"/>
              <a:gd name="connsiteX1" fmla="*/ 5758918 w 12192002"/>
              <a:gd name="connsiteY1" fmla="*/ 1023 h 2122526"/>
              <a:gd name="connsiteX2" fmla="*/ 5957375 w 12192002"/>
              <a:gd name="connsiteY2" fmla="*/ 16715 h 2122526"/>
              <a:gd name="connsiteX3" fmla="*/ 6010090 w 12192002"/>
              <a:gd name="connsiteY3" fmla="*/ 20359 h 2122526"/>
              <a:gd name="connsiteX4" fmla="*/ 6041282 w 12192002"/>
              <a:gd name="connsiteY4" fmla="*/ 15266 h 2122526"/>
              <a:gd name="connsiteX5" fmla="*/ 6048637 w 12192002"/>
              <a:gd name="connsiteY5" fmla="*/ 6917 h 2122526"/>
              <a:gd name="connsiteX6" fmla="*/ 6068529 w 12192002"/>
              <a:gd name="connsiteY6" fmla="*/ 7600 h 2122526"/>
              <a:gd name="connsiteX7" fmla="*/ 6073847 w 12192002"/>
              <a:gd name="connsiteY7" fmla="*/ 6063 h 2122526"/>
              <a:gd name="connsiteX8" fmla="*/ 6168673 w 12192002"/>
              <a:gd name="connsiteY8" fmla="*/ 26525 h 2122526"/>
              <a:gd name="connsiteX9" fmla="*/ 6317559 w 12192002"/>
              <a:gd name="connsiteY9" fmla="*/ 28612 h 2122526"/>
              <a:gd name="connsiteX10" fmla="*/ 6549454 w 12192002"/>
              <a:gd name="connsiteY10" fmla="*/ 75412 h 2122526"/>
              <a:gd name="connsiteX11" fmla="*/ 6708221 w 12192002"/>
              <a:gd name="connsiteY11" fmla="*/ 104188 h 2122526"/>
              <a:gd name="connsiteX12" fmla="*/ 6904145 w 12192002"/>
              <a:gd name="connsiteY12" fmla="*/ 132143 h 2122526"/>
              <a:gd name="connsiteX13" fmla="*/ 7018495 w 12192002"/>
              <a:gd name="connsiteY13" fmla="*/ 161649 h 2122526"/>
              <a:gd name="connsiteX14" fmla="*/ 7096987 w 12192002"/>
              <a:gd name="connsiteY14" fmla="*/ 161275 h 2122526"/>
              <a:gd name="connsiteX15" fmla="*/ 7170807 w 12192002"/>
              <a:gd name="connsiteY15" fmla="*/ 173503 h 2122526"/>
              <a:gd name="connsiteX16" fmla="*/ 7197003 w 12192002"/>
              <a:gd name="connsiteY16" fmla="*/ 178151 h 2122526"/>
              <a:gd name="connsiteX17" fmla="*/ 7201101 w 12192002"/>
              <a:gd name="connsiteY17" fmla="*/ 183509 h 2122526"/>
              <a:gd name="connsiteX18" fmla="*/ 7218559 w 12192002"/>
              <a:gd name="connsiteY18" fmla="*/ 188059 h 2122526"/>
              <a:gd name="connsiteX19" fmla="*/ 7310852 w 12192002"/>
              <a:gd name="connsiteY19" fmla="*/ 213308 h 2122526"/>
              <a:gd name="connsiteX20" fmla="*/ 7312179 w 12192002"/>
              <a:gd name="connsiteY20" fmla="*/ 211866 h 2122526"/>
              <a:gd name="connsiteX21" fmla="*/ 7405390 w 12192002"/>
              <a:gd name="connsiteY21" fmla="*/ 202271 h 2122526"/>
              <a:gd name="connsiteX22" fmla="*/ 7495794 w 12192002"/>
              <a:gd name="connsiteY22" fmla="*/ 194166 h 2122526"/>
              <a:gd name="connsiteX23" fmla="*/ 7507039 w 12192002"/>
              <a:gd name="connsiteY23" fmla="*/ 196118 h 2122526"/>
              <a:gd name="connsiteX24" fmla="*/ 7507411 w 12192002"/>
              <a:gd name="connsiteY24" fmla="*/ 195791 h 2122526"/>
              <a:gd name="connsiteX25" fmla="*/ 7519570 w 12192002"/>
              <a:gd name="connsiteY25" fmla="*/ 197126 h 2122526"/>
              <a:gd name="connsiteX26" fmla="*/ 7527542 w 12192002"/>
              <a:gd name="connsiteY26" fmla="*/ 199679 h 2122526"/>
              <a:gd name="connsiteX27" fmla="*/ 7614346 w 12192002"/>
              <a:gd name="connsiteY27" fmla="*/ 205507 h 2122526"/>
              <a:gd name="connsiteX28" fmla="*/ 7718744 w 12192002"/>
              <a:gd name="connsiteY28" fmla="*/ 202036 h 2122526"/>
              <a:gd name="connsiteX29" fmla="*/ 7905407 w 12192002"/>
              <a:gd name="connsiteY29" fmla="*/ 227751 h 2122526"/>
              <a:gd name="connsiteX30" fmla="*/ 8090271 w 12192002"/>
              <a:gd name="connsiteY30" fmla="*/ 269724 h 2122526"/>
              <a:gd name="connsiteX31" fmla="*/ 8245834 w 12192002"/>
              <a:gd name="connsiteY31" fmla="*/ 315885 h 2122526"/>
              <a:gd name="connsiteX32" fmla="*/ 8252033 w 12192002"/>
              <a:gd name="connsiteY32" fmla="*/ 328877 h 2122526"/>
              <a:gd name="connsiteX33" fmla="*/ 8263376 w 12192002"/>
              <a:gd name="connsiteY33" fmla="*/ 338720 h 2122526"/>
              <a:gd name="connsiteX34" fmla="*/ 8266075 w 12192002"/>
              <a:gd name="connsiteY34" fmla="*/ 338490 h 2122526"/>
              <a:gd name="connsiteX35" fmla="*/ 8283149 w 12192002"/>
              <a:gd name="connsiteY35" fmla="*/ 345665 h 2122526"/>
              <a:gd name="connsiteX36" fmla="*/ 8284276 w 12192002"/>
              <a:gd name="connsiteY36" fmla="*/ 350108 h 2122526"/>
              <a:gd name="connsiteX37" fmla="*/ 8295173 w 12192002"/>
              <a:gd name="connsiteY37" fmla="*/ 355931 h 2122526"/>
              <a:gd name="connsiteX38" fmla="*/ 8314432 w 12192002"/>
              <a:gd name="connsiteY38" fmla="*/ 369826 h 2122526"/>
              <a:gd name="connsiteX39" fmla="*/ 8320104 w 12192002"/>
              <a:gd name="connsiteY39" fmla="*/ 370152 h 2122526"/>
              <a:gd name="connsiteX40" fmla="*/ 8352372 w 12192002"/>
              <a:gd name="connsiteY40" fmla="*/ 387570 h 2122526"/>
              <a:gd name="connsiteX41" fmla="*/ 8353799 w 12192002"/>
              <a:gd name="connsiteY41" fmla="*/ 386730 h 2122526"/>
              <a:gd name="connsiteX42" fmla="*/ 8367182 w 12192002"/>
              <a:gd name="connsiteY42" fmla="*/ 386924 h 2122526"/>
              <a:gd name="connsiteX43" fmla="*/ 8490249 w 12192002"/>
              <a:gd name="connsiteY43" fmla="*/ 400966 h 2122526"/>
              <a:gd name="connsiteX44" fmla="*/ 8497594 w 12192002"/>
              <a:gd name="connsiteY44" fmla="*/ 404016 h 2122526"/>
              <a:gd name="connsiteX45" fmla="*/ 8497968 w 12192002"/>
              <a:gd name="connsiteY45" fmla="*/ 403837 h 2122526"/>
              <a:gd name="connsiteX46" fmla="*/ 8506167 w 12192002"/>
              <a:gd name="connsiteY46" fmla="*/ 406575 h 2122526"/>
              <a:gd name="connsiteX47" fmla="*/ 8510983 w 12192002"/>
              <a:gd name="connsiteY47" fmla="*/ 409576 h 2122526"/>
              <a:gd name="connsiteX48" fmla="*/ 8525230 w 12192002"/>
              <a:gd name="connsiteY48" fmla="*/ 415491 h 2122526"/>
              <a:gd name="connsiteX49" fmla="*/ 8596071 w 12192002"/>
              <a:gd name="connsiteY49" fmla="*/ 400649 h 2122526"/>
              <a:gd name="connsiteX50" fmla="*/ 8707847 w 12192002"/>
              <a:gd name="connsiteY50" fmla="*/ 409221 h 2122526"/>
              <a:gd name="connsiteX51" fmla="*/ 8752444 w 12192002"/>
              <a:gd name="connsiteY51" fmla="*/ 411322 h 2122526"/>
              <a:gd name="connsiteX52" fmla="*/ 8928988 w 12192002"/>
              <a:gd name="connsiteY52" fmla="*/ 430554 h 2122526"/>
              <a:gd name="connsiteX53" fmla="*/ 8963048 w 12192002"/>
              <a:gd name="connsiteY53" fmla="*/ 427366 h 2122526"/>
              <a:gd name="connsiteX54" fmla="*/ 8968011 w 12192002"/>
              <a:gd name="connsiteY54" fmla="*/ 425141 h 2122526"/>
              <a:gd name="connsiteX55" fmla="*/ 8974337 w 12192002"/>
              <a:gd name="connsiteY55" fmla="*/ 424441 h 2122526"/>
              <a:gd name="connsiteX56" fmla="*/ 8990394 w 12192002"/>
              <a:gd name="connsiteY56" fmla="*/ 427667 h 2122526"/>
              <a:gd name="connsiteX57" fmla="*/ 8996232 w 12192002"/>
              <a:gd name="connsiteY57" fmla="*/ 429728 h 2122526"/>
              <a:gd name="connsiteX58" fmla="*/ 9005201 w 12192002"/>
              <a:gd name="connsiteY58" fmla="*/ 430939 h 2122526"/>
              <a:gd name="connsiteX59" fmla="*/ 9005486 w 12192002"/>
              <a:gd name="connsiteY59" fmla="*/ 430699 h 2122526"/>
              <a:gd name="connsiteX60" fmla="*/ 9053453 w 12192002"/>
              <a:gd name="connsiteY60" fmla="*/ 433984 h 2122526"/>
              <a:gd name="connsiteX61" fmla="*/ 9113812 w 12192002"/>
              <a:gd name="connsiteY61" fmla="*/ 425670 h 2122526"/>
              <a:gd name="connsiteX62" fmla="*/ 9137318 w 12192002"/>
              <a:gd name="connsiteY62" fmla="*/ 424304 h 2122526"/>
              <a:gd name="connsiteX63" fmla="*/ 9150210 w 12192002"/>
              <a:gd name="connsiteY63" fmla="*/ 422135 h 2122526"/>
              <a:gd name="connsiteX64" fmla="*/ 9151232 w 12192002"/>
              <a:gd name="connsiteY64" fmla="*/ 421070 h 2122526"/>
              <a:gd name="connsiteX65" fmla="*/ 9189246 w 12192002"/>
              <a:gd name="connsiteY65" fmla="*/ 432272 h 2122526"/>
              <a:gd name="connsiteX66" fmla="*/ 9194810 w 12192002"/>
              <a:gd name="connsiteY66" fmla="*/ 441511 h 2122526"/>
              <a:gd name="connsiteX67" fmla="*/ 9231370 w 12192002"/>
              <a:gd name="connsiteY67" fmla="*/ 451590 h 2122526"/>
              <a:gd name="connsiteX68" fmla="*/ 9343052 w 12192002"/>
              <a:gd name="connsiteY68" fmla="*/ 503495 h 2122526"/>
              <a:gd name="connsiteX69" fmla="*/ 9584507 w 12192002"/>
              <a:gd name="connsiteY69" fmla="*/ 549197 h 2122526"/>
              <a:gd name="connsiteX70" fmla="*/ 9728309 w 12192002"/>
              <a:gd name="connsiteY70" fmla="*/ 560617 h 2122526"/>
              <a:gd name="connsiteX71" fmla="*/ 9847792 w 12192002"/>
              <a:gd name="connsiteY71" fmla="*/ 580824 h 2122526"/>
              <a:gd name="connsiteX72" fmla="*/ 9960019 w 12192002"/>
              <a:gd name="connsiteY72" fmla="*/ 587592 h 2122526"/>
              <a:gd name="connsiteX73" fmla="*/ 10039240 w 12192002"/>
              <a:gd name="connsiteY73" fmla="*/ 603107 h 2122526"/>
              <a:gd name="connsiteX74" fmla="*/ 10082169 w 12192002"/>
              <a:gd name="connsiteY74" fmla="*/ 601443 h 2122526"/>
              <a:gd name="connsiteX75" fmla="*/ 10126500 w 12192002"/>
              <a:gd name="connsiteY75" fmla="*/ 603538 h 2122526"/>
              <a:gd name="connsiteX76" fmla="*/ 10261101 w 12192002"/>
              <a:gd name="connsiteY76" fmla="*/ 615053 h 2122526"/>
              <a:gd name="connsiteX77" fmla="*/ 10336855 w 12192002"/>
              <a:gd name="connsiteY77" fmla="*/ 624804 h 2122526"/>
              <a:gd name="connsiteX78" fmla="*/ 10383868 w 12192002"/>
              <a:gd name="connsiteY78" fmla="*/ 625415 h 2122526"/>
              <a:gd name="connsiteX79" fmla="*/ 10445984 w 12192002"/>
              <a:gd name="connsiteY79" fmla="*/ 629262 h 2122526"/>
              <a:gd name="connsiteX80" fmla="*/ 10519280 w 12192002"/>
              <a:gd name="connsiteY80" fmla="*/ 631320 h 2122526"/>
              <a:gd name="connsiteX81" fmla="*/ 10644619 w 12192002"/>
              <a:gd name="connsiteY81" fmla="*/ 651566 h 2122526"/>
              <a:gd name="connsiteX82" fmla="*/ 10857724 w 12192002"/>
              <a:gd name="connsiteY82" fmla="*/ 712684 h 2122526"/>
              <a:gd name="connsiteX83" fmla="*/ 10951063 w 12192002"/>
              <a:gd name="connsiteY83" fmla="*/ 725767 h 2122526"/>
              <a:gd name="connsiteX84" fmla="*/ 11030956 w 12192002"/>
              <a:gd name="connsiteY84" fmla="*/ 721011 h 2122526"/>
              <a:gd name="connsiteX85" fmla="*/ 11085938 w 12192002"/>
              <a:gd name="connsiteY85" fmla="*/ 723892 h 2122526"/>
              <a:gd name="connsiteX86" fmla="*/ 11143411 w 12192002"/>
              <a:gd name="connsiteY86" fmla="*/ 733141 h 2122526"/>
              <a:gd name="connsiteX87" fmla="*/ 11195087 w 12192002"/>
              <a:gd name="connsiteY87" fmla="*/ 732494 h 2122526"/>
              <a:gd name="connsiteX88" fmla="*/ 11273972 w 12192002"/>
              <a:gd name="connsiteY88" fmla="*/ 729660 h 2122526"/>
              <a:gd name="connsiteX89" fmla="*/ 11369715 w 12192002"/>
              <a:gd name="connsiteY89" fmla="*/ 813181 h 2122526"/>
              <a:gd name="connsiteX90" fmla="*/ 11462695 w 12192002"/>
              <a:gd name="connsiteY90" fmla="*/ 874654 h 2122526"/>
              <a:gd name="connsiteX91" fmla="*/ 11564181 w 12192002"/>
              <a:gd name="connsiteY91" fmla="*/ 888450 h 2122526"/>
              <a:gd name="connsiteX92" fmla="*/ 11684760 w 12192002"/>
              <a:gd name="connsiteY92" fmla="*/ 929360 h 2122526"/>
              <a:gd name="connsiteX93" fmla="*/ 11744187 w 12192002"/>
              <a:gd name="connsiteY93" fmla="*/ 984253 h 2122526"/>
              <a:gd name="connsiteX94" fmla="*/ 11834979 w 12192002"/>
              <a:gd name="connsiteY94" fmla="*/ 1013094 h 2122526"/>
              <a:gd name="connsiteX95" fmla="*/ 11933790 w 12192002"/>
              <a:gd name="connsiteY95" fmla="*/ 990933 h 2122526"/>
              <a:gd name="connsiteX96" fmla="*/ 12084140 w 12192002"/>
              <a:gd name="connsiteY96" fmla="*/ 1007396 h 2122526"/>
              <a:gd name="connsiteX97" fmla="*/ 12140863 w 12192002"/>
              <a:gd name="connsiteY97" fmla="*/ 1035036 h 2122526"/>
              <a:gd name="connsiteX98" fmla="*/ 12192002 w 12192002"/>
              <a:gd name="connsiteY98" fmla="*/ 1015838 h 2122526"/>
              <a:gd name="connsiteX99" fmla="*/ 12192002 w 12192002"/>
              <a:gd name="connsiteY99" fmla="*/ 1955549 h 2122526"/>
              <a:gd name="connsiteX100" fmla="*/ 12192000 w 12192002"/>
              <a:gd name="connsiteY100" fmla="*/ 1955549 h 2122526"/>
              <a:gd name="connsiteX101" fmla="*/ 12192000 w 12192002"/>
              <a:gd name="connsiteY101" fmla="*/ 2122526 h 2122526"/>
              <a:gd name="connsiteX102" fmla="*/ 0 w 12192002"/>
              <a:gd name="connsiteY102" fmla="*/ 2122526 h 2122526"/>
              <a:gd name="connsiteX103" fmla="*/ 0 w 12192002"/>
              <a:gd name="connsiteY103" fmla="*/ 1348327 h 2122526"/>
              <a:gd name="connsiteX104" fmla="*/ 2 w 12192002"/>
              <a:gd name="connsiteY104" fmla="*/ 1348327 h 2122526"/>
              <a:gd name="connsiteX105" fmla="*/ 2 w 12192002"/>
              <a:gd name="connsiteY105" fmla="*/ 592017 h 2122526"/>
              <a:gd name="connsiteX106" fmla="*/ 15526 w 12192002"/>
              <a:gd name="connsiteY106" fmla="*/ 586548 h 2122526"/>
              <a:gd name="connsiteX107" fmla="*/ 118381 w 12192002"/>
              <a:gd name="connsiteY107" fmla="*/ 583692 h 2122526"/>
              <a:gd name="connsiteX108" fmla="*/ 292435 w 12192002"/>
              <a:gd name="connsiteY108" fmla="*/ 531887 h 2122526"/>
              <a:gd name="connsiteX109" fmla="*/ 404015 w 12192002"/>
              <a:gd name="connsiteY109" fmla="*/ 511191 h 2122526"/>
              <a:gd name="connsiteX110" fmla="*/ 445099 w 12192002"/>
              <a:gd name="connsiteY110" fmla="*/ 505368 h 2122526"/>
              <a:gd name="connsiteX111" fmla="*/ 571717 w 12192002"/>
              <a:gd name="connsiteY111" fmla="*/ 467338 h 2122526"/>
              <a:gd name="connsiteX112" fmla="*/ 578535 w 12192002"/>
              <a:gd name="connsiteY112" fmla="*/ 467527 h 2122526"/>
              <a:gd name="connsiteX113" fmla="*/ 596792 w 12192002"/>
              <a:gd name="connsiteY113" fmla="*/ 464875 h 2122526"/>
              <a:gd name="connsiteX114" fmla="*/ 708875 w 12192002"/>
              <a:gd name="connsiteY114" fmla="*/ 422017 h 2122526"/>
              <a:gd name="connsiteX115" fmla="*/ 719742 w 12192002"/>
              <a:gd name="connsiteY115" fmla="*/ 416340 h 2122526"/>
              <a:gd name="connsiteX116" fmla="*/ 720047 w 12192002"/>
              <a:gd name="connsiteY116" fmla="*/ 415078 h 2122526"/>
              <a:gd name="connsiteX117" fmla="*/ 763053 w 12192002"/>
              <a:gd name="connsiteY117" fmla="*/ 414307 h 2122526"/>
              <a:gd name="connsiteX118" fmla="*/ 767901 w 12192002"/>
              <a:gd name="connsiteY118" fmla="*/ 412086 h 2122526"/>
              <a:gd name="connsiteX119" fmla="*/ 797041 w 12192002"/>
              <a:gd name="connsiteY119" fmla="*/ 414293 h 2122526"/>
              <a:gd name="connsiteX120" fmla="*/ 811506 w 12192002"/>
              <a:gd name="connsiteY120" fmla="*/ 413988 h 2122526"/>
              <a:gd name="connsiteX121" fmla="*/ 816809 w 12192002"/>
              <a:gd name="connsiteY121" fmla="*/ 416882 h 2122526"/>
              <a:gd name="connsiteX122" fmla="*/ 837540 w 12192002"/>
              <a:gd name="connsiteY122" fmla="*/ 414918 h 2122526"/>
              <a:gd name="connsiteX123" fmla="*/ 858269 w 12192002"/>
              <a:gd name="connsiteY123" fmla="*/ 416131 h 2122526"/>
              <a:gd name="connsiteX124" fmla="*/ 948732 w 12192002"/>
              <a:gd name="connsiteY124" fmla="*/ 404293 h 2122526"/>
              <a:gd name="connsiteX125" fmla="*/ 1149979 w 12192002"/>
              <a:gd name="connsiteY125" fmla="*/ 406698 h 2122526"/>
              <a:gd name="connsiteX126" fmla="*/ 1496110 w 12192002"/>
              <a:gd name="connsiteY126" fmla="*/ 357263 h 2122526"/>
              <a:gd name="connsiteX127" fmla="*/ 1608669 w 12192002"/>
              <a:gd name="connsiteY127" fmla="*/ 331673 h 2122526"/>
              <a:gd name="connsiteX128" fmla="*/ 1675071 w 12192002"/>
              <a:gd name="connsiteY128" fmla="*/ 324776 h 2122526"/>
              <a:gd name="connsiteX129" fmla="*/ 1738204 w 12192002"/>
              <a:gd name="connsiteY129" fmla="*/ 308427 h 2122526"/>
              <a:gd name="connsiteX130" fmla="*/ 1786655 w 12192002"/>
              <a:gd name="connsiteY130" fmla="*/ 303376 h 2122526"/>
              <a:gd name="connsiteX131" fmla="*/ 1873080 w 12192002"/>
              <a:gd name="connsiteY131" fmla="*/ 330998 h 2122526"/>
              <a:gd name="connsiteX132" fmla="*/ 1921650 w 12192002"/>
              <a:gd name="connsiteY132" fmla="*/ 332593 h 2122526"/>
              <a:gd name="connsiteX133" fmla="*/ 1928172 w 12192002"/>
              <a:gd name="connsiteY133" fmla="*/ 327762 h 2122526"/>
              <a:gd name="connsiteX134" fmla="*/ 1997356 w 12192002"/>
              <a:gd name="connsiteY134" fmla="*/ 349707 h 2122526"/>
              <a:gd name="connsiteX135" fmla="*/ 2094665 w 12192002"/>
              <a:gd name="connsiteY135" fmla="*/ 341687 h 2122526"/>
              <a:gd name="connsiteX136" fmla="*/ 2208578 w 12192002"/>
              <a:gd name="connsiteY136" fmla="*/ 324976 h 2122526"/>
              <a:gd name="connsiteX137" fmla="*/ 2315112 w 12192002"/>
              <a:gd name="connsiteY137" fmla="*/ 319743 h 2122526"/>
              <a:gd name="connsiteX138" fmla="*/ 2443255 w 12192002"/>
              <a:gd name="connsiteY138" fmla="*/ 328210 h 2122526"/>
              <a:gd name="connsiteX139" fmla="*/ 2587906 w 12192002"/>
              <a:gd name="connsiteY139" fmla="*/ 322233 h 2122526"/>
              <a:gd name="connsiteX140" fmla="*/ 2646527 w 12192002"/>
              <a:gd name="connsiteY140" fmla="*/ 315870 h 2122526"/>
              <a:gd name="connsiteX141" fmla="*/ 2781569 w 12192002"/>
              <a:gd name="connsiteY141" fmla="*/ 326406 h 2122526"/>
              <a:gd name="connsiteX142" fmla="*/ 3030291 w 12192002"/>
              <a:gd name="connsiteY142" fmla="*/ 348227 h 2122526"/>
              <a:gd name="connsiteX143" fmla="*/ 3142556 w 12192002"/>
              <a:gd name="connsiteY143" fmla="*/ 350870 h 2122526"/>
              <a:gd name="connsiteX144" fmla="*/ 3262356 w 12192002"/>
              <a:gd name="connsiteY144" fmla="*/ 358645 h 2122526"/>
              <a:gd name="connsiteX145" fmla="*/ 3341698 w 12192002"/>
              <a:gd name="connsiteY145" fmla="*/ 364522 h 2122526"/>
              <a:gd name="connsiteX146" fmla="*/ 3344026 w 12192002"/>
              <a:gd name="connsiteY146" fmla="*/ 363547 h 2122526"/>
              <a:gd name="connsiteX147" fmla="*/ 3363888 w 12192002"/>
              <a:gd name="connsiteY147" fmla="*/ 365229 h 2122526"/>
              <a:gd name="connsiteX148" fmla="*/ 3400728 w 12192002"/>
              <a:gd name="connsiteY148" fmla="*/ 382181 h 2122526"/>
              <a:gd name="connsiteX149" fmla="*/ 3473223 w 12192002"/>
              <a:gd name="connsiteY149" fmla="*/ 370133 h 2122526"/>
              <a:gd name="connsiteX150" fmla="*/ 3536135 w 12192002"/>
              <a:gd name="connsiteY150" fmla="*/ 366472 h 2122526"/>
              <a:gd name="connsiteX151" fmla="*/ 3585978 w 12192002"/>
              <a:gd name="connsiteY151" fmla="*/ 356773 h 2122526"/>
              <a:gd name="connsiteX152" fmla="*/ 3594501 w 12192002"/>
              <a:gd name="connsiteY152" fmla="*/ 357463 h 2122526"/>
              <a:gd name="connsiteX153" fmla="*/ 3594736 w 12192002"/>
              <a:gd name="connsiteY153" fmla="*/ 357194 h 2122526"/>
              <a:gd name="connsiteX154" fmla="*/ 3603855 w 12192002"/>
              <a:gd name="connsiteY154" fmla="*/ 357358 h 2122526"/>
              <a:gd name="connsiteX155" fmla="*/ 3610035 w 12192002"/>
              <a:gd name="connsiteY155" fmla="*/ 358720 h 2122526"/>
              <a:gd name="connsiteX156" fmla="*/ 3682513 w 12192002"/>
              <a:gd name="connsiteY156" fmla="*/ 326449 h 2122526"/>
              <a:gd name="connsiteX157" fmla="*/ 3789760 w 12192002"/>
              <a:gd name="connsiteY157" fmla="*/ 302526 h 2122526"/>
              <a:gd name="connsiteX158" fmla="*/ 3897275 w 12192002"/>
              <a:gd name="connsiteY158" fmla="*/ 282288 h 2122526"/>
              <a:gd name="connsiteX159" fmla="*/ 3936846 w 12192002"/>
              <a:gd name="connsiteY159" fmla="*/ 276633 h 2122526"/>
              <a:gd name="connsiteX160" fmla="*/ 4004538 w 12192002"/>
              <a:gd name="connsiteY160" fmla="*/ 259176 h 2122526"/>
              <a:gd name="connsiteX161" fmla="*/ 4033778 w 12192002"/>
              <a:gd name="connsiteY161" fmla="*/ 246608 h 2122526"/>
              <a:gd name="connsiteX162" fmla="*/ 4035363 w 12192002"/>
              <a:gd name="connsiteY162" fmla="*/ 246843 h 2122526"/>
              <a:gd name="connsiteX163" fmla="*/ 4036996 w 12192002"/>
              <a:gd name="connsiteY163" fmla="*/ 243176 h 2122526"/>
              <a:gd name="connsiteX164" fmla="*/ 4042364 w 12192002"/>
              <a:gd name="connsiteY164" fmla="*/ 240742 h 2122526"/>
              <a:gd name="connsiteX165" fmla="*/ 4058954 w 12192002"/>
              <a:gd name="connsiteY165" fmla="*/ 239121 h 2122526"/>
              <a:gd name="connsiteX166" fmla="*/ 4065510 w 12192002"/>
              <a:gd name="connsiteY166" fmla="*/ 239339 h 2122526"/>
              <a:gd name="connsiteX167" fmla="*/ 4074427 w 12192002"/>
              <a:gd name="connsiteY167" fmla="*/ 237895 h 2122526"/>
              <a:gd name="connsiteX168" fmla="*/ 4074546 w 12192002"/>
              <a:gd name="connsiteY168" fmla="*/ 237596 h 2122526"/>
              <a:gd name="connsiteX169" fmla="*/ 4083097 w 12192002"/>
              <a:gd name="connsiteY169" fmla="*/ 236761 h 2122526"/>
              <a:gd name="connsiteX170" fmla="*/ 4170574 w 12192002"/>
              <a:gd name="connsiteY170" fmla="*/ 202276 h 2122526"/>
              <a:gd name="connsiteX171" fmla="*/ 4191248 w 12192002"/>
              <a:gd name="connsiteY171" fmla="*/ 194363 h 2122526"/>
              <a:gd name="connsiteX172" fmla="*/ 4201744 w 12192002"/>
              <a:gd name="connsiteY172" fmla="*/ 188729 h 2122526"/>
              <a:gd name="connsiteX173" fmla="*/ 4202048 w 12192002"/>
              <a:gd name="connsiteY173" fmla="*/ 187470 h 2122526"/>
              <a:gd name="connsiteX174" fmla="*/ 4248116 w 12192002"/>
              <a:gd name="connsiteY174" fmla="*/ 184675 h 2122526"/>
              <a:gd name="connsiteX175" fmla="*/ 4276141 w 12192002"/>
              <a:gd name="connsiteY175" fmla="*/ 186999 h 2122526"/>
              <a:gd name="connsiteX176" fmla="*/ 4290062 w 12192002"/>
              <a:gd name="connsiteY176" fmla="*/ 186753 h 2122526"/>
              <a:gd name="connsiteX177" fmla="*/ 4295143 w 12192002"/>
              <a:gd name="connsiteY177" fmla="*/ 189670 h 2122526"/>
              <a:gd name="connsiteX178" fmla="*/ 4315108 w 12192002"/>
              <a:gd name="connsiteY178" fmla="*/ 187791 h 2122526"/>
              <a:gd name="connsiteX179" fmla="*/ 4316965 w 12192002"/>
              <a:gd name="connsiteY179" fmla="*/ 186450 h 2122526"/>
              <a:gd name="connsiteX180" fmla="*/ 4335046 w 12192002"/>
              <a:gd name="connsiteY180" fmla="*/ 189089 h 2122526"/>
              <a:gd name="connsiteX181" fmla="*/ 4372883 w 12192002"/>
              <a:gd name="connsiteY181" fmla="*/ 199670 h 2122526"/>
              <a:gd name="connsiteX182" fmla="*/ 4515813 w 12192002"/>
              <a:gd name="connsiteY182" fmla="*/ 181068 h 2122526"/>
              <a:gd name="connsiteX183" fmla="*/ 4715526 w 12192002"/>
              <a:gd name="connsiteY183" fmla="*/ 171166 h 2122526"/>
              <a:gd name="connsiteX184" fmla="*/ 4762447 w 12192002"/>
              <a:gd name="connsiteY184" fmla="*/ 162678 h 2122526"/>
              <a:gd name="connsiteX185" fmla="*/ 4840439 w 12192002"/>
              <a:gd name="connsiteY185" fmla="*/ 134910 h 2122526"/>
              <a:gd name="connsiteX186" fmla="*/ 5011513 w 12192002"/>
              <a:gd name="connsiteY186" fmla="*/ 110893 h 2122526"/>
              <a:gd name="connsiteX187" fmla="*/ 5065790 w 12192002"/>
              <a:gd name="connsiteY187" fmla="*/ 94512 h 2122526"/>
              <a:gd name="connsiteX188" fmla="*/ 5121659 w 12192002"/>
              <a:gd name="connsiteY188" fmla="*/ 101083 h 2122526"/>
              <a:gd name="connsiteX189" fmla="*/ 5139595 w 12192002"/>
              <a:gd name="connsiteY189" fmla="*/ 90230 h 2122526"/>
              <a:gd name="connsiteX190" fmla="*/ 5142598 w 12192002"/>
              <a:gd name="connsiteY190" fmla="*/ 88129 h 2122526"/>
              <a:gd name="connsiteX191" fmla="*/ 5156554 w 12192002"/>
              <a:gd name="connsiteY191" fmla="*/ 84729 h 2122526"/>
              <a:gd name="connsiteX192" fmla="*/ 5174660 w 12192002"/>
              <a:gd name="connsiteY192" fmla="*/ 77506 h 2122526"/>
              <a:gd name="connsiteX193" fmla="*/ 5222961 w 12192002"/>
              <a:gd name="connsiteY193" fmla="*/ 74516 h 2122526"/>
              <a:gd name="connsiteX194" fmla="*/ 5261763 w 12192002"/>
              <a:gd name="connsiteY194" fmla="*/ 63392 h 2122526"/>
              <a:gd name="connsiteX195" fmla="*/ 5381667 w 12192002"/>
              <a:gd name="connsiteY195" fmla="*/ 42975 h 2122526"/>
              <a:gd name="connsiteX196" fmla="*/ 5432760 w 12192002"/>
              <a:gd name="connsiteY196" fmla="*/ 25273 h 2122526"/>
              <a:gd name="connsiteX197" fmla="*/ 5470905 w 12192002"/>
              <a:gd name="connsiteY197" fmla="*/ 14020 h 2122526"/>
              <a:gd name="connsiteX198" fmla="*/ 5626960 w 12192002"/>
              <a:gd name="connsiteY198" fmla="*/ 0 h 2122526"/>
              <a:gd name="connsiteX0" fmla="*/ 5626960 w 12192002"/>
              <a:gd name="connsiteY0" fmla="*/ 0 h 2122526"/>
              <a:gd name="connsiteX1" fmla="*/ 5758918 w 12192002"/>
              <a:gd name="connsiteY1" fmla="*/ 1023 h 2122526"/>
              <a:gd name="connsiteX2" fmla="*/ 5957375 w 12192002"/>
              <a:gd name="connsiteY2" fmla="*/ 16715 h 2122526"/>
              <a:gd name="connsiteX3" fmla="*/ 6010090 w 12192002"/>
              <a:gd name="connsiteY3" fmla="*/ 20359 h 2122526"/>
              <a:gd name="connsiteX4" fmla="*/ 6041282 w 12192002"/>
              <a:gd name="connsiteY4" fmla="*/ 15266 h 2122526"/>
              <a:gd name="connsiteX5" fmla="*/ 6048637 w 12192002"/>
              <a:gd name="connsiteY5" fmla="*/ 6917 h 2122526"/>
              <a:gd name="connsiteX6" fmla="*/ 6068529 w 12192002"/>
              <a:gd name="connsiteY6" fmla="*/ 7600 h 2122526"/>
              <a:gd name="connsiteX7" fmla="*/ 6073847 w 12192002"/>
              <a:gd name="connsiteY7" fmla="*/ 6063 h 2122526"/>
              <a:gd name="connsiteX8" fmla="*/ 6168673 w 12192002"/>
              <a:gd name="connsiteY8" fmla="*/ 26525 h 2122526"/>
              <a:gd name="connsiteX9" fmla="*/ 6317559 w 12192002"/>
              <a:gd name="connsiteY9" fmla="*/ 28612 h 2122526"/>
              <a:gd name="connsiteX10" fmla="*/ 6549454 w 12192002"/>
              <a:gd name="connsiteY10" fmla="*/ 75412 h 2122526"/>
              <a:gd name="connsiteX11" fmla="*/ 6708221 w 12192002"/>
              <a:gd name="connsiteY11" fmla="*/ 104188 h 2122526"/>
              <a:gd name="connsiteX12" fmla="*/ 6904145 w 12192002"/>
              <a:gd name="connsiteY12" fmla="*/ 132143 h 2122526"/>
              <a:gd name="connsiteX13" fmla="*/ 7018495 w 12192002"/>
              <a:gd name="connsiteY13" fmla="*/ 161649 h 2122526"/>
              <a:gd name="connsiteX14" fmla="*/ 7096987 w 12192002"/>
              <a:gd name="connsiteY14" fmla="*/ 161275 h 2122526"/>
              <a:gd name="connsiteX15" fmla="*/ 7170807 w 12192002"/>
              <a:gd name="connsiteY15" fmla="*/ 173503 h 2122526"/>
              <a:gd name="connsiteX16" fmla="*/ 7197003 w 12192002"/>
              <a:gd name="connsiteY16" fmla="*/ 178151 h 2122526"/>
              <a:gd name="connsiteX17" fmla="*/ 7201101 w 12192002"/>
              <a:gd name="connsiteY17" fmla="*/ 183509 h 2122526"/>
              <a:gd name="connsiteX18" fmla="*/ 7218559 w 12192002"/>
              <a:gd name="connsiteY18" fmla="*/ 188059 h 2122526"/>
              <a:gd name="connsiteX19" fmla="*/ 7310852 w 12192002"/>
              <a:gd name="connsiteY19" fmla="*/ 213308 h 2122526"/>
              <a:gd name="connsiteX20" fmla="*/ 7312179 w 12192002"/>
              <a:gd name="connsiteY20" fmla="*/ 211866 h 2122526"/>
              <a:gd name="connsiteX21" fmla="*/ 7405390 w 12192002"/>
              <a:gd name="connsiteY21" fmla="*/ 202271 h 2122526"/>
              <a:gd name="connsiteX22" fmla="*/ 7495794 w 12192002"/>
              <a:gd name="connsiteY22" fmla="*/ 194166 h 2122526"/>
              <a:gd name="connsiteX23" fmla="*/ 7507039 w 12192002"/>
              <a:gd name="connsiteY23" fmla="*/ 196118 h 2122526"/>
              <a:gd name="connsiteX24" fmla="*/ 7507411 w 12192002"/>
              <a:gd name="connsiteY24" fmla="*/ 195791 h 2122526"/>
              <a:gd name="connsiteX25" fmla="*/ 7519570 w 12192002"/>
              <a:gd name="connsiteY25" fmla="*/ 197126 h 2122526"/>
              <a:gd name="connsiteX26" fmla="*/ 7527542 w 12192002"/>
              <a:gd name="connsiteY26" fmla="*/ 199679 h 2122526"/>
              <a:gd name="connsiteX27" fmla="*/ 7614346 w 12192002"/>
              <a:gd name="connsiteY27" fmla="*/ 205507 h 2122526"/>
              <a:gd name="connsiteX28" fmla="*/ 7718744 w 12192002"/>
              <a:gd name="connsiteY28" fmla="*/ 202036 h 2122526"/>
              <a:gd name="connsiteX29" fmla="*/ 7905407 w 12192002"/>
              <a:gd name="connsiteY29" fmla="*/ 227751 h 2122526"/>
              <a:gd name="connsiteX30" fmla="*/ 8090271 w 12192002"/>
              <a:gd name="connsiteY30" fmla="*/ 269724 h 2122526"/>
              <a:gd name="connsiteX31" fmla="*/ 8245834 w 12192002"/>
              <a:gd name="connsiteY31" fmla="*/ 315885 h 2122526"/>
              <a:gd name="connsiteX32" fmla="*/ 8252033 w 12192002"/>
              <a:gd name="connsiteY32" fmla="*/ 328877 h 2122526"/>
              <a:gd name="connsiteX33" fmla="*/ 8263376 w 12192002"/>
              <a:gd name="connsiteY33" fmla="*/ 338720 h 2122526"/>
              <a:gd name="connsiteX34" fmla="*/ 8266075 w 12192002"/>
              <a:gd name="connsiteY34" fmla="*/ 338490 h 2122526"/>
              <a:gd name="connsiteX35" fmla="*/ 8283149 w 12192002"/>
              <a:gd name="connsiteY35" fmla="*/ 345665 h 2122526"/>
              <a:gd name="connsiteX36" fmla="*/ 8284276 w 12192002"/>
              <a:gd name="connsiteY36" fmla="*/ 350108 h 2122526"/>
              <a:gd name="connsiteX37" fmla="*/ 8295173 w 12192002"/>
              <a:gd name="connsiteY37" fmla="*/ 355931 h 2122526"/>
              <a:gd name="connsiteX38" fmla="*/ 8314432 w 12192002"/>
              <a:gd name="connsiteY38" fmla="*/ 369826 h 2122526"/>
              <a:gd name="connsiteX39" fmla="*/ 8320104 w 12192002"/>
              <a:gd name="connsiteY39" fmla="*/ 370152 h 2122526"/>
              <a:gd name="connsiteX40" fmla="*/ 8352372 w 12192002"/>
              <a:gd name="connsiteY40" fmla="*/ 387570 h 2122526"/>
              <a:gd name="connsiteX41" fmla="*/ 8353799 w 12192002"/>
              <a:gd name="connsiteY41" fmla="*/ 386730 h 2122526"/>
              <a:gd name="connsiteX42" fmla="*/ 8367182 w 12192002"/>
              <a:gd name="connsiteY42" fmla="*/ 386924 h 2122526"/>
              <a:gd name="connsiteX43" fmla="*/ 8490249 w 12192002"/>
              <a:gd name="connsiteY43" fmla="*/ 400966 h 2122526"/>
              <a:gd name="connsiteX44" fmla="*/ 8497594 w 12192002"/>
              <a:gd name="connsiteY44" fmla="*/ 404016 h 2122526"/>
              <a:gd name="connsiteX45" fmla="*/ 8497968 w 12192002"/>
              <a:gd name="connsiteY45" fmla="*/ 403837 h 2122526"/>
              <a:gd name="connsiteX46" fmla="*/ 8506167 w 12192002"/>
              <a:gd name="connsiteY46" fmla="*/ 406575 h 2122526"/>
              <a:gd name="connsiteX47" fmla="*/ 8510983 w 12192002"/>
              <a:gd name="connsiteY47" fmla="*/ 409576 h 2122526"/>
              <a:gd name="connsiteX48" fmla="*/ 8525230 w 12192002"/>
              <a:gd name="connsiteY48" fmla="*/ 415491 h 2122526"/>
              <a:gd name="connsiteX49" fmla="*/ 8596071 w 12192002"/>
              <a:gd name="connsiteY49" fmla="*/ 400649 h 2122526"/>
              <a:gd name="connsiteX50" fmla="*/ 8707847 w 12192002"/>
              <a:gd name="connsiteY50" fmla="*/ 409221 h 2122526"/>
              <a:gd name="connsiteX51" fmla="*/ 8752444 w 12192002"/>
              <a:gd name="connsiteY51" fmla="*/ 411322 h 2122526"/>
              <a:gd name="connsiteX52" fmla="*/ 8928988 w 12192002"/>
              <a:gd name="connsiteY52" fmla="*/ 430554 h 2122526"/>
              <a:gd name="connsiteX53" fmla="*/ 8963048 w 12192002"/>
              <a:gd name="connsiteY53" fmla="*/ 427366 h 2122526"/>
              <a:gd name="connsiteX54" fmla="*/ 8968011 w 12192002"/>
              <a:gd name="connsiteY54" fmla="*/ 425141 h 2122526"/>
              <a:gd name="connsiteX55" fmla="*/ 8974337 w 12192002"/>
              <a:gd name="connsiteY55" fmla="*/ 424441 h 2122526"/>
              <a:gd name="connsiteX56" fmla="*/ 8990394 w 12192002"/>
              <a:gd name="connsiteY56" fmla="*/ 427667 h 2122526"/>
              <a:gd name="connsiteX57" fmla="*/ 8996232 w 12192002"/>
              <a:gd name="connsiteY57" fmla="*/ 429728 h 2122526"/>
              <a:gd name="connsiteX58" fmla="*/ 9005201 w 12192002"/>
              <a:gd name="connsiteY58" fmla="*/ 430939 h 2122526"/>
              <a:gd name="connsiteX59" fmla="*/ 9005486 w 12192002"/>
              <a:gd name="connsiteY59" fmla="*/ 430699 h 2122526"/>
              <a:gd name="connsiteX60" fmla="*/ 9053453 w 12192002"/>
              <a:gd name="connsiteY60" fmla="*/ 433984 h 2122526"/>
              <a:gd name="connsiteX61" fmla="*/ 9113812 w 12192002"/>
              <a:gd name="connsiteY61" fmla="*/ 425670 h 2122526"/>
              <a:gd name="connsiteX62" fmla="*/ 9137318 w 12192002"/>
              <a:gd name="connsiteY62" fmla="*/ 424304 h 2122526"/>
              <a:gd name="connsiteX63" fmla="*/ 9150210 w 12192002"/>
              <a:gd name="connsiteY63" fmla="*/ 422135 h 2122526"/>
              <a:gd name="connsiteX64" fmla="*/ 9151232 w 12192002"/>
              <a:gd name="connsiteY64" fmla="*/ 421070 h 2122526"/>
              <a:gd name="connsiteX65" fmla="*/ 9189246 w 12192002"/>
              <a:gd name="connsiteY65" fmla="*/ 432272 h 2122526"/>
              <a:gd name="connsiteX66" fmla="*/ 9194810 w 12192002"/>
              <a:gd name="connsiteY66" fmla="*/ 441511 h 2122526"/>
              <a:gd name="connsiteX67" fmla="*/ 9231370 w 12192002"/>
              <a:gd name="connsiteY67" fmla="*/ 451590 h 2122526"/>
              <a:gd name="connsiteX68" fmla="*/ 9343052 w 12192002"/>
              <a:gd name="connsiteY68" fmla="*/ 503495 h 2122526"/>
              <a:gd name="connsiteX69" fmla="*/ 9584507 w 12192002"/>
              <a:gd name="connsiteY69" fmla="*/ 549197 h 2122526"/>
              <a:gd name="connsiteX70" fmla="*/ 9728309 w 12192002"/>
              <a:gd name="connsiteY70" fmla="*/ 560617 h 2122526"/>
              <a:gd name="connsiteX71" fmla="*/ 9847792 w 12192002"/>
              <a:gd name="connsiteY71" fmla="*/ 580824 h 2122526"/>
              <a:gd name="connsiteX72" fmla="*/ 9960019 w 12192002"/>
              <a:gd name="connsiteY72" fmla="*/ 587592 h 2122526"/>
              <a:gd name="connsiteX73" fmla="*/ 10039240 w 12192002"/>
              <a:gd name="connsiteY73" fmla="*/ 603107 h 2122526"/>
              <a:gd name="connsiteX74" fmla="*/ 10082169 w 12192002"/>
              <a:gd name="connsiteY74" fmla="*/ 601443 h 2122526"/>
              <a:gd name="connsiteX75" fmla="*/ 10126500 w 12192002"/>
              <a:gd name="connsiteY75" fmla="*/ 603538 h 2122526"/>
              <a:gd name="connsiteX76" fmla="*/ 10261101 w 12192002"/>
              <a:gd name="connsiteY76" fmla="*/ 615053 h 2122526"/>
              <a:gd name="connsiteX77" fmla="*/ 10336855 w 12192002"/>
              <a:gd name="connsiteY77" fmla="*/ 624804 h 2122526"/>
              <a:gd name="connsiteX78" fmla="*/ 10383868 w 12192002"/>
              <a:gd name="connsiteY78" fmla="*/ 625415 h 2122526"/>
              <a:gd name="connsiteX79" fmla="*/ 10445984 w 12192002"/>
              <a:gd name="connsiteY79" fmla="*/ 629262 h 2122526"/>
              <a:gd name="connsiteX80" fmla="*/ 10519280 w 12192002"/>
              <a:gd name="connsiteY80" fmla="*/ 631320 h 2122526"/>
              <a:gd name="connsiteX81" fmla="*/ 10644619 w 12192002"/>
              <a:gd name="connsiteY81" fmla="*/ 651566 h 2122526"/>
              <a:gd name="connsiteX82" fmla="*/ 10857724 w 12192002"/>
              <a:gd name="connsiteY82" fmla="*/ 712684 h 2122526"/>
              <a:gd name="connsiteX83" fmla="*/ 10951063 w 12192002"/>
              <a:gd name="connsiteY83" fmla="*/ 725767 h 2122526"/>
              <a:gd name="connsiteX84" fmla="*/ 11030956 w 12192002"/>
              <a:gd name="connsiteY84" fmla="*/ 721011 h 2122526"/>
              <a:gd name="connsiteX85" fmla="*/ 11085938 w 12192002"/>
              <a:gd name="connsiteY85" fmla="*/ 723892 h 2122526"/>
              <a:gd name="connsiteX86" fmla="*/ 11143411 w 12192002"/>
              <a:gd name="connsiteY86" fmla="*/ 733141 h 2122526"/>
              <a:gd name="connsiteX87" fmla="*/ 11195087 w 12192002"/>
              <a:gd name="connsiteY87" fmla="*/ 732494 h 2122526"/>
              <a:gd name="connsiteX88" fmla="*/ 11273972 w 12192002"/>
              <a:gd name="connsiteY88" fmla="*/ 729660 h 2122526"/>
              <a:gd name="connsiteX89" fmla="*/ 11369715 w 12192002"/>
              <a:gd name="connsiteY89" fmla="*/ 813181 h 2122526"/>
              <a:gd name="connsiteX90" fmla="*/ 11462695 w 12192002"/>
              <a:gd name="connsiteY90" fmla="*/ 874654 h 2122526"/>
              <a:gd name="connsiteX91" fmla="*/ 11564181 w 12192002"/>
              <a:gd name="connsiteY91" fmla="*/ 888450 h 2122526"/>
              <a:gd name="connsiteX92" fmla="*/ 11684760 w 12192002"/>
              <a:gd name="connsiteY92" fmla="*/ 929360 h 2122526"/>
              <a:gd name="connsiteX93" fmla="*/ 11744187 w 12192002"/>
              <a:gd name="connsiteY93" fmla="*/ 984253 h 2122526"/>
              <a:gd name="connsiteX94" fmla="*/ 11834979 w 12192002"/>
              <a:gd name="connsiteY94" fmla="*/ 1013094 h 2122526"/>
              <a:gd name="connsiteX95" fmla="*/ 11933790 w 12192002"/>
              <a:gd name="connsiteY95" fmla="*/ 990933 h 2122526"/>
              <a:gd name="connsiteX96" fmla="*/ 12084140 w 12192002"/>
              <a:gd name="connsiteY96" fmla="*/ 1007396 h 2122526"/>
              <a:gd name="connsiteX97" fmla="*/ 12140863 w 12192002"/>
              <a:gd name="connsiteY97" fmla="*/ 1035036 h 2122526"/>
              <a:gd name="connsiteX98" fmla="*/ 12192002 w 12192002"/>
              <a:gd name="connsiteY98" fmla="*/ 1015838 h 2122526"/>
              <a:gd name="connsiteX99" fmla="*/ 12192002 w 12192002"/>
              <a:gd name="connsiteY99" fmla="*/ 1955549 h 2122526"/>
              <a:gd name="connsiteX100" fmla="*/ 12192000 w 12192002"/>
              <a:gd name="connsiteY100" fmla="*/ 1955549 h 2122526"/>
              <a:gd name="connsiteX101" fmla="*/ 12192000 w 12192002"/>
              <a:gd name="connsiteY101" fmla="*/ 2122526 h 2122526"/>
              <a:gd name="connsiteX102" fmla="*/ 0 w 12192002"/>
              <a:gd name="connsiteY102" fmla="*/ 2122526 h 2122526"/>
              <a:gd name="connsiteX103" fmla="*/ 0 w 12192002"/>
              <a:gd name="connsiteY103" fmla="*/ 1348327 h 2122526"/>
              <a:gd name="connsiteX104" fmla="*/ 2 w 12192002"/>
              <a:gd name="connsiteY104" fmla="*/ 1348327 h 2122526"/>
              <a:gd name="connsiteX105" fmla="*/ 2 w 12192002"/>
              <a:gd name="connsiteY105" fmla="*/ 592017 h 2122526"/>
              <a:gd name="connsiteX106" fmla="*/ 15526 w 12192002"/>
              <a:gd name="connsiteY106" fmla="*/ 586548 h 2122526"/>
              <a:gd name="connsiteX107" fmla="*/ 118381 w 12192002"/>
              <a:gd name="connsiteY107" fmla="*/ 583692 h 2122526"/>
              <a:gd name="connsiteX108" fmla="*/ 292435 w 12192002"/>
              <a:gd name="connsiteY108" fmla="*/ 531887 h 2122526"/>
              <a:gd name="connsiteX109" fmla="*/ 404015 w 12192002"/>
              <a:gd name="connsiteY109" fmla="*/ 511191 h 2122526"/>
              <a:gd name="connsiteX110" fmla="*/ 445099 w 12192002"/>
              <a:gd name="connsiteY110" fmla="*/ 505368 h 2122526"/>
              <a:gd name="connsiteX111" fmla="*/ 571717 w 12192002"/>
              <a:gd name="connsiteY111" fmla="*/ 467338 h 2122526"/>
              <a:gd name="connsiteX112" fmla="*/ 578535 w 12192002"/>
              <a:gd name="connsiteY112" fmla="*/ 467527 h 2122526"/>
              <a:gd name="connsiteX113" fmla="*/ 596792 w 12192002"/>
              <a:gd name="connsiteY113" fmla="*/ 464875 h 2122526"/>
              <a:gd name="connsiteX114" fmla="*/ 708875 w 12192002"/>
              <a:gd name="connsiteY114" fmla="*/ 422017 h 2122526"/>
              <a:gd name="connsiteX115" fmla="*/ 719742 w 12192002"/>
              <a:gd name="connsiteY115" fmla="*/ 416340 h 2122526"/>
              <a:gd name="connsiteX116" fmla="*/ 720047 w 12192002"/>
              <a:gd name="connsiteY116" fmla="*/ 415078 h 2122526"/>
              <a:gd name="connsiteX117" fmla="*/ 763053 w 12192002"/>
              <a:gd name="connsiteY117" fmla="*/ 414307 h 2122526"/>
              <a:gd name="connsiteX118" fmla="*/ 767901 w 12192002"/>
              <a:gd name="connsiteY118" fmla="*/ 412086 h 2122526"/>
              <a:gd name="connsiteX119" fmla="*/ 797041 w 12192002"/>
              <a:gd name="connsiteY119" fmla="*/ 414293 h 2122526"/>
              <a:gd name="connsiteX120" fmla="*/ 811506 w 12192002"/>
              <a:gd name="connsiteY120" fmla="*/ 413988 h 2122526"/>
              <a:gd name="connsiteX121" fmla="*/ 816809 w 12192002"/>
              <a:gd name="connsiteY121" fmla="*/ 416882 h 2122526"/>
              <a:gd name="connsiteX122" fmla="*/ 837540 w 12192002"/>
              <a:gd name="connsiteY122" fmla="*/ 414918 h 2122526"/>
              <a:gd name="connsiteX123" fmla="*/ 858269 w 12192002"/>
              <a:gd name="connsiteY123" fmla="*/ 416131 h 2122526"/>
              <a:gd name="connsiteX124" fmla="*/ 948732 w 12192002"/>
              <a:gd name="connsiteY124" fmla="*/ 404293 h 2122526"/>
              <a:gd name="connsiteX125" fmla="*/ 1149979 w 12192002"/>
              <a:gd name="connsiteY125" fmla="*/ 406698 h 2122526"/>
              <a:gd name="connsiteX126" fmla="*/ 1496110 w 12192002"/>
              <a:gd name="connsiteY126" fmla="*/ 357263 h 2122526"/>
              <a:gd name="connsiteX127" fmla="*/ 1608669 w 12192002"/>
              <a:gd name="connsiteY127" fmla="*/ 331673 h 2122526"/>
              <a:gd name="connsiteX128" fmla="*/ 1675071 w 12192002"/>
              <a:gd name="connsiteY128" fmla="*/ 324776 h 2122526"/>
              <a:gd name="connsiteX129" fmla="*/ 1738204 w 12192002"/>
              <a:gd name="connsiteY129" fmla="*/ 308427 h 2122526"/>
              <a:gd name="connsiteX130" fmla="*/ 1786655 w 12192002"/>
              <a:gd name="connsiteY130" fmla="*/ 303376 h 2122526"/>
              <a:gd name="connsiteX131" fmla="*/ 1873080 w 12192002"/>
              <a:gd name="connsiteY131" fmla="*/ 330998 h 2122526"/>
              <a:gd name="connsiteX132" fmla="*/ 1921650 w 12192002"/>
              <a:gd name="connsiteY132" fmla="*/ 332593 h 2122526"/>
              <a:gd name="connsiteX133" fmla="*/ 1928172 w 12192002"/>
              <a:gd name="connsiteY133" fmla="*/ 327762 h 2122526"/>
              <a:gd name="connsiteX134" fmla="*/ 1997356 w 12192002"/>
              <a:gd name="connsiteY134" fmla="*/ 349707 h 2122526"/>
              <a:gd name="connsiteX135" fmla="*/ 2094665 w 12192002"/>
              <a:gd name="connsiteY135" fmla="*/ 341687 h 2122526"/>
              <a:gd name="connsiteX136" fmla="*/ 2208578 w 12192002"/>
              <a:gd name="connsiteY136" fmla="*/ 324976 h 2122526"/>
              <a:gd name="connsiteX137" fmla="*/ 2315112 w 12192002"/>
              <a:gd name="connsiteY137" fmla="*/ 319743 h 2122526"/>
              <a:gd name="connsiteX138" fmla="*/ 2443255 w 12192002"/>
              <a:gd name="connsiteY138" fmla="*/ 328210 h 2122526"/>
              <a:gd name="connsiteX139" fmla="*/ 2587906 w 12192002"/>
              <a:gd name="connsiteY139" fmla="*/ 322233 h 2122526"/>
              <a:gd name="connsiteX140" fmla="*/ 2646527 w 12192002"/>
              <a:gd name="connsiteY140" fmla="*/ 315870 h 2122526"/>
              <a:gd name="connsiteX141" fmla="*/ 2781569 w 12192002"/>
              <a:gd name="connsiteY141" fmla="*/ 326406 h 2122526"/>
              <a:gd name="connsiteX142" fmla="*/ 3030291 w 12192002"/>
              <a:gd name="connsiteY142" fmla="*/ 348227 h 2122526"/>
              <a:gd name="connsiteX143" fmla="*/ 3142556 w 12192002"/>
              <a:gd name="connsiteY143" fmla="*/ 350870 h 2122526"/>
              <a:gd name="connsiteX144" fmla="*/ 3262356 w 12192002"/>
              <a:gd name="connsiteY144" fmla="*/ 358645 h 2122526"/>
              <a:gd name="connsiteX145" fmla="*/ 3341698 w 12192002"/>
              <a:gd name="connsiteY145" fmla="*/ 364522 h 2122526"/>
              <a:gd name="connsiteX146" fmla="*/ 3344026 w 12192002"/>
              <a:gd name="connsiteY146" fmla="*/ 363547 h 2122526"/>
              <a:gd name="connsiteX147" fmla="*/ 3363888 w 12192002"/>
              <a:gd name="connsiteY147" fmla="*/ 365229 h 2122526"/>
              <a:gd name="connsiteX148" fmla="*/ 3400728 w 12192002"/>
              <a:gd name="connsiteY148" fmla="*/ 382181 h 2122526"/>
              <a:gd name="connsiteX149" fmla="*/ 3473223 w 12192002"/>
              <a:gd name="connsiteY149" fmla="*/ 370133 h 2122526"/>
              <a:gd name="connsiteX150" fmla="*/ 3536135 w 12192002"/>
              <a:gd name="connsiteY150" fmla="*/ 366472 h 2122526"/>
              <a:gd name="connsiteX151" fmla="*/ 3585978 w 12192002"/>
              <a:gd name="connsiteY151" fmla="*/ 356773 h 2122526"/>
              <a:gd name="connsiteX152" fmla="*/ 3594501 w 12192002"/>
              <a:gd name="connsiteY152" fmla="*/ 357463 h 2122526"/>
              <a:gd name="connsiteX153" fmla="*/ 3594736 w 12192002"/>
              <a:gd name="connsiteY153" fmla="*/ 357194 h 2122526"/>
              <a:gd name="connsiteX154" fmla="*/ 3603855 w 12192002"/>
              <a:gd name="connsiteY154" fmla="*/ 357358 h 2122526"/>
              <a:gd name="connsiteX155" fmla="*/ 3610035 w 12192002"/>
              <a:gd name="connsiteY155" fmla="*/ 358720 h 2122526"/>
              <a:gd name="connsiteX156" fmla="*/ 3682513 w 12192002"/>
              <a:gd name="connsiteY156" fmla="*/ 326449 h 2122526"/>
              <a:gd name="connsiteX157" fmla="*/ 3789760 w 12192002"/>
              <a:gd name="connsiteY157" fmla="*/ 302526 h 2122526"/>
              <a:gd name="connsiteX158" fmla="*/ 3897275 w 12192002"/>
              <a:gd name="connsiteY158" fmla="*/ 282288 h 2122526"/>
              <a:gd name="connsiteX159" fmla="*/ 3936846 w 12192002"/>
              <a:gd name="connsiteY159" fmla="*/ 276633 h 2122526"/>
              <a:gd name="connsiteX160" fmla="*/ 4004538 w 12192002"/>
              <a:gd name="connsiteY160" fmla="*/ 259176 h 2122526"/>
              <a:gd name="connsiteX161" fmla="*/ 4033778 w 12192002"/>
              <a:gd name="connsiteY161" fmla="*/ 246608 h 2122526"/>
              <a:gd name="connsiteX162" fmla="*/ 4035363 w 12192002"/>
              <a:gd name="connsiteY162" fmla="*/ 246843 h 2122526"/>
              <a:gd name="connsiteX163" fmla="*/ 4036996 w 12192002"/>
              <a:gd name="connsiteY163" fmla="*/ 243176 h 2122526"/>
              <a:gd name="connsiteX164" fmla="*/ 4042364 w 12192002"/>
              <a:gd name="connsiteY164" fmla="*/ 240742 h 2122526"/>
              <a:gd name="connsiteX165" fmla="*/ 4058954 w 12192002"/>
              <a:gd name="connsiteY165" fmla="*/ 239121 h 2122526"/>
              <a:gd name="connsiteX166" fmla="*/ 4065510 w 12192002"/>
              <a:gd name="connsiteY166" fmla="*/ 239339 h 2122526"/>
              <a:gd name="connsiteX167" fmla="*/ 4074427 w 12192002"/>
              <a:gd name="connsiteY167" fmla="*/ 237895 h 2122526"/>
              <a:gd name="connsiteX168" fmla="*/ 4074546 w 12192002"/>
              <a:gd name="connsiteY168" fmla="*/ 237596 h 2122526"/>
              <a:gd name="connsiteX169" fmla="*/ 4083097 w 12192002"/>
              <a:gd name="connsiteY169" fmla="*/ 236761 h 2122526"/>
              <a:gd name="connsiteX170" fmla="*/ 4142745 w 12192002"/>
              <a:gd name="connsiteY170" fmla="*/ 210228 h 2122526"/>
              <a:gd name="connsiteX171" fmla="*/ 4191248 w 12192002"/>
              <a:gd name="connsiteY171" fmla="*/ 194363 h 2122526"/>
              <a:gd name="connsiteX172" fmla="*/ 4201744 w 12192002"/>
              <a:gd name="connsiteY172" fmla="*/ 188729 h 2122526"/>
              <a:gd name="connsiteX173" fmla="*/ 4202048 w 12192002"/>
              <a:gd name="connsiteY173" fmla="*/ 187470 h 2122526"/>
              <a:gd name="connsiteX174" fmla="*/ 4248116 w 12192002"/>
              <a:gd name="connsiteY174" fmla="*/ 184675 h 2122526"/>
              <a:gd name="connsiteX175" fmla="*/ 4276141 w 12192002"/>
              <a:gd name="connsiteY175" fmla="*/ 186999 h 2122526"/>
              <a:gd name="connsiteX176" fmla="*/ 4290062 w 12192002"/>
              <a:gd name="connsiteY176" fmla="*/ 186753 h 2122526"/>
              <a:gd name="connsiteX177" fmla="*/ 4295143 w 12192002"/>
              <a:gd name="connsiteY177" fmla="*/ 189670 h 2122526"/>
              <a:gd name="connsiteX178" fmla="*/ 4315108 w 12192002"/>
              <a:gd name="connsiteY178" fmla="*/ 187791 h 2122526"/>
              <a:gd name="connsiteX179" fmla="*/ 4316965 w 12192002"/>
              <a:gd name="connsiteY179" fmla="*/ 186450 h 2122526"/>
              <a:gd name="connsiteX180" fmla="*/ 4335046 w 12192002"/>
              <a:gd name="connsiteY180" fmla="*/ 189089 h 2122526"/>
              <a:gd name="connsiteX181" fmla="*/ 4372883 w 12192002"/>
              <a:gd name="connsiteY181" fmla="*/ 199670 h 2122526"/>
              <a:gd name="connsiteX182" fmla="*/ 4515813 w 12192002"/>
              <a:gd name="connsiteY182" fmla="*/ 181068 h 2122526"/>
              <a:gd name="connsiteX183" fmla="*/ 4715526 w 12192002"/>
              <a:gd name="connsiteY183" fmla="*/ 171166 h 2122526"/>
              <a:gd name="connsiteX184" fmla="*/ 4762447 w 12192002"/>
              <a:gd name="connsiteY184" fmla="*/ 162678 h 2122526"/>
              <a:gd name="connsiteX185" fmla="*/ 4840439 w 12192002"/>
              <a:gd name="connsiteY185" fmla="*/ 134910 h 2122526"/>
              <a:gd name="connsiteX186" fmla="*/ 5011513 w 12192002"/>
              <a:gd name="connsiteY186" fmla="*/ 110893 h 2122526"/>
              <a:gd name="connsiteX187" fmla="*/ 5065790 w 12192002"/>
              <a:gd name="connsiteY187" fmla="*/ 94512 h 2122526"/>
              <a:gd name="connsiteX188" fmla="*/ 5121659 w 12192002"/>
              <a:gd name="connsiteY188" fmla="*/ 101083 h 2122526"/>
              <a:gd name="connsiteX189" fmla="*/ 5139595 w 12192002"/>
              <a:gd name="connsiteY189" fmla="*/ 90230 h 2122526"/>
              <a:gd name="connsiteX190" fmla="*/ 5142598 w 12192002"/>
              <a:gd name="connsiteY190" fmla="*/ 88129 h 2122526"/>
              <a:gd name="connsiteX191" fmla="*/ 5156554 w 12192002"/>
              <a:gd name="connsiteY191" fmla="*/ 84729 h 2122526"/>
              <a:gd name="connsiteX192" fmla="*/ 5174660 w 12192002"/>
              <a:gd name="connsiteY192" fmla="*/ 77506 h 2122526"/>
              <a:gd name="connsiteX193" fmla="*/ 5222961 w 12192002"/>
              <a:gd name="connsiteY193" fmla="*/ 74516 h 2122526"/>
              <a:gd name="connsiteX194" fmla="*/ 5261763 w 12192002"/>
              <a:gd name="connsiteY194" fmla="*/ 63392 h 2122526"/>
              <a:gd name="connsiteX195" fmla="*/ 5381667 w 12192002"/>
              <a:gd name="connsiteY195" fmla="*/ 42975 h 2122526"/>
              <a:gd name="connsiteX196" fmla="*/ 5432760 w 12192002"/>
              <a:gd name="connsiteY196" fmla="*/ 25273 h 2122526"/>
              <a:gd name="connsiteX197" fmla="*/ 5470905 w 12192002"/>
              <a:gd name="connsiteY197" fmla="*/ 14020 h 2122526"/>
              <a:gd name="connsiteX198" fmla="*/ 5626960 w 12192002"/>
              <a:gd name="connsiteY198" fmla="*/ 0 h 2122526"/>
              <a:gd name="connsiteX0" fmla="*/ 5626960 w 12192002"/>
              <a:gd name="connsiteY0" fmla="*/ 0 h 2122526"/>
              <a:gd name="connsiteX1" fmla="*/ 5758918 w 12192002"/>
              <a:gd name="connsiteY1" fmla="*/ 1023 h 2122526"/>
              <a:gd name="connsiteX2" fmla="*/ 5957375 w 12192002"/>
              <a:gd name="connsiteY2" fmla="*/ 16715 h 2122526"/>
              <a:gd name="connsiteX3" fmla="*/ 6010090 w 12192002"/>
              <a:gd name="connsiteY3" fmla="*/ 20359 h 2122526"/>
              <a:gd name="connsiteX4" fmla="*/ 6041282 w 12192002"/>
              <a:gd name="connsiteY4" fmla="*/ 15266 h 2122526"/>
              <a:gd name="connsiteX5" fmla="*/ 6048637 w 12192002"/>
              <a:gd name="connsiteY5" fmla="*/ 6917 h 2122526"/>
              <a:gd name="connsiteX6" fmla="*/ 6068529 w 12192002"/>
              <a:gd name="connsiteY6" fmla="*/ 7600 h 2122526"/>
              <a:gd name="connsiteX7" fmla="*/ 6073847 w 12192002"/>
              <a:gd name="connsiteY7" fmla="*/ 6063 h 2122526"/>
              <a:gd name="connsiteX8" fmla="*/ 6168673 w 12192002"/>
              <a:gd name="connsiteY8" fmla="*/ 26525 h 2122526"/>
              <a:gd name="connsiteX9" fmla="*/ 6317559 w 12192002"/>
              <a:gd name="connsiteY9" fmla="*/ 28612 h 2122526"/>
              <a:gd name="connsiteX10" fmla="*/ 6549454 w 12192002"/>
              <a:gd name="connsiteY10" fmla="*/ 75412 h 2122526"/>
              <a:gd name="connsiteX11" fmla="*/ 6708221 w 12192002"/>
              <a:gd name="connsiteY11" fmla="*/ 104188 h 2122526"/>
              <a:gd name="connsiteX12" fmla="*/ 6904145 w 12192002"/>
              <a:gd name="connsiteY12" fmla="*/ 132143 h 2122526"/>
              <a:gd name="connsiteX13" fmla="*/ 7018495 w 12192002"/>
              <a:gd name="connsiteY13" fmla="*/ 161649 h 2122526"/>
              <a:gd name="connsiteX14" fmla="*/ 7096987 w 12192002"/>
              <a:gd name="connsiteY14" fmla="*/ 161275 h 2122526"/>
              <a:gd name="connsiteX15" fmla="*/ 7170807 w 12192002"/>
              <a:gd name="connsiteY15" fmla="*/ 173503 h 2122526"/>
              <a:gd name="connsiteX16" fmla="*/ 7197003 w 12192002"/>
              <a:gd name="connsiteY16" fmla="*/ 178151 h 2122526"/>
              <a:gd name="connsiteX17" fmla="*/ 7201101 w 12192002"/>
              <a:gd name="connsiteY17" fmla="*/ 183509 h 2122526"/>
              <a:gd name="connsiteX18" fmla="*/ 7218559 w 12192002"/>
              <a:gd name="connsiteY18" fmla="*/ 188059 h 2122526"/>
              <a:gd name="connsiteX19" fmla="*/ 7310852 w 12192002"/>
              <a:gd name="connsiteY19" fmla="*/ 213308 h 2122526"/>
              <a:gd name="connsiteX20" fmla="*/ 7312179 w 12192002"/>
              <a:gd name="connsiteY20" fmla="*/ 211866 h 2122526"/>
              <a:gd name="connsiteX21" fmla="*/ 7405390 w 12192002"/>
              <a:gd name="connsiteY21" fmla="*/ 202271 h 2122526"/>
              <a:gd name="connsiteX22" fmla="*/ 7495794 w 12192002"/>
              <a:gd name="connsiteY22" fmla="*/ 194166 h 2122526"/>
              <a:gd name="connsiteX23" fmla="*/ 7507039 w 12192002"/>
              <a:gd name="connsiteY23" fmla="*/ 196118 h 2122526"/>
              <a:gd name="connsiteX24" fmla="*/ 7507411 w 12192002"/>
              <a:gd name="connsiteY24" fmla="*/ 195791 h 2122526"/>
              <a:gd name="connsiteX25" fmla="*/ 7519570 w 12192002"/>
              <a:gd name="connsiteY25" fmla="*/ 197126 h 2122526"/>
              <a:gd name="connsiteX26" fmla="*/ 7527542 w 12192002"/>
              <a:gd name="connsiteY26" fmla="*/ 199679 h 2122526"/>
              <a:gd name="connsiteX27" fmla="*/ 7614346 w 12192002"/>
              <a:gd name="connsiteY27" fmla="*/ 205507 h 2122526"/>
              <a:gd name="connsiteX28" fmla="*/ 7718744 w 12192002"/>
              <a:gd name="connsiteY28" fmla="*/ 202036 h 2122526"/>
              <a:gd name="connsiteX29" fmla="*/ 7905407 w 12192002"/>
              <a:gd name="connsiteY29" fmla="*/ 227751 h 2122526"/>
              <a:gd name="connsiteX30" fmla="*/ 8090271 w 12192002"/>
              <a:gd name="connsiteY30" fmla="*/ 269724 h 2122526"/>
              <a:gd name="connsiteX31" fmla="*/ 8245834 w 12192002"/>
              <a:gd name="connsiteY31" fmla="*/ 315885 h 2122526"/>
              <a:gd name="connsiteX32" fmla="*/ 8252033 w 12192002"/>
              <a:gd name="connsiteY32" fmla="*/ 328877 h 2122526"/>
              <a:gd name="connsiteX33" fmla="*/ 8263376 w 12192002"/>
              <a:gd name="connsiteY33" fmla="*/ 338720 h 2122526"/>
              <a:gd name="connsiteX34" fmla="*/ 8266075 w 12192002"/>
              <a:gd name="connsiteY34" fmla="*/ 338490 h 2122526"/>
              <a:gd name="connsiteX35" fmla="*/ 8283149 w 12192002"/>
              <a:gd name="connsiteY35" fmla="*/ 345665 h 2122526"/>
              <a:gd name="connsiteX36" fmla="*/ 8284276 w 12192002"/>
              <a:gd name="connsiteY36" fmla="*/ 350108 h 2122526"/>
              <a:gd name="connsiteX37" fmla="*/ 8295173 w 12192002"/>
              <a:gd name="connsiteY37" fmla="*/ 355931 h 2122526"/>
              <a:gd name="connsiteX38" fmla="*/ 8314432 w 12192002"/>
              <a:gd name="connsiteY38" fmla="*/ 369826 h 2122526"/>
              <a:gd name="connsiteX39" fmla="*/ 8320104 w 12192002"/>
              <a:gd name="connsiteY39" fmla="*/ 370152 h 2122526"/>
              <a:gd name="connsiteX40" fmla="*/ 8352372 w 12192002"/>
              <a:gd name="connsiteY40" fmla="*/ 387570 h 2122526"/>
              <a:gd name="connsiteX41" fmla="*/ 8353799 w 12192002"/>
              <a:gd name="connsiteY41" fmla="*/ 386730 h 2122526"/>
              <a:gd name="connsiteX42" fmla="*/ 8367182 w 12192002"/>
              <a:gd name="connsiteY42" fmla="*/ 386924 h 2122526"/>
              <a:gd name="connsiteX43" fmla="*/ 8490249 w 12192002"/>
              <a:gd name="connsiteY43" fmla="*/ 400966 h 2122526"/>
              <a:gd name="connsiteX44" fmla="*/ 8497594 w 12192002"/>
              <a:gd name="connsiteY44" fmla="*/ 404016 h 2122526"/>
              <a:gd name="connsiteX45" fmla="*/ 8497968 w 12192002"/>
              <a:gd name="connsiteY45" fmla="*/ 403837 h 2122526"/>
              <a:gd name="connsiteX46" fmla="*/ 8506167 w 12192002"/>
              <a:gd name="connsiteY46" fmla="*/ 406575 h 2122526"/>
              <a:gd name="connsiteX47" fmla="*/ 8510983 w 12192002"/>
              <a:gd name="connsiteY47" fmla="*/ 409576 h 2122526"/>
              <a:gd name="connsiteX48" fmla="*/ 8525230 w 12192002"/>
              <a:gd name="connsiteY48" fmla="*/ 415491 h 2122526"/>
              <a:gd name="connsiteX49" fmla="*/ 8596071 w 12192002"/>
              <a:gd name="connsiteY49" fmla="*/ 400649 h 2122526"/>
              <a:gd name="connsiteX50" fmla="*/ 8707847 w 12192002"/>
              <a:gd name="connsiteY50" fmla="*/ 409221 h 2122526"/>
              <a:gd name="connsiteX51" fmla="*/ 8752444 w 12192002"/>
              <a:gd name="connsiteY51" fmla="*/ 411322 h 2122526"/>
              <a:gd name="connsiteX52" fmla="*/ 8928988 w 12192002"/>
              <a:gd name="connsiteY52" fmla="*/ 430554 h 2122526"/>
              <a:gd name="connsiteX53" fmla="*/ 8963048 w 12192002"/>
              <a:gd name="connsiteY53" fmla="*/ 427366 h 2122526"/>
              <a:gd name="connsiteX54" fmla="*/ 8968011 w 12192002"/>
              <a:gd name="connsiteY54" fmla="*/ 425141 h 2122526"/>
              <a:gd name="connsiteX55" fmla="*/ 8974337 w 12192002"/>
              <a:gd name="connsiteY55" fmla="*/ 424441 h 2122526"/>
              <a:gd name="connsiteX56" fmla="*/ 8990394 w 12192002"/>
              <a:gd name="connsiteY56" fmla="*/ 427667 h 2122526"/>
              <a:gd name="connsiteX57" fmla="*/ 8996232 w 12192002"/>
              <a:gd name="connsiteY57" fmla="*/ 429728 h 2122526"/>
              <a:gd name="connsiteX58" fmla="*/ 9005201 w 12192002"/>
              <a:gd name="connsiteY58" fmla="*/ 430939 h 2122526"/>
              <a:gd name="connsiteX59" fmla="*/ 9005486 w 12192002"/>
              <a:gd name="connsiteY59" fmla="*/ 430699 h 2122526"/>
              <a:gd name="connsiteX60" fmla="*/ 9053453 w 12192002"/>
              <a:gd name="connsiteY60" fmla="*/ 433984 h 2122526"/>
              <a:gd name="connsiteX61" fmla="*/ 9113812 w 12192002"/>
              <a:gd name="connsiteY61" fmla="*/ 425670 h 2122526"/>
              <a:gd name="connsiteX62" fmla="*/ 9137318 w 12192002"/>
              <a:gd name="connsiteY62" fmla="*/ 424304 h 2122526"/>
              <a:gd name="connsiteX63" fmla="*/ 9150210 w 12192002"/>
              <a:gd name="connsiteY63" fmla="*/ 422135 h 2122526"/>
              <a:gd name="connsiteX64" fmla="*/ 9151232 w 12192002"/>
              <a:gd name="connsiteY64" fmla="*/ 421070 h 2122526"/>
              <a:gd name="connsiteX65" fmla="*/ 9189246 w 12192002"/>
              <a:gd name="connsiteY65" fmla="*/ 432272 h 2122526"/>
              <a:gd name="connsiteX66" fmla="*/ 9194810 w 12192002"/>
              <a:gd name="connsiteY66" fmla="*/ 441511 h 2122526"/>
              <a:gd name="connsiteX67" fmla="*/ 9231370 w 12192002"/>
              <a:gd name="connsiteY67" fmla="*/ 451590 h 2122526"/>
              <a:gd name="connsiteX68" fmla="*/ 9343052 w 12192002"/>
              <a:gd name="connsiteY68" fmla="*/ 503495 h 2122526"/>
              <a:gd name="connsiteX69" fmla="*/ 9584507 w 12192002"/>
              <a:gd name="connsiteY69" fmla="*/ 549197 h 2122526"/>
              <a:gd name="connsiteX70" fmla="*/ 9728309 w 12192002"/>
              <a:gd name="connsiteY70" fmla="*/ 560617 h 2122526"/>
              <a:gd name="connsiteX71" fmla="*/ 9847792 w 12192002"/>
              <a:gd name="connsiteY71" fmla="*/ 580824 h 2122526"/>
              <a:gd name="connsiteX72" fmla="*/ 9960019 w 12192002"/>
              <a:gd name="connsiteY72" fmla="*/ 587592 h 2122526"/>
              <a:gd name="connsiteX73" fmla="*/ 10039240 w 12192002"/>
              <a:gd name="connsiteY73" fmla="*/ 603107 h 2122526"/>
              <a:gd name="connsiteX74" fmla="*/ 10082169 w 12192002"/>
              <a:gd name="connsiteY74" fmla="*/ 601443 h 2122526"/>
              <a:gd name="connsiteX75" fmla="*/ 10126500 w 12192002"/>
              <a:gd name="connsiteY75" fmla="*/ 603538 h 2122526"/>
              <a:gd name="connsiteX76" fmla="*/ 10261101 w 12192002"/>
              <a:gd name="connsiteY76" fmla="*/ 615053 h 2122526"/>
              <a:gd name="connsiteX77" fmla="*/ 10336855 w 12192002"/>
              <a:gd name="connsiteY77" fmla="*/ 624804 h 2122526"/>
              <a:gd name="connsiteX78" fmla="*/ 10383868 w 12192002"/>
              <a:gd name="connsiteY78" fmla="*/ 625415 h 2122526"/>
              <a:gd name="connsiteX79" fmla="*/ 10445984 w 12192002"/>
              <a:gd name="connsiteY79" fmla="*/ 629262 h 2122526"/>
              <a:gd name="connsiteX80" fmla="*/ 10519280 w 12192002"/>
              <a:gd name="connsiteY80" fmla="*/ 631320 h 2122526"/>
              <a:gd name="connsiteX81" fmla="*/ 10644619 w 12192002"/>
              <a:gd name="connsiteY81" fmla="*/ 651566 h 2122526"/>
              <a:gd name="connsiteX82" fmla="*/ 10857724 w 12192002"/>
              <a:gd name="connsiteY82" fmla="*/ 712684 h 2122526"/>
              <a:gd name="connsiteX83" fmla="*/ 10951063 w 12192002"/>
              <a:gd name="connsiteY83" fmla="*/ 725767 h 2122526"/>
              <a:gd name="connsiteX84" fmla="*/ 11030956 w 12192002"/>
              <a:gd name="connsiteY84" fmla="*/ 721011 h 2122526"/>
              <a:gd name="connsiteX85" fmla="*/ 11085938 w 12192002"/>
              <a:gd name="connsiteY85" fmla="*/ 723892 h 2122526"/>
              <a:gd name="connsiteX86" fmla="*/ 11143411 w 12192002"/>
              <a:gd name="connsiteY86" fmla="*/ 733141 h 2122526"/>
              <a:gd name="connsiteX87" fmla="*/ 11195087 w 12192002"/>
              <a:gd name="connsiteY87" fmla="*/ 732494 h 2122526"/>
              <a:gd name="connsiteX88" fmla="*/ 11273972 w 12192002"/>
              <a:gd name="connsiteY88" fmla="*/ 729660 h 2122526"/>
              <a:gd name="connsiteX89" fmla="*/ 11369715 w 12192002"/>
              <a:gd name="connsiteY89" fmla="*/ 813181 h 2122526"/>
              <a:gd name="connsiteX90" fmla="*/ 11462695 w 12192002"/>
              <a:gd name="connsiteY90" fmla="*/ 874654 h 2122526"/>
              <a:gd name="connsiteX91" fmla="*/ 11564181 w 12192002"/>
              <a:gd name="connsiteY91" fmla="*/ 888450 h 2122526"/>
              <a:gd name="connsiteX92" fmla="*/ 11684760 w 12192002"/>
              <a:gd name="connsiteY92" fmla="*/ 929360 h 2122526"/>
              <a:gd name="connsiteX93" fmla="*/ 11744187 w 12192002"/>
              <a:gd name="connsiteY93" fmla="*/ 984253 h 2122526"/>
              <a:gd name="connsiteX94" fmla="*/ 11834979 w 12192002"/>
              <a:gd name="connsiteY94" fmla="*/ 1013094 h 2122526"/>
              <a:gd name="connsiteX95" fmla="*/ 11933790 w 12192002"/>
              <a:gd name="connsiteY95" fmla="*/ 990933 h 2122526"/>
              <a:gd name="connsiteX96" fmla="*/ 12084140 w 12192002"/>
              <a:gd name="connsiteY96" fmla="*/ 1007396 h 2122526"/>
              <a:gd name="connsiteX97" fmla="*/ 12140863 w 12192002"/>
              <a:gd name="connsiteY97" fmla="*/ 1035036 h 2122526"/>
              <a:gd name="connsiteX98" fmla="*/ 12192002 w 12192002"/>
              <a:gd name="connsiteY98" fmla="*/ 1015838 h 2122526"/>
              <a:gd name="connsiteX99" fmla="*/ 12192002 w 12192002"/>
              <a:gd name="connsiteY99" fmla="*/ 1955549 h 2122526"/>
              <a:gd name="connsiteX100" fmla="*/ 12192000 w 12192002"/>
              <a:gd name="connsiteY100" fmla="*/ 1955549 h 2122526"/>
              <a:gd name="connsiteX101" fmla="*/ 12192000 w 12192002"/>
              <a:gd name="connsiteY101" fmla="*/ 2122526 h 2122526"/>
              <a:gd name="connsiteX102" fmla="*/ 0 w 12192002"/>
              <a:gd name="connsiteY102" fmla="*/ 2122526 h 2122526"/>
              <a:gd name="connsiteX103" fmla="*/ 0 w 12192002"/>
              <a:gd name="connsiteY103" fmla="*/ 1348327 h 2122526"/>
              <a:gd name="connsiteX104" fmla="*/ 2 w 12192002"/>
              <a:gd name="connsiteY104" fmla="*/ 1348327 h 2122526"/>
              <a:gd name="connsiteX105" fmla="*/ 2 w 12192002"/>
              <a:gd name="connsiteY105" fmla="*/ 592017 h 2122526"/>
              <a:gd name="connsiteX106" fmla="*/ 15526 w 12192002"/>
              <a:gd name="connsiteY106" fmla="*/ 586548 h 2122526"/>
              <a:gd name="connsiteX107" fmla="*/ 118381 w 12192002"/>
              <a:gd name="connsiteY107" fmla="*/ 583692 h 2122526"/>
              <a:gd name="connsiteX108" fmla="*/ 292435 w 12192002"/>
              <a:gd name="connsiteY108" fmla="*/ 531887 h 2122526"/>
              <a:gd name="connsiteX109" fmla="*/ 404015 w 12192002"/>
              <a:gd name="connsiteY109" fmla="*/ 511191 h 2122526"/>
              <a:gd name="connsiteX110" fmla="*/ 445099 w 12192002"/>
              <a:gd name="connsiteY110" fmla="*/ 505368 h 2122526"/>
              <a:gd name="connsiteX111" fmla="*/ 571717 w 12192002"/>
              <a:gd name="connsiteY111" fmla="*/ 467338 h 2122526"/>
              <a:gd name="connsiteX112" fmla="*/ 578535 w 12192002"/>
              <a:gd name="connsiteY112" fmla="*/ 467527 h 2122526"/>
              <a:gd name="connsiteX113" fmla="*/ 596792 w 12192002"/>
              <a:gd name="connsiteY113" fmla="*/ 464875 h 2122526"/>
              <a:gd name="connsiteX114" fmla="*/ 708875 w 12192002"/>
              <a:gd name="connsiteY114" fmla="*/ 422017 h 2122526"/>
              <a:gd name="connsiteX115" fmla="*/ 719742 w 12192002"/>
              <a:gd name="connsiteY115" fmla="*/ 416340 h 2122526"/>
              <a:gd name="connsiteX116" fmla="*/ 720047 w 12192002"/>
              <a:gd name="connsiteY116" fmla="*/ 415078 h 2122526"/>
              <a:gd name="connsiteX117" fmla="*/ 763053 w 12192002"/>
              <a:gd name="connsiteY117" fmla="*/ 414307 h 2122526"/>
              <a:gd name="connsiteX118" fmla="*/ 767901 w 12192002"/>
              <a:gd name="connsiteY118" fmla="*/ 412086 h 2122526"/>
              <a:gd name="connsiteX119" fmla="*/ 797041 w 12192002"/>
              <a:gd name="connsiteY119" fmla="*/ 414293 h 2122526"/>
              <a:gd name="connsiteX120" fmla="*/ 811506 w 12192002"/>
              <a:gd name="connsiteY120" fmla="*/ 413988 h 2122526"/>
              <a:gd name="connsiteX121" fmla="*/ 816809 w 12192002"/>
              <a:gd name="connsiteY121" fmla="*/ 416882 h 2122526"/>
              <a:gd name="connsiteX122" fmla="*/ 837540 w 12192002"/>
              <a:gd name="connsiteY122" fmla="*/ 414918 h 2122526"/>
              <a:gd name="connsiteX123" fmla="*/ 858269 w 12192002"/>
              <a:gd name="connsiteY123" fmla="*/ 416131 h 2122526"/>
              <a:gd name="connsiteX124" fmla="*/ 948732 w 12192002"/>
              <a:gd name="connsiteY124" fmla="*/ 404293 h 2122526"/>
              <a:gd name="connsiteX125" fmla="*/ 1149979 w 12192002"/>
              <a:gd name="connsiteY125" fmla="*/ 406698 h 2122526"/>
              <a:gd name="connsiteX126" fmla="*/ 1496110 w 12192002"/>
              <a:gd name="connsiteY126" fmla="*/ 357263 h 2122526"/>
              <a:gd name="connsiteX127" fmla="*/ 1608669 w 12192002"/>
              <a:gd name="connsiteY127" fmla="*/ 331673 h 2122526"/>
              <a:gd name="connsiteX128" fmla="*/ 1675071 w 12192002"/>
              <a:gd name="connsiteY128" fmla="*/ 324776 h 2122526"/>
              <a:gd name="connsiteX129" fmla="*/ 1738204 w 12192002"/>
              <a:gd name="connsiteY129" fmla="*/ 308427 h 2122526"/>
              <a:gd name="connsiteX130" fmla="*/ 1786655 w 12192002"/>
              <a:gd name="connsiteY130" fmla="*/ 303376 h 2122526"/>
              <a:gd name="connsiteX131" fmla="*/ 1873080 w 12192002"/>
              <a:gd name="connsiteY131" fmla="*/ 330998 h 2122526"/>
              <a:gd name="connsiteX132" fmla="*/ 1921650 w 12192002"/>
              <a:gd name="connsiteY132" fmla="*/ 332593 h 2122526"/>
              <a:gd name="connsiteX133" fmla="*/ 1928172 w 12192002"/>
              <a:gd name="connsiteY133" fmla="*/ 327762 h 2122526"/>
              <a:gd name="connsiteX134" fmla="*/ 1997356 w 12192002"/>
              <a:gd name="connsiteY134" fmla="*/ 349707 h 2122526"/>
              <a:gd name="connsiteX135" fmla="*/ 2094665 w 12192002"/>
              <a:gd name="connsiteY135" fmla="*/ 341687 h 2122526"/>
              <a:gd name="connsiteX136" fmla="*/ 2208578 w 12192002"/>
              <a:gd name="connsiteY136" fmla="*/ 324976 h 2122526"/>
              <a:gd name="connsiteX137" fmla="*/ 2315112 w 12192002"/>
              <a:gd name="connsiteY137" fmla="*/ 319743 h 2122526"/>
              <a:gd name="connsiteX138" fmla="*/ 2443255 w 12192002"/>
              <a:gd name="connsiteY138" fmla="*/ 328210 h 2122526"/>
              <a:gd name="connsiteX139" fmla="*/ 2587906 w 12192002"/>
              <a:gd name="connsiteY139" fmla="*/ 322233 h 2122526"/>
              <a:gd name="connsiteX140" fmla="*/ 2646527 w 12192002"/>
              <a:gd name="connsiteY140" fmla="*/ 315870 h 2122526"/>
              <a:gd name="connsiteX141" fmla="*/ 2781569 w 12192002"/>
              <a:gd name="connsiteY141" fmla="*/ 326406 h 2122526"/>
              <a:gd name="connsiteX142" fmla="*/ 3030291 w 12192002"/>
              <a:gd name="connsiteY142" fmla="*/ 348227 h 2122526"/>
              <a:gd name="connsiteX143" fmla="*/ 3142556 w 12192002"/>
              <a:gd name="connsiteY143" fmla="*/ 350870 h 2122526"/>
              <a:gd name="connsiteX144" fmla="*/ 3262356 w 12192002"/>
              <a:gd name="connsiteY144" fmla="*/ 358645 h 2122526"/>
              <a:gd name="connsiteX145" fmla="*/ 3341698 w 12192002"/>
              <a:gd name="connsiteY145" fmla="*/ 364522 h 2122526"/>
              <a:gd name="connsiteX146" fmla="*/ 3344026 w 12192002"/>
              <a:gd name="connsiteY146" fmla="*/ 363547 h 2122526"/>
              <a:gd name="connsiteX147" fmla="*/ 3363888 w 12192002"/>
              <a:gd name="connsiteY147" fmla="*/ 365229 h 2122526"/>
              <a:gd name="connsiteX148" fmla="*/ 3400728 w 12192002"/>
              <a:gd name="connsiteY148" fmla="*/ 382181 h 2122526"/>
              <a:gd name="connsiteX149" fmla="*/ 3473223 w 12192002"/>
              <a:gd name="connsiteY149" fmla="*/ 370133 h 2122526"/>
              <a:gd name="connsiteX150" fmla="*/ 3536135 w 12192002"/>
              <a:gd name="connsiteY150" fmla="*/ 366472 h 2122526"/>
              <a:gd name="connsiteX151" fmla="*/ 3585978 w 12192002"/>
              <a:gd name="connsiteY151" fmla="*/ 356773 h 2122526"/>
              <a:gd name="connsiteX152" fmla="*/ 3594501 w 12192002"/>
              <a:gd name="connsiteY152" fmla="*/ 357463 h 2122526"/>
              <a:gd name="connsiteX153" fmla="*/ 3594736 w 12192002"/>
              <a:gd name="connsiteY153" fmla="*/ 357194 h 2122526"/>
              <a:gd name="connsiteX154" fmla="*/ 3603855 w 12192002"/>
              <a:gd name="connsiteY154" fmla="*/ 357358 h 2122526"/>
              <a:gd name="connsiteX155" fmla="*/ 3610035 w 12192002"/>
              <a:gd name="connsiteY155" fmla="*/ 358720 h 2122526"/>
              <a:gd name="connsiteX156" fmla="*/ 3682513 w 12192002"/>
              <a:gd name="connsiteY156" fmla="*/ 326449 h 2122526"/>
              <a:gd name="connsiteX157" fmla="*/ 3789760 w 12192002"/>
              <a:gd name="connsiteY157" fmla="*/ 302526 h 2122526"/>
              <a:gd name="connsiteX158" fmla="*/ 3897275 w 12192002"/>
              <a:gd name="connsiteY158" fmla="*/ 282288 h 2122526"/>
              <a:gd name="connsiteX159" fmla="*/ 3936846 w 12192002"/>
              <a:gd name="connsiteY159" fmla="*/ 276633 h 2122526"/>
              <a:gd name="connsiteX160" fmla="*/ 4004538 w 12192002"/>
              <a:gd name="connsiteY160" fmla="*/ 259176 h 2122526"/>
              <a:gd name="connsiteX161" fmla="*/ 4033778 w 12192002"/>
              <a:gd name="connsiteY161" fmla="*/ 246608 h 2122526"/>
              <a:gd name="connsiteX162" fmla="*/ 4035363 w 12192002"/>
              <a:gd name="connsiteY162" fmla="*/ 246843 h 2122526"/>
              <a:gd name="connsiteX163" fmla="*/ 4036996 w 12192002"/>
              <a:gd name="connsiteY163" fmla="*/ 243176 h 2122526"/>
              <a:gd name="connsiteX164" fmla="*/ 4042364 w 12192002"/>
              <a:gd name="connsiteY164" fmla="*/ 240742 h 2122526"/>
              <a:gd name="connsiteX165" fmla="*/ 4058954 w 12192002"/>
              <a:gd name="connsiteY165" fmla="*/ 239121 h 2122526"/>
              <a:gd name="connsiteX166" fmla="*/ 4065510 w 12192002"/>
              <a:gd name="connsiteY166" fmla="*/ 239339 h 2122526"/>
              <a:gd name="connsiteX167" fmla="*/ 4074427 w 12192002"/>
              <a:gd name="connsiteY167" fmla="*/ 237895 h 2122526"/>
              <a:gd name="connsiteX168" fmla="*/ 4074546 w 12192002"/>
              <a:gd name="connsiteY168" fmla="*/ 237596 h 2122526"/>
              <a:gd name="connsiteX169" fmla="*/ 4083097 w 12192002"/>
              <a:gd name="connsiteY169" fmla="*/ 236761 h 2122526"/>
              <a:gd name="connsiteX170" fmla="*/ 4142745 w 12192002"/>
              <a:gd name="connsiteY170" fmla="*/ 210228 h 2122526"/>
              <a:gd name="connsiteX171" fmla="*/ 4191248 w 12192002"/>
              <a:gd name="connsiteY171" fmla="*/ 194363 h 2122526"/>
              <a:gd name="connsiteX172" fmla="*/ 4201744 w 12192002"/>
              <a:gd name="connsiteY172" fmla="*/ 188729 h 2122526"/>
              <a:gd name="connsiteX173" fmla="*/ 4202048 w 12192002"/>
              <a:gd name="connsiteY173" fmla="*/ 187470 h 2122526"/>
              <a:gd name="connsiteX174" fmla="*/ 4248116 w 12192002"/>
              <a:gd name="connsiteY174" fmla="*/ 184675 h 2122526"/>
              <a:gd name="connsiteX175" fmla="*/ 4276141 w 12192002"/>
              <a:gd name="connsiteY175" fmla="*/ 186999 h 2122526"/>
              <a:gd name="connsiteX176" fmla="*/ 4290062 w 12192002"/>
              <a:gd name="connsiteY176" fmla="*/ 186753 h 2122526"/>
              <a:gd name="connsiteX177" fmla="*/ 4295143 w 12192002"/>
              <a:gd name="connsiteY177" fmla="*/ 189670 h 2122526"/>
              <a:gd name="connsiteX178" fmla="*/ 4315108 w 12192002"/>
              <a:gd name="connsiteY178" fmla="*/ 187791 h 2122526"/>
              <a:gd name="connsiteX179" fmla="*/ 4316965 w 12192002"/>
              <a:gd name="connsiteY179" fmla="*/ 186450 h 2122526"/>
              <a:gd name="connsiteX180" fmla="*/ 4335046 w 12192002"/>
              <a:gd name="connsiteY180" fmla="*/ 189089 h 2122526"/>
              <a:gd name="connsiteX181" fmla="*/ 4372883 w 12192002"/>
              <a:gd name="connsiteY181" fmla="*/ 199670 h 2122526"/>
              <a:gd name="connsiteX182" fmla="*/ 4515813 w 12192002"/>
              <a:gd name="connsiteY182" fmla="*/ 181068 h 2122526"/>
              <a:gd name="connsiteX183" fmla="*/ 4715526 w 12192002"/>
              <a:gd name="connsiteY183" fmla="*/ 171166 h 2122526"/>
              <a:gd name="connsiteX184" fmla="*/ 4762447 w 12192002"/>
              <a:gd name="connsiteY184" fmla="*/ 162678 h 2122526"/>
              <a:gd name="connsiteX185" fmla="*/ 4840439 w 12192002"/>
              <a:gd name="connsiteY185" fmla="*/ 134910 h 2122526"/>
              <a:gd name="connsiteX186" fmla="*/ 5011513 w 12192002"/>
              <a:gd name="connsiteY186" fmla="*/ 110893 h 2122526"/>
              <a:gd name="connsiteX187" fmla="*/ 5065790 w 12192002"/>
              <a:gd name="connsiteY187" fmla="*/ 94512 h 2122526"/>
              <a:gd name="connsiteX188" fmla="*/ 5121659 w 12192002"/>
              <a:gd name="connsiteY188" fmla="*/ 101083 h 2122526"/>
              <a:gd name="connsiteX189" fmla="*/ 5139595 w 12192002"/>
              <a:gd name="connsiteY189" fmla="*/ 90230 h 2122526"/>
              <a:gd name="connsiteX190" fmla="*/ 5142598 w 12192002"/>
              <a:gd name="connsiteY190" fmla="*/ 88129 h 2122526"/>
              <a:gd name="connsiteX191" fmla="*/ 5156554 w 12192002"/>
              <a:gd name="connsiteY191" fmla="*/ 84729 h 2122526"/>
              <a:gd name="connsiteX192" fmla="*/ 5174660 w 12192002"/>
              <a:gd name="connsiteY192" fmla="*/ 77506 h 2122526"/>
              <a:gd name="connsiteX193" fmla="*/ 5222961 w 12192002"/>
              <a:gd name="connsiteY193" fmla="*/ 74516 h 2122526"/>
              <a:gd name="connsiteX194" fmla="*/ 5261763 w 12192002"/>
              <a:gd name="connsiteY194" fmla="*/ 63392 h 2122526"/>
              <a:gd name="connsiteX195" fmla="*/ 5381667 w 12192002"/>
              <a:gd name="connsiteY195" fmla="*/ 42975 h 2122526"/>
              <a:gd name="connsiteX196" fmla="*/ 5432760 w 12192002"/>
              <a:gd name="connsiteY196" fmla="*/ 25273 h 2122526"/>
              <a:gd name="connsiteX197" fmla="*/ 5470905 w 12192002"/>
              <a:gd name="connsiteY197" fmla="*/ 14020 h 2122526"/>
              <a:gd name="connsiteX198" fmla="*/ 5626960 w 12192002"/>
              <a:gd name="connsiteY198" fmla="*/ 0 h 2122526"/>
              <a:gd name="connsiteX0" fmla="*/ 5626960 w 12192002"/>
              <a:gd name="connsiteY0" fmla="*/ 0 h 2122526"/>
              <a:gd name="connsiteX1" fmla="*/ 5758918 w 12192002"/>
              <a:gd name="connsiteY1" fmla="*/ 1023 h 2122526"/>
              <a:gd name="connsiteX2" fmla="*/ 5957375 w 12192002"/>
              <a:gd name="connsiteY2" fmla="*/ 16715 h 2122526"/>
              <a:gd name="connsiteX3" fmla="*/ 6010090 w 12192002"/>
              <a:gd name="connsiteY3" fmla="*/ 20359 h 2122526"/>
              <a:gd name="connsiteX4" fmla="*/ 6041282 w 12192002"/>
              <a:gd name="connsiteY4" fmla="*/ 15266 h 2122526"/>
              <a:gd name="connsiteX5" fmla="*/ 6048637 w 12192002"/>
              <a:gd name="connsiteY5" fmla="*/ 6917 h 2122526"/>
              <a:gd name="connsiteX6" fmla="*/ 6068529 w 12192002"/>
              <a:gd name="connsiteY6" fmla="*/ 7600 h 2122526"/>
              <a:gd name="connsiteX7" fmla="*/ 6073847 w 12192002"/>
              <a:gd name="connsiteY7" fmla="*/ 6063 h 2122526"/>
              <a:gd name="connsiteX8" fmla="*/ 6168673 w 12192002"/>
              <a:gd name="connsiteY8" fmla="*/ 26525 h 2122526"/>
              <a:gd name="connsiteX9" fmla="*/ 6317559 w 12192002"/>
              <a:gd name="connsiteY9" fmla="*/ 28612 h 2122526"/>
              <a:gd name="connsiteX10" fmla="*/ 6549454 w 12192002"/>
              <a:gd name="connsiteY10" fmla="*/ 75412 h 2122526"/>
              <a:gd name="connsiteX11" fmla="*/ 6708221 w 12192002"/>
              <a:gd name="connsiteY11" fmla="*/ 104188 h 2122526"/>
              <a:gd name="connsiteX12" fmla="*/ 6904145 w 12192002"/>
              <a:gd name="connsiteY12" fmla="*/ 132143 h 2122526"/>
              <a:gd name="connsiteX13" fmla="*/ 7018495 w 12192002"/>
              <a:gd name="connsiteY13" fmla="*/ 161649 h 2122526"/>
              <a:gd name="connsiteX14" fmla="*/ 7096987 w 12192002"/>
              <a:gd name="connsiteY14" fmla="*/ 161275 h 2122526"/>
              <a:gd name="connsiteX15" fmla="*/ 7170807 w 12192002"/>
              <a:gd name="connsiteY15" fmla="*/ 173503 h 2122526"/>
              <a:gd name="connsiteX16" fmla="*/ 7197003 w 12192002"/>
              <a:gd name="connsiteY16" fmla="*/ 178151 h 2122526"/>
              <a:gd name="connsiteX17" fmla="*/ 7201101 w 12192002"/>
              <a:gd name="connsiteY17" fmla="*/ 183509 h 2122526"/>
              <a:gd name="connsiteX18" fmla="*/ 7218559 w 12192002"/>
              <a:gd name="connsiteY18" fmla="*/ 188059 h 2122526"/>
              <a:gd name="connsiteX19" fmla="*/ 7310852 w 12192002"/>
              <a:gd name="connsiteY19" fmla="*/ 213308 h 2122526"/>
              <a:gd name="connsiteX20" fmla="*/ 7312179 w 12192002"/>
              <a:gd name="connsiteY20" fmla="*/ 211866 h 2122526"/>
              <a:gd name="connsiteX21" fmla="*/ 7405390 w 12192002"/>
              <a:gd name="connsiteY21" fmla="*/ 202271 h 2122526"/>
              <a:gd name="connsiteX22" fmla="*/ 7495794 w 12192002"/>
              <a:gd name="connsiteY22" fmla="*/ 194166 h 2122526"/>
              <a:gd name="connsiteX23" fmla="*/ 7507039 w 12192002"/>
              <a:gd name="connsiteY23" fmla="*/ 196118 h 2122526"/>
              <a:gd name="connsiteX24" fmla="*/ 7507411 w 12192002"/>
              <a:gd name="connsiteY24" fmla="*/ 195791 h 2122526"/>
              <a:gd name="connsiteX25" fmla="*/ 7519570 w 12192002"/>
              <a:gd name="connsiteY25" fmla="*/ 197126 h 2122526"/>
              <a:gd name="connsiteX26" fmla="*/ 7527542 w 12192002"/>
              <a:gd name="connsiteY26" fmla="*/ 199679 h 2122526"/>
              <a:gd name="connsiteX27" fmla="*/ 7614346 w 12192002"/>
              <a:gd name="connsiteY27" fmla="*/ 205507 h 2122526"/>
              <a:gd name="connsiteX28" fmla="*/ 7718744 w 12192002"/>
              <a:gd name="connsiteY28" fmla="*/ 202036 h 2122526"/>
              <a:gd name="connsiteX29" fmla="*/ 7905407 w 12192002"/>
              <a:gd name="connsiteY29" fmla="*/ 227751 h 2122526"/>
              <a:gd name="connsiteX30" fmla="*/ 8090271 w 12192002"/>
              <a:gd name="connsiteY30" fmla="*/ 269724 h 2122526"/>
              <a:gd name="connsiteX31" fmla="*/ 8245834 w 12192002"/>
              <a:gd name="connsiteY31" fmla="*/ 315885 h 2122526"/>
              <a:gd name="connsiteX32" fmla="*/ 8252033 w 12192002"/>
              <a:gd name="connsiteY32" fmla="*/ 328877 h 2122526"/>
              <a:gd name="connsiteX33" fmla="*/ 8263376 w 12192002"/>
              <a:gd name="connsiteY33" fmla="*/ 338720 h 2122526"/>
              <a:gd name="connsiteX34" fmla="*/ 8266075 w 12192002"/>
              <a:gd name="connsiteY34" fmla="*/ 338490 h 2122526"/>
              <a:gd name="connsiteX35" fmla="*/ 8283149 w 12192002"/>
              <a:gd name="connsiteY35" fmla="*/ 345665 h 2122526"/>
              <a:gd name="connsiteX36" fmla="*/ 8284276 w 12192002"/>
              <a:gd name="connsiteY36" fmla="*/ 350108 h 2122526"/>
              <a:gd name="connsiteX37" fmla="*/ 8295173 w 12192002"/>
              <a:gd name="connsiteY37" fmla="*/ 355931 h 2122526"/>
              <a:gd name="connsiteX38" fmla="*/ 8314432 w 12192002"/>
              <a:gd name="connsiteY38" fmla="*/ 369826 h 2122526"/>
              <a:gd name="connsiteX39" fmla="*/ 8320104 w 12192002"/>
              <a:gd name="connsiteY39" fmla="*/ 370152 h 2122526"/>
              <a:gd name="connsiteX40" fmla="*/ 8352372 w 12192002"/>
              <a:gd name="connsiteY40" fmla="*/ 387570 h 2122526"/>
              <a:gd name="connsiteX41" fmla="*/ 8353799 w 12192002"/>
              <a:gd name="connsiteY41" fmla="*/ 386730 h 2122526"/>
              <a:gd name="connsiteX42" fmla="*/ 8367182 w 12192002"/>
              <a:gd name="connsiteY42" fmla="*/ 386924 h 2122526"/>
              <a:gd name="connsiteX43" fmla="*/ 8490249 w 12192002"/>
              <a:gd name="connsiteY43" fmla="*/ 400966 h 2122526"/>
              <a:gd name="connsiteX44" fmla="*/ 8497594 w 12192002"/>
              <a:gd name="connsiteY44" fmla="*/ 404016 h 2122526"/>
              <a:gd name="connsiteX45" fmla="*/ 8497968 w 12192002"/>
              <a:gd name="connsiteY45" fmla="*/ 403837 h 2122526"/>
              <a:gd name="connsiteX46" fmla="*/ 8506167 w 12192002"/>
              <a:gd name="connsiteY46" fmla="*/ 406575 h 2122526"/>
              <a:gd name="connsiteX47" fmla="*/ 8510983 w 12192002"/>
              <a:gd name="connsiteY47" fmla="*/ 409576 h 2122526"/>
              <a:gd name="connsiteX48" fmla="*/ 8525230 w 12192002"/>
              <a:gd name="connsiteY48" fmla="*/ 415491 h 2122526"/>
              <a:gd name="connsiteX49" fmla="*/ 8596071 w 12192002"/>
              <a:gd name="connsiteY49" fmla="*/ 400649 h 2122526"/>
              <a:gd name="connsiteX50" fmla="*/ 8707847 w 12192002"/>
              <a:gd name="connsiteY50" fmla="*/ 409221 h 2122526"/>
              <a:gd name="connsiteX51" fmla="*/ 8752444 w 12192002"/>
              <a:gd name="connsiteY51" fmla="*/ 411322 h 2122526"/>
              <a:gd name="connsiteX52" fmla="*/ 8928988 w 12192002"/>
              <a:gd name="connsiteY52" fmla="*/ 430554 h 2122526"/>
              <a:gd name="connsiteX53" fmla="*/ 8963048 w 12192002"/>
              <a:gd name="connsiteY53" fmla="*/ 427366 h 2122526"/>
              <a:gd name="connsiteX54" fmla="*/ 8968011 w 12192002"/>
              <a:gd name="connsiteY54" fmla="*/ 425141 h 2122526"/>
              <a:gd name="connsiteX55" fmla="*/ 8974337 w 12192002"/>
              <a:gd name="connsiteY55" fmla="*/ 424441 h 2122526"/>
              <a:gd name="connsiteX56" fmla="*/ 8990394 w 12192002"/>
              <a:gd name="connsiteY56" fmla="*/ 427667 h 2122526"/>
              <a:gd name="connsiteX57" fmla="*/ 8996232 w 12192002"/>
              <a:gd name="connsiteY57" fmla="*/ 429728 h 2122526"/>
              <a:gd name="connsiteX58" fmla="*/ 9005201 w 12192002"/>
              <a:gd name="connsiteY58" fmla="*/ 430939 h 2122526"/>
              <a:gd name="connsiteX59" fmla="*/ 9005486 w 12192002"/>
              <a:gd name="connsiteY59" fmla="*/ 430699 h 2122526"/>
              <a:gd name="connsiteX60" fmla="*/ 9053453 w 12192002"/>
              <a:gd name="connsiteY60" fmla="*/ 433984 h 2122526"/>
              <a:gd name="connsiteX61" fmla="*/ 9113812 w 12192002"/>
              <a:gd name="connsiteY61" fmla="*/ 425670 h 2122526"/>
              <a:gd name="connsiteX62" fmla="*/ 9137318 w 12192002"/>
              <a:gd name="connsiteY62" fmla="*/ 424304 h 2122526"/>
              <a:gd name="connsiteX63" fmla="*/ 9150210 w 12192002"/>
              <a:gd name="connsiteY63" fmla="*/ 422135 h 2122526"/>
              <a:gd name="connsiteX64" fmla="*/ 9151232 w 12192002"/>
              <a:gd name="connsiteY64" fmla="*/ 421070 h 2122526"/>
              <a:gd name="connsiteX65" fmla="*/ 9189246 w 12192002"/>
              <a:gd name="connsiteY65" fmla="*/ 432272 h 2122526"/>
              <a:gd name="connsiteX66" fmla="*/ 9194810 w 12192002"/>
              <a:gd name="connsiteY66" fmla="*/ 441511 h 2122526"/>
              <a:gd name="connsiteX67" fmla="*/ 9231370 w 12192002"/>
              <a:gd name="connsiteY67" fmla="*/ 451590 h 2122526"/>
              <a:gd name="connsiteX68" fmla="*/ 9343052 w 12192002"/>
              <a:gd name="connsiteY68" fmla="*/ 503495 h 2122526"/>
              <a:gd name="connsiteX69" fmla="*/ 9584507 w 12192002"/>
              <a:gd name="connsiteY69" fmla="*/ 549197 h 2122526"/>
              <a:gd name="connsiteX70" fmla="*/ 9728309 w 12192002"/>
              <a:gd name="connsiteY70" fmla="*/ 560617 h 2122526"/>
              <a:gd name="connsiteX71" fmla="*/ 9847792 w 12192002"/>
              <a:gd name="connsiteY71" fmla="*/ 580824 h 2122526"/>
              <a:gd name="connsiteX72" fmla="*/ 9960019 w 12192002"/>
              <a:gd name="connsiteY72" fmla="*/ 587592 h 2122526"/>
              <a:gd name="connsiteX73" fmla="*/ 10039240 w 12192002"/>
              <a:gd name="connsiteY73" fmla="*/ 603107 h 2122526"/>
              <a:gd name="connsiteX74" fmla="*/ 10082169 w 12192002"/>
              <a:gd name="connsiteY74" fmla="*/ 601443 h 2122526"/>
              <a:gd name="connsiteX75" fmla="*/ 10126500 w 12192002"/>
              <a:gd name="connsiteY75" fmla="*/ 603538 h 2122526"/>
              <a:gd name="connsiteX76" fmla="*/ 10261101 w 12192002"/>
              <a:gd name="connsiteY76" fmla="*/ 615053 h 2122526"/>
              <a:gd name="connsiteX77" fmla="*/ 10336855 w 12192002"/>
              <a:gd name="connsiteY77" fmla="*/ 624804 h 2122526"/>
              <a:gd name="connsiteX78" fmla="*/ 10383868 w 12192002"/>
              <a:gd name="connsiteY78" fmla="*/ 625415 h 2122526"/>
              <a:gd name="connsiteX79" fmla="*/ 10445984 w 12192002"/>
              <a:gd name="connsiteY79" fmla="*/ 629262 h 2122526"/>
              <a:gd name="connsiteX80" fmla="*/ 10519280 w 12192002"/>
              <a:gd name="connsiteY80" fmla="*/ 631320 h 2122526"/>
              <a:gd name="connsiteX81" fmla="*/ 10644619 w 12192002"/>
              <a:gd name="connsiteY81" fmla="*/ 651566 h 2122526"/>
              <a:gd name="connsiteX82" fmla="*/ 10857724 w 12192002"/>
              <a:gd name="connsiteY82" fmla="*/ 712684 h 2122526"/>
              <a:gd name="connsiteX83" fmla="*/ 10951063 w 12192002"/>
              <a:gd name="connsiteY83" fmla="*/ 725767 h 2122526"/>
              <a:gd name="connsiteX84" fmla="*/ 11030956 w 12192002"/>
              <a:gd name="connsiteY84" fmla="*/ 721011 h 2122526"/>
              <a:gd name="connsiteX85" fmla="*/ 11085938 w 12192002"/>
              <a:gd name="connsiteY85" fmla="*/ 723892 h 2122526"/>
              <a:gd name="connsiteX86" fmla="*/ 11143411 w 12192002"/>
              <a:gd name="connsiteY86" fmla="*/ 733141 h 2122526"/>
              <a:gd name="connsiteX87" fmla="*/ 11195087 w 12192002"/>
              <a:gd name="connsiteY87" fmla="*/ 732494 h 2122526"/>
              <a:gd name="connsiteX88" fmla="*/ 11273972 w 12192002"/>
              <a:gd name="connsiteY88" fmla="*/ 729660 h 2122526"/>
              <a:gd name="connsiteX89" fmla="*/ 11369715 w 12192002"/>
              <a:gd name="connsiteY89" fmla="*/ 813181 h 2122526"/>
              <a:gd name="connsiteX90" fmla="*/ 11462695 w 12192002"/>
              <a:gd name="connsiteY90" fmla="*/ 874654 h 2122526"/>
              <a:gd name="connsiteX91" fmla="*/ 11564181 w 12192002"/>
              <a:gd name="connsiteY91" fmla="*/ 888450 h 2122526"/>
              <a:gd name="connsiteX92" fmla="*/ 11684760 w 12192002"/>
              <a:gd name="connsiteY92" fmla="*/ 929360 h 2122526"/>
              <a:gd name="connsiteX93" fmla="*/ 11744187 w 12192002"/>
              <a:gd name="connsiteY93" fmla="*/ 984253 h 2122526"/>
              <a:gd name="connsiteX94" fmla="*/ 11834979 w 12192002"/>
              <a:gd name="connsiteY94" fmla="*/ 1013094 h 2122526"/>
              <a:gd name="connsiteX95" fmla="*/ 11933790 w 12192002"/>
              <a:gd name="connsiteY95" fmla="*/ 990933 h 2122526"/>
              <a:gd name="connsiteX96" fmla="*/ 12084140 w 12192002"/>
              <a:gd name="connsiteY96" fmla="*/ 1007396 h 2122526"/>
              <a:gd name="connsiteX97" fmla="*/ 12140863 w 12192002"/>
              <a:gd name="connsiteY97" fmla="*/ 1035036 h 2122526"/>
              <a:gd name="connsiteX98" fmla="*/ 12192002 w 12192002"/>
              <a:gd name="connsiteY98" fmla="*/ 1015838 h 2122526"/>
              <a:gd name="connsiteX99" fmla="*/ 12192002 w 12192002"/>
              <a:gd name="connsiteY99" fmla="*/ 1955549 h 2122526"/>
              <a:gd name="connsiteX100" fmla="*/ 12192000 w 12192002"/>
              <a:gd name="connsiteY100" fmla="*/ 1955549 h 2122526"/>
              <a:gd name="connsiteX101" fmla="*/ 12192000 w 12192002"/>
              <a:gd name="connsiteY101" fmla="*/ 2122526 h 2122526"/>
              <a:gd name="connsiteX102" fmla="*/ 0 w 12192002"/>
              <a:gd name="connsiteY102" fmla="*/ 2122526 h 2122526"/>
              <a:gd name="connsiteX103" fmla="*/ 0 w 12192002"/>
              <a:gd name="connsiteY103" fmla="*/ 1348327 h 2122526"/>
              <a:gd name="connsiteX104" fmla="*/ 2 w 12192002"/>
              <a:gd name="connsiteY104" fmla="*/ 1348327 h 2122526"/>
              <a:gd name="connsiteX105" fmla="*/ 2 w 12192002"/>
              <a:gd name="connsiteY105" fmla="*/ 592017 h 2122526"/>
              <a:gd name="connsiteX106" fmla="*/ 15526 w 12192002"/>
              <a:gd name="connsiteY106" fmla="*/ 586548 h 2122526"/>
              <a:gd name="connsiteX107" fmla="*/ 118381 w 12192002"/>
              <a:gd name="connsiteY107" fmla="*/ 583692 h 2122526"/>
              <a:gd name="connsiteX108" fmla="*/ 292435 w 12192002"/>
              <a:gd name="connsiteY108" fmla="*/ 531887 h 2122526"/>
              <a:gd name="connsiteX109" fmla="*/ 404015 w 12192002"/>
              <a:gd name="connsiteY109" fmla="*/ 511191 h 2122526"/>
              <a:gd name="connsiteX110" fmla="*/ 445099 w 12192002"/>
              <a:gd name="connsiteY110" fmla="*/ 505368 h 2122526"/>
              <a:gd name="connsiteX111" fmla="*/ 571717 w 12192002"/>
              <a:gd name="connsiteY111" fmla="*/ 467338 h 2122526"/>
              <a:gd name="connsiteX112" fmla="*/ 578535 w 12192002"/>
              <a:gd name="connsiteY112" fmla="*/ 467527 h 2122526"/>
              <a:gd name="connsiteX113" fmla="*/ 596792 w 12192002"/>
              <a:gd name="connsiteY113" fmla="*/ 464875 h 2122526"/>
              <a:gd name="connsiteX114" fmla="*/ 708875 w 12192002"/>
              <a:gd name="connsiteY114" fmla="*/ 422017 h 2122526"/>
              <a:gd name="connsiteX115" fmla="*/ 719742 w 12192002"/>
              <a:gd name="connsiteY115" fmla="*/ 416340 h 2122526"/>
              <a:gd name="connsiteX116" fmla="*/ 720047 w 12192002"/>
              <a:gd name="connsiteY116" fmla="*/ 415078 h 2122526"/>
              <a:gd name="connsiteX117" fmla="*/ 763053 w 12192002"/>
              <a:gd name="connsiteY117" fmla="*/ 414307 h 2122526"/>
              <a:gd name="connsiteX118" fmla="*/ 767901 w 12192002"/>
              <a:gd name="connsiteY118" fmla="*/ 412086 h 2122526"/>
              <a:gd name="connsiteX119" fmla="*/ 797041 w 12192002"/>
              <a:gd name="connsiteY119" fmla="*/ 414293 h 2122526"/>
              <a:gd name="connsiteX120" fmla="*/ 811506 w 12192002"/>
              <a:gd name="connsiteY120" fmla="*/ 413988 h 2122526"/>
              <a:gd name="connsiteX121" fmla="*/ 816809 w 12192002"/>
              <a:gd name="connsiteY121" fmla="*/ 416882 h 2122526"/>
              <a:gd name="connsiteX122" fmla="*/ 837540 w 12192002"/>
              <a:gd name="connsiteY122" fmla="*/ 414918 h 2122526"/>
              <a:gd name="connsiteX123" fmla="*/ 858269 w 12192002"/>
              <a:gd name="connsiteY123" fmla="*/ 416131 h 2122526"/>
              <a:gd name="connsiteX124" fmla="*/ 948732 w 12192002"/>
              <a:gd name="connsiteY124" fmla="*/ 404293 h 2122526"/>
              <a:gd name="connsiteX125" fmla="*/ 1149979 w 12192002"/>
              <a:gd name="connsiteY125" fmla="*/ 406698 h 2122526"/>
              <a:gd name="connsiteX126" fmla="*/ 1496110 w 12192002"/>
              <a:gd name="connsiteY126" fmla="*/ 357263 h 2122526"/>
              <a:gd name="connsiteX127" fmla="*/ 1608669 w 12192002"/>
              <a:gd name="connsiteY127" fmla="*/ 331673 h 2122526"/>
              <a:gd name="connsiteX128" fmla="*/ 1675071 w 12192002"/>
              <a:gd name="connsiteY128" fmla="*/ 324776 h 2122526"/>
              <a:gd name="connsiteX129" fmla="*/ 1738204 w 12192002"/>
              <a:gd name="connsiteY129" fmla="*/ 308427 h 2122526"/>
              <a:gd name="connsiteX130" fmla="*/ 1786655 w 12192002"/>
              <a:gd name="connsiteY130" fmla="*/ 303376 h 2122526"/>
              <a:gd name="connsiteX131" fmla="*/ 1873080 w 12192002"/>
              <a:gd name="connsiteY131" fmla="*/ 330998 h 2122526"/>
              <a:gd name="connsiteX132" fmla="*/ 1921650 w 12192002"/>
              <a:gd name="connsiteY132" fmla="*/ 332593 h 2122526"/>
              <a:gd name="connsiteX133" fmla="*/ 1928172 w 12192002"/>
              <a:gd name="connsiteY133" fmla="*/ 327762 h 2122526"/>
              <a:gd name="connsiteX134" fmla="*/ 1997356 w 12192002"/>
              <a:gd name="connsiteY134" fmla="*/ 349707 h 2122526"/>
              <a:gd name="connsiteX135" fmla="*/ 2094665 w 12192002"/>
              <a:gd name="connsiteY135" fmla="*/ 341687 h 2122526"/>
              <a:gd name="connsiteX136" fmla="*/ 2208578 w 12192002"/>
              <a:gd name="connsiteY136" fmla="*/ 324976 h 2122526"/>
              <a:gd name="connsiteX137" fmla="*/ 2315112 w 12192002"/>
              <a:gd name="connsiteY137" fmla="*/ 319743 h 2122526"/>
              <a:gd name="connsiteX138" fmla="*/ 2443255 w 12192002"/>
              <a:gd name="connsiteY138" fmla="*/ 328210 h 2122526"/>
              <a:gd name="connsiteX139" fmla="*/ 2587906 w 12192002"/>
              <a:gd name="connsiteY139" fmla="*/ 322233 h 2122526"/>
              <a:gd name="connsiteX140" fmla="*/ 2646527 w 12192002"/>
              <a:gd name="connsiteY140" fmla="*/ 315870 h 2122526"/>
              <a:gd name="connsiteX141" fmla="*/ 2781569 w 12192002"/>
              <a:gd name="connsiteY141" fmla="*/ 326406 h 2122526"/>
              <a:gd name="connsiteX142" fmla="*/ 3030291 w 12192002"/>
              <a:gd name="connsiteY142" fmla="*/ 348227 h 2122526"/>
              <a:gd name="connsiteX143" fmla="*/ 3142556 w 12192002"/>
              <a:gd name="connsiteY143" fmla="*/ 350870 h 2122526"/>
              <a:gd name="connsiteX144" fmla="*/ 3262356 w 12192002"/>
              <a:gd name="connsiteY144" fmla="*/ 358645 h 2122526"/>
              <a:gd name="connsiteX145" fmla="*/ 3341698 w 12192002"/>
              <a:gd name="connsiteY145" fmla="*/ 364522 h 2122526"/>
              <a:gd name="connsiteX146" fmla="*/ 3344026 w 12192002"/>
              <a:gd name="connsiteY146" fmla="*/ 363547 h 2122526"/>
              <a:gd name="connsiteX147" fmla="*/ 3363888 w 12192002"/>
              <a:gd name="connsiteY147" fmla="*/ 365229 h 2122526"/>
              <a:gd name="connsiteX148" fmla="*/ 3400728 w 12192002"/>
              <a:gd name="connsiteY148" fmla="*/ 382181 h 2122526"/>
              <a:gd name="connsiteX149" fmla="*/ 3473223 w 12192002"/>
              <a:gd name="connsiteY149" fmla="*/ 370133 h 2122526"/>
              <a:gd name="connsiteX150" fmla="*/ 3536135 w 12192002"/>
              <a:gd name="connsiteY150" fmla="*/ 366472 h 2122526"/>
              <a:gd name="connsiteX151" fmla="*/ 3585978 w 12192002"/>
              <a:gd name="connsiteY151" fmla="*/ 356773 h 2122526"/>
              <a:gd name="connsiteX152" fmla="*/ 3594501 w 12192002"/>
              <a:gd name="connsiteY152" fmla="*/ 357463 h 2122526"/>
              <a:gd name="connsiteX153" fmla="*/ 3594736 w 12192002"/>
              <a:gd name="connsiteY153" fmla="*/ 357194 h 2122526"/>
              <a:gd name="connsiteX154" fmla="*/ 3603855 w 12192002"/>
              <a:gd name="connsiteY154" fmla="*/ 357358 h 2122526"/>
              <a:gd name="connsiteX155" fmla="*/ 3610035 w 12192002"/>
              <a:gd name="connsiteY155" fmla="*/ 358720 h 2122526"/>
              <a:gd name="connsiteX156" fmla="*/ 3682513 w 12192002"/>
              <a:gd name="connsiteY156" fmla="*/ 326449 h 2122526"/>
              <a:gd name="connsiteX157" fmla="*/ 3789760 w 12192002"/>
              <a:gd name="connsiteY157" fmla="*/ 302526 h 2122526"/>
              <a:gd name="connsiteX158" fmla="*/ 3897275 w 12192002"/>
              <a:gd name="connsiteY158" fmla="*/ 282288 h 2122526"/>
              <a:gd name="connsiteX159" fmla="*/ 3936846 w 12192002"/>
              <a:gd name="connsiteY159" fmla="*/ 276633 h 2122526"/>
              <a:gd name="connsiteX160" fmla="*/ 4004538 w 12192002"/>
              <a:gd name="connsiteY160" fmla="*/ 259176 h 2122526"/>
              <a:gd name="connsiteX161" fmla="*/ 4033778 w 12192002"/>
              <a:gd name="connsiteY161" fmla="*/ 246608 h 2122526"/>
              <a:gd name="connsiteX162" fmla="*/ 4035363 w 12192002"/>
              <a:gd name="connsiteY162" fmla="*/ 246843 h 2122526"/>
              <a:gd name="connsiteX163" fmla="*/ 4036996 w 12192002"/>
              <a:gd name="connsiteY163" fmla="*/ 243176 h 2122526"/>
              <a:gd name="connsiteX164" fmla="*/ 4042364 w 12192002"/>
              <a:gd name="connsiteY164" fmla="*/ 240742 h 2122526"/>
              <a:gd name="connsiteX165" fmla="*/ 4058954 w 12192002"/>
              <a:gd name="connsiteY165" fmla="*/ 239121 h 2122526"/>
              <a:gd name="connsiteX166" fmla="*/ 4065510 w 12192002"/>
              <a:gd name="connsiteY166" fmla="*/ 239339 h 2122526"/>
              <a:gd name="connsiteX167" fmla="*/ 4074427 w 12192002"/>
              <a:gd name="connsiteY167" fmla="*/ 237895 h 2122526"/>
              <a:gd name="connsiteX168" fmla="*/ 4074546 w 12192002"/>
              <a:gd name="connsiteY168" fmla="*/ 237596 h 2122526"/>
              <a:gd name="connsiteX169" fmla="*/ 4083097 w 12192002"/>
              <a:gd name="connsiteY169" fmla="*/ 236761 h 2122526"/>
              <a:gd name="connsiteX170" fmla="*/ 4142745 w 12192002"/>
              <a:gd name="connsiteY170" fmla="*/ 210228 h 2122526"/>
              <a:gd name="connsiteX171" fmla="*/ 4191248 w 12192002"/>
              <a:gd name="connsiteY171" fmla="*/ 194363 h 2122526"/>
              <a:gd name="connsiteX172" fmla="*/ 4201744 w 12192002"/>
              <a:gd name="connsiteY172" fmla="*/ 188729 h 2122526"/>
              <a:gd name="connsiteX173" fmla="*/ 4202048 w 12192002"/>
              <a:gd name="connsiteY173" fmla="*/ 187470 h 2122526"/>
              <a:gd name="connsiteX174" fmla="*/ 4248116 w 12192002"/>
              <a:gd name="connsiteY174" fmla="*/ 184675 h 2122526"/>
              <a:gd name="connsiteX175" fmla="*/ 4276141 w 12192002"/>
              <a:gd name="connsiteY175" fmla="*/ 186999 h 2122526"/>
              <a:gd name="connsiteX176" fmla="*/ 4290062 w 12192002"/>
              <a:gd name="connsiteY176" fmla="*/ 186753 h 2122526"/>
              <a:gd name="connsiteX177" fmla="*/ 4295143 w 12192002"/>
              <a:gd name="connsiteY177" fmla="*/ 189670 h 2122526"/>
              <a:gd name="connsiteX178" fmla="*/ 4315108 w 12192002"/>
              <a:gd name="connsiteY178" fmla="*/ 187791 h 2122526"/>
              <a:gd name="connsiteX179" fmla="*/ 4316965 w 12192002"/>
              <a:gd name="connsiteY179" fmla="*/ 186450 h 2122526"/>
              <a:gd name="connsiteX180" fmla="*/ 4335046 w 12192002"/>
              <a:gd name="connsiteY180" fmla="*/ 189089 h 2122526"/>
              <a:gd name="connsiteX181" fmla="*/ 4428542 w 12192002"/>
              <a:gd name="connsiteY181" fmla="*/ 191719 h 2122526"/>
              <a:gd name="connsiteX182" fmla="*/ 4515813 w 12192002"/>
              <a:gd name="connsiteY182" fmla="*/ 181068 h 2122526"/>
              <a:gd name="connsiteX183" fmla="*/ 4715526 w 12192002"/>
              <a:gd name="connsiteY183" fmla="*/ 171166 h 2122526"/>
              <a:gd name="connsiteX184" fmla="*/ 4762447 w 12192002"/>
              <a:gd name="connsiteY184" fmla="*/ 162678 h 2122526"/>
              <a:gd name="connsiteX185" fmla="*/ 4840439 w 12192002"/>
              <a:gd name="connsiteY185" fmla="*/ 134910 h 2122526"/>
              <a:gd name="connsiteX186" fmla="*/ 5011513 w 12192002"/>
              <a:gd name="connsiteY186" fmla="*/ 110893 h 2122526"/>
              <a:gd name="connsiteX187" fmla="*/ 5065790 w 12192002"/>
              <a:gd name="connsiteY187" fmla="*/ 94512 h 2122526"/>
              <a:gd name="connsiteX188" fmla="*/ 5121659 w 12192002"/>
              <a:gd name="connsiteY188" fmla="*/ 101083 h 2122526"/>
              <a:gd name="connsiteX189" fmla="*/ 5139595 w 12192002"/>
              <a:gd name="connsiteY189" fmla="*/ 90230 h 2122526"/>
              <a:gd name="connsiteX190" fmla="*/ 5142598 w 12192002"/>
              <a:gd name="connsiteY190" fmla="*/ 88129 h 2122526"/>
              <a:gd name="connsiteX191" fmla="*/ 5156554 w 12192002"/>
              <a:gd name="connsiteY191" fmla="*/ 84729 h 2122526"/>
              <a:gd name="connsiteX192" fmla="*/ 5174660 w 12192002"/>
              <a:gd name="connsiteY192" fmla="*/ 77506 h 2122526"/>
              <a:gd name="connsiteX193" fmla="*/ 5222961 w 12192002"/>
              <a:gd name="connsiteY193" fmla="*/ 74516 h 2122526"/>
              <a:gd name="connsiteX194" fmla="*/ 5261763 w 12192002"/>
              <a:gd name="connsiteY194" fmla="*/ 63392 h 2122526"/>
              <a:gd name="connsiteX195" fmla="*/ 5381667 w 12192002"/>
              <a:gd name="connsiteY195" fmla="*/ 42975 h 2122526"/>
              <a:gd name="connsiteX196" fmla="*/ 5432760 w 12192002"/>
              <a:gd name="connsiteY196" fmla="*/ 25273 h 2122526"/>
              <a:gd name="connsiteX197" fmla="*/ 5470905 w 12192002"/>
              <a:gd name="connsiteY197" fmla="*/ 14020 h 2122526"/>
              <a:gd name="connsiteX198" fmla="*/ 5626960 w 12192002"/>
              <a:gd name="connsiteY198" fmla="*/ 0 h 2122526"/>
              <a:gd name="connsiteX0" fmla="*/ 5626960 w 12192002"/>
              <a:gd name="connsiteY0" fmla="*/ 0 h 2122526"/>
              <a:gd name="connsiteX1" fmla="*/ 5758918 w 12192002"/>
              <a:gd name="connsiteY1" fmla="*/ 1023 h 2122526"/>
              <a:gd name="connsiteX2" fmla="*/ 5957375 w 12192002"/>
              <a:gd name="connsiteY2" fmla="*/ 16715 h 2122526"/>
              <a:gd name="connsiteX3" fmla="*/ 6010090 w 12192002"/>
              <a:gd name="connsiteY3" fmla="*/ 20359 h 2122526"/>
              <a:gd name="connsiteX4" fmla="*/ 6041282 w 12192002"/>
              <a:gd name="connsiteY4" fmla="*/ 15266 h 2122526"/>
              <a:gd name="connsiteX5" fmla="*/ 6048637 w 12192002"/>
              <a:gd name="connsiteY5" fmla="*/ 6917 h 2122526"/>
              <a:gd name="connsiteX6" fmla="*/ 6068529 w 12192002"/>
              <a:gd name="connsiteY6" fmla="*/ 7600 h 2122526"/>
              <a:gd name="connsiteX7" fmla="*/ 6073847 w 12192002"/>
              <a:gd name="connsiteY7" fmla="*/ 6063 h 2122526"/>
              <a:gd name="connsiteX8" fmla="*/ 6168673 w 12192002"/>
              <a:gd name="connsiteY8" fmla="*/ 26525 h 2122526"/>
              <a:gd name="connsiteX9" fmla="*/ 6317559 w 12192002"/>
              <a:gd name="connsiteY9" fmla="*/ 28612 h 2122526"/>
              <a:gd name="connsiteX10" fmla="*/ 6549454 w 12192002"/>
              <a:gd name="connsiteY10" fmla="*/ 75412 h 2122526"/>
              <a:gd name="connsiteX11" fmla="*/ 6708221 w 12192002"/>
              <a:gd name="connsiteY11" fmla="*/ 104188 h 2122526"/>
              <a:gd name="connsiteX12" fmla="*/ 6904145 w 12192002"/>
              <a:gd name="connsiteY12" fmla="*/ 132143 h 2122526"/>
              <a:gd name="connsiteX13" fmla="*/ 7018495 w 12192002"/>
              <a:gd name="connsiteY13" fmla="*/ 161649 h 2122526"/>
              <a:gd name="connsiteX14" fmla="*/ 7096987 w 12192002"/>
              <a:gd name="connsiteY14" fmla="*/ 161275 h 2122526"/>
              <a:gd name="connsiteX15" fmla="*/ 7170807 w 12192002"/>
              <a:gd name="connsiteY15" fmla="*/ 173503 h 2122526"/>
              <a:gd name="connsiteX16" fmla="*/ 7197003 w 12192002"/>
              <a:gd name="connsiteY16" fmla="*/ 178151 h 2122526"/>
              <a:gd name="connsiteX17" fmla="*/ 7201101 w 12192002"/>
              <a:gd name="connsiteY17" fmla="*/ 183509 h 2122526"/>
              <a:gd name="connsiteX18" fmla="*/ 7218559 w 12192002"/>
              <a:gd name="connsiteY18" fmla="*/ 188059 h 2122526"/>
              <a:gd name="connsiteX19" fmla="*/ 7310852 w 12192002"/>
              <a:gd name="connsiteY19" fmla="*/ 213308 h 2122526"/>
              <a:gd name="connsiteX20" fmla="*/ 7312179 w 12192002"/>
              <a:gd name="connsiteY20" fmla="*/ 211866 h 2122526"/>
              <a:gd name="connsiteX21" fmla="*/ 7405390 w 12192002"/>
              <a:gd name="connsiteY21" fmla="*/ 202271 h 2122526"/>
              <a:gd name="connsiteX22" fmla="*/ 7495794 w 12192002"/>
              <a:gd name="connsiteY22" fmla="*/ 194166 h 2122526"/>
              <a:gd name="connsiteX23" fmla="*/ 7507039 w 12192002"/>
              <a:gd name="connsiteY23" fmla="*/ 196118 h 2122526"/>
              <a:gd name="connsiteX24" fmla="*/ 7507411 w 12192002"/>
              <a:gd name="connsiteY24" fmla="*/ 195791 h 2122526"/>
              <a:gd name="connsiteX25" fmla="*/ 7519570 w 12192002"/>
              <a:gd name="connsiteY25" fmla="*/ 197126 h 2122526"/>
              <a:gd name="connsiteX26" fmla="*/ 7527542 w 12192002"/>
              <a:gd name="connsiteY26" fmla="*/ 199679 h 2122526"/>
              <a:gd name="connsiteX27" fmla="*/ 7614346 w 12192002"/>
              <a:gd name="connsiteY27" fmla="*/ 205507 h 2122526"/>
              <a:gd name="connsiteX28" fmla="*/ 7718744 w 12192002"/>
              <a:gd name="connsiteY28" fmla="*/ 202036 h 2122526"/>
              <a:gd name="connsiteX29" fmla="*/ 7905407 w 12192002"/>
              <a:gd name="connsiteY29" fmla="*/ 227751 h 2122526"/>
              <a:gd name="connsiteX30" fmla="*/ 8090271 w 12192002"/>
              <a:gd name="connsiteY30" fmla="*/ 269724 h 2122526"/>
              <a:gd name="connsiteX31" fmla="*/ 8245834 w 12192002"/>
              <a:gd name="connsiteY31" fmla="*/ 315885 h 2122526"/>
              <a:gd name="connsiteX32" fmla="*/ 8252033 w 12192002"/>
              <a:gd name="connsiteY32" fmla="*/ 328877 h 2122526"/>
              <a:gd name="connsiteX33" fmla="*/ 8263376 w 12192002"/>
              <a:gd name="connsiteY33" fmla="*/ 338720 h 2122526"/>
              <a:gd name="connsiteX34" fmla="*/ 8266075 w 12192002"/>
              <a:gd name="connsiteY34" fmla="*/ 338490 h 2122526"/>
              <a:gd name="connsiteX35" fmla="*/ 8283149 w 12192002"/>
              <a:gd name="connsiteY35" fmla="*/ 345665 h 2122526"/>
              <a:gd name="connsiteX36" fmla="*/ 8284276 w 12192002"/>
              <a:gd name="connsiteY36" fmla="*/ 350108 h 2122526"/>
              <a:gd name="connsiteX37" fmla="*/ 8295173 w 12192002"/>
              <a:gd name="connsiteY37" fmla="*/ 355931 h 2122526"/>
              <a:gd name="connsiteX38" fmla="*/ 8314432 w 12192002"/>
              <a:gd name="connsiteY38" fmla="*/ 369826 h 2122526"/>
              <a:gd name="connsiteX39" fmla="*/ 8320104 w 12192002"/>
              <a:gd name="connsiteY39" fmla="*/ 370152 h 2122526"/>
              <a:gd name="connsiteX40" fmla="*/ 8352372 w 12192002"/>
              <a:gd name="connsiteY40" fmla="*/ 387570 h 2122526"/>
              <a:gd name="connsiteX41" fmla="*/ 8353799 w 12192002"/>
              <a:gd name="connsiteY41" fmla="*/ 386730 h 2122526"/>
              <a:gd name="connsiteX42" fmla="*/ 8367182 w 12192002"/>
              <a:gd name="connsiteY42" fmla="*/ 386924 h 2122526"/>
              <a:gd name="connsiteX43" fmla="*/ 8490249 w 12192002"/>
              <a:gd name="connsiteY43" fmla="*/ 400966 h 2122526"/>
              <a:gd name="connsiteX44" fmla="*/ 8497594 w 12192002"/>
              <a:gd name="connsiteY44" fmla="*/ 404016 h 2122526"/>
              <a:gd name="connsiteX45" fmla="*/ 8497968 w 12192002"/>
              <a:gd name="connsiteY45" fmla="*/ 403837 h 2122526"/>
              <a:gd name="connsiteX46" fmla="*/ 8506167 w 12192002"/>
              <a:gd name="connsiteY46" fmla="*/ 406575 h 2122526"/>
              <a:gd name="connsiteX47" fmla="*/ 8510983 w 12192002"/>
              <a:gd name="connsiteY47" fmla="*/ 409576 h 2122526"/>
              <a:gd name="connsiteX48" fmla="*/ 8525230 w 12192002"/>
              <a:gd name="connsiteY48" fmla="*/ 415491 h 2122526"/>
              <a:gd name="connsiteX49" fmla="*/ 8596071 w 12192002"/>
              <a:gd name="connsiteY49" fmla="*/ 400649 h 2122526"/>
              <a:gd name="connsiteX50" fmla="*/ 8707847 w 12192002"/>
              <a:gd name="connsiteY50" fmla="*/ 409221 h 2122526"/>
              <a:gd name="connsiteX51" fmla="*/ 8752444 w 12192002"/>
              <a:gd name="connsiteY51" fmla="*/ 411322 h 2122526"/>
              <a:gd name="connsiteX52" fmla="*/ 8928988 w 12192002"/>
              <a:gd name="connsiteY52" fmla="*/ 430554 h 2122526"/>
              <a:gd name="connsiteX53" fmla="*/ 8963048 w 12192002"/>
              <a:gd name="connsiteY53" fmla="*/ 427366 h 2122526"/>
              <a:gd name="connsiteX54" fmla="*/ 8968011 w 12192002"/>
              <a:gd name="connsiteY54" fmla="*/ 425141 h 2122526"/>
              <a:gd name="connsiteX55" fmla="*/ 8974337 w 12192002"/>
              <a:gd name="connsiteY55" fmla="*/ 424441 h 2122526"/>
              <a:gd name="connsiteX56" fmla="*/ 8990394 w 12192002"/>
              <a:gd name="connsiteY56" fmla="*/ 427667 h 2122526"/>
              <a:gd name="connsiteX57" fmla="*/ 8996232 w 12192002"/>
              <a:gd name="connsiteY57" fmla="*/ 429728 h 2122526"/>
              <a:gd name="connsiteX58" fmla="*/ 9005201 w 12192002"/>
              <a:gd name="connsiteY58" fmla="*/ 430939 h 2122526"/>
              <a:gd name="connsiteX59" fmla="*/ 9005486 w 12192002"/>
              <a:gd name="connsiteY59" fmla="*/ 430699 h 2122526"/>
              <a:gd name="connsiteX60" fmla="*/ 9053453 w 12192002"/>
              <a:gd name="connsiteY60" fmla="*/ 433984 h 2122526"/>
              <a:gd name="connsiteX61" fmla="*/ 9113812 w 12192002"/>
              <a:gd name="connsiteY61" fmla="*/ 425670 h 2122526"/>
              <a:gd name="connsiteX62" fmla="*/ 9137318 w 12192002"/>
              <a:gd name="connsiteY62" fmla="*/ 424304 h 2122526"/>
              <a:gd name="connsiteX63" fmla="*/ 9150210 w 12192002"/>
              <a:gd name="connsiteY63" fmla="*/ 422135 h 2122526"/>
              <a:gd name="connsiteX64" fmla="*/ 9151232 w 12192002"/>
              <a:gd name="connsiteY64" fmla="*/ 421070 h 2122526"/>
              <a:gd name="connsiteX65" fmla="*/ 9189246 w 12192002"/>
              <a:gd name="connsiteY65" fmla="*/ 432272 h 2122526"/>
              <a:gd name="connsiteX66" fmla="*/ 9194810 w 12192002"/>
              <a:gd name="connsiteY66" fmla="*/ 441511 h 2122526"/>
              <a:gd name="connsiteX67" fmla="*/ 9231370 w 12192002"/>
              <a:gd name="connsiteY67" fmla="*/ 451590 h 2122526"/>
              <a:gd name="connsiteX68" fmla="*/ 9343052 w 12192002"/>
              <a:gd name="connsiteY68" fmla="*/ 503495 h 2122526"/>
              <a:gd name="connsiteX69" fmla="*/ 9584507 w 12192002"/>
              <a:gd name="connsiteY69" fmla="*/ 549197 h 2122526"/>
              <a:gd name="connsiteX70" fmla="*/ 9728309 w 12192002"/>
              <a:gd name="connsiteY70" fmla="*/ 560617 h 2122526"/>
              <a:gd name="connsiteX71" fmla="*/ 9847792 w 12192002"/>
              <a:gd name="connsiteY71" fmla="*/ 580824 h 2122526"/>
              <a:gd name="connsiteX72" fmla="*/ 9960019 w 12192002"/>
              <a:gd name="connsiteY72" fmla="*/ 587592 h 2122526"/>
              <a:gd name="connsiteX73" fmla="*/ 10039240 w 12192002"/>
              <a:gd name="connsiteY73" fmla="*/ 603107 h 2122526"/>
              <a:gd name="connsiteX74" fmla="*/ 10082169 w 12192002"/>
              <a:gd name="connsiteY74" fmla="*/ 601443 h 2122526"/>
              <a:gd name="connsiteX75" fmla="*/ 10126500 w 12192002"/>
              <a:gd name="connsiteY75" fmla="*/ 603538 h 2122526"/>
              <a:gd name="connsiteX76" fmla="*/ 10261101 w 12192002"/>
              <a:gd name="connsiteY76" fmla="*/ 615053 h 2122526"/>
              <a:gd name="connsiteX77" fmla="*/ 10336855 w 12192002"/>
              <a:gd name="connsiteY77" fmla="*/ 624804 h 2122526"/>
              <a:gd name="connsiteX78" fmla="*/ 10383868 w 12192002"/>
              <a:gd name="connsiteY78" fmla="*/ 625415 h 2122526"/>
              <a:gd name="connsiteX79" fmla="*/ 10445984 w 12192002"/>
              <a:gd name="connsiteY79" fmla="*/ 629262 h 2122526"/>
              <a:gd name="connsiteX80" fmla="*/ 10519280 w 12192002"/>
              <a:gd name="connsiteY80" fmla="*/ 631320 h 2122526"/>
              <a:gd name="connsiteX81" fmla="*/ 10644619 w 12192002"/>
              <a:gd name="connsiteY81" fmla="*/ 651566 h 2122526"/>
              <a:gd name="connsiteX82" fmla="*/ 10857724 w 12192002"/>
              <a:gd name="connsiteY82" fmla="*/ 712684 h 2122526"/>
              <a:gd name="connsiteX83" fmla="*/ 10951063 w 12192002"/>
              <a:gd name="connsiteY83" fmla="*/ 725767 h 2122526"/>
              <a:gd name="connsiteX84" fmla="*/ 11030956 w 12192002"/>
              <a:gd name="connsiteY84" fmla="*/ 721011 h 2122526"/>
              <a:gd name="connsiteX85" fmla="*/ 11085938 w 12192002"/>
              <a:gd name="connsiteY85" fmla="*/ 723892 h 2122526"/>
              <a:gd name="connsiteX86" fmla="*/ 11143411 w 12192002"/>
              <a:gd name="connsiteY86" fmla="*/ 733141 h 2122526"/>
              <a:gd name="connsiteX87" fmla="*/ 11195087 w 12192002"/>
              <a:gd name="connsiteY87" fmla="*/ 732494 h 2122526"/>
              <a:gd name="connsiteX88" fmla="*/ 11273972 w 12192002"/>
              <a:gd name="connsiteY88" fmla="*/ 729660 h 2122526"/>
              <a:gd name="connsiteX89" fmla="*/ 11369715 w 12192002"/>
              <a:gd name="connsiteY89" fmla="*/ 813181 h 2122526"/>
              <a:gd name="connsiteX90" fmla="*/ 11462695 w 12192002"/>
              <a:gd name="connsiteY90" fmla="*/ 874654 h 2122526"/>
              <a:gd name="connsiteX91" fmla="*/ 11564181 w 12192002"/>
              <a:gd name="connsiteY91" fmla="*/ 888450 h 2122526"/>
              <a:gd name="connsiteX92" fmla="*/ 11684760 w 12192002"/>
              <a:gd name="connsiteY92" fmla="*/ 929360 h 2122526"/>
              <a:gd name="connsiteX93" fmla="*/ 11744187 w 12192002"/>
              <a:gd name="connsiteY93" fmla="*/ 984253 h 2122526"/>
              <a:gd name="connsiteX94" fmla="*/ 11834979 w 12192002"/>
              <a:gd name="connsiteY94" fmla="*/ 1013094 h 2122526"/>
              <a:gd name="connsiteX95" fmla="*/ 11933790 w 12192002"/>
              <a:gd name="connsiteY95" fmla="*/ 990933 h 2122526"/>
              <a:gd name="connsiteX96" fmla="*/ 12084140 w 12192002"/>
              <a:gd name="connsiteY96" fmla="*/ 1007396 h 2122526"/>
              <a:gd name="connsiteX97" fmla="*/ 12140863 w 12192002"/>
              <a:gd name="connsiteY97" fmla="*/ 1035036 h 2122526"/>
              <a:gd name="connsiteX98" fmla="*/ 12192002 w 12192002"/>
              <a:gd name="connsiteY98" fmla="*/ 1015838 h 2122526"/>
              <a:gd name="connsiteX99" fmla="*/ 12192002 w 12192002"/>
              <a:gd name="connsiteY99" fmla="*/ 1955549 h 2122526"/>
              <a:gd name="connsiteX100" fmla="*/ 12192000 w 12192002"/>
              <a:gd name="connsiteY100" fmla="*/ 1955549 h 2122526"/>
              <a:gd name="connsiteX101" fmla="*/ 12192000 w 12192002"/>
              <a:gd name="connsiteY101" fmla="*/ 2122526 h 2122526"/>
              <a:gd name="connsiteX102" fmla="*/ 0 w 12192002"/>
              <a:gd name="connsiteY102" fmla="*/ 2122526 h 2122526"/>
              <a:gd name="connsiteX103" fmla="*/ 0 w 12192002"/>
              <a:gd name="connsiteY103" fmla="*/ 1348327 h 2122526"/>
              <a:gd name="connsiteX104" fmla="*/ 2 w 12192002"/>
              <a:gd name="connsiteY104" fmla="*/ 1348327 h 2122526"/>
              <a:gd name="connsiteX105" fmla="*/ 2 w 12192002"/>
              <a:gd name="connsiteY105" fmla="*/ 592017 h 2122526"/>
              <a:gd name="connsiteX106" fmla="*/ 15526 w 12192002"/>
              <a:gd name="connsiteY106" fmla="*/ 586548 h 2122526"/>
              <a:gd name="connsiteX107" fmla="*/ 118381 w 12192002"/>
              <a:gd name="connsiteY107" fmla="*/ 583692 h 2122526"/>
              <a:gd name="connsiteX108" fmla="*/ 292435 w 12192002"/>
              <a:gd name="connsiteY108" fmla="*/ 531887 h 2122526"/>
              <a:gd name="connsiteX109" fmla="*/ 404015 w 12192002"/>
              <a:gd name="connsiteY109" fmla="*/ 511191 h 2122526"/>
              <a:gd name="connsiteX110" fmla="*/ 445099 w 12192002"/>
              <a:gd name="connsiteY110" fmla="*/ 505368 h 2122526"/>
              <a:gd name="connsiteX111" fmla="*/ 571717 w 12192002"/>
              <a:gd name="connsiteY111" fmla="*/ 467338 h 2122526"/>
              <a:gd name="connsiteX112" fmla="*/ 578535 w 12192002"/>
              <a:gd name="connsiteY112" fmla="*/ 467527 h 2122526"/>
              <a:gd name="connsiteX113" fmla="*/ 596792 w 12192002"/>
              <a:gd name="connsiteY113" fmla="*/ 464875 h 2122526"/>
              <a:gd name="connsiteX114" fmla="*/ 708875 w 12192002"/>
              <a:gd name="connsiteY114" fmla="*/ 422017 h 2122526"/>
              <a:gd name="connsiteX115" fmla="*/ 719742 w 12192002"/>
              <a:gd name="connsiteY115" fmla="*/ 416340 h 2122526"/>
              <a:gd name="connsiteX116" fmla="*/ 720047 w 12192002"/>
              <a:gd name="connsiteY116" fmla="*/ 415078 h 2122526"/>
              <a:gd name="connsiteX117" fmla="*/ 763053 w 12192002"/>
              <a:gd name="connsiteY117" fmla="*/ 414307 h 2122526"/>
              <a:gd name="connsiteX118" fmla="*/ 767901 w 12192002"/>
              <a:gd name="connsiteY118" fmla="*/ 412086 h 2122526"/>
              <a:gd name="connsiteX119" fmla="*/ 797041 w 12192002"/>
              <a:gd name="connsiteY119" fmla="*/ 414293 h 2122526"/>
              <a:gd name="connsiteX120" fmla="*/ 811506 w 12192002"/>
              <a:gd name="connsiteY120" fmla="*/ 413988 h 2122526"/>
              <a:gd name="connsiteX121" fmla="*/ 816809 w 12192002"/>
              <a:gd name="connsiteY121" fmla="*/ 416882 h 2122526"/>
              <a:gd name="connsiteX122" fmla="*/ 837540 w 12192002"/>
              <a:gd name="connsiteY122" fmla="*/ 414918 h 2122526"/>
              <a:gd name="connsiteX123" fmla="*/ 858269 w 12192002"/>
              <a:gd name="connsiteY123" fmla="*/ 416131 h 2122526"/>
              <a:gd name="connsiteX124" fmla="*/ 948732 w 12192002"/>
              <a:gd name="connsiteY124" fmla="*/ 404293 h 2122526"/>
              <a:gd name="connsiteX125" fmla="*/ 1149979 w 12192002"/>
              <a:gd name="connsiteY125" fmla="*/ 406698 h 2122526"/>
              <a:gd name="connsiteX126" fmla="*/ 1496110 w 12192002"/>
              <a:gd name="connsiteY126" fmla="*/ 357263 h 2122526"/>
              <a:gd name="connsiteX127" fmla="*/ 1608669 w 12192002"/>
              <a:gd name="connsiteY127" fmla="*/ 331673 h 2122526"/>
              <a:gd name="connsiteX128" fmla="*/ 1675071 w 12192002"/>
              <a:gd name="connsiteY128" fmla="*/ 324776 h 2122526"/>
              <a:gd name="connsiteX129" fmla="*/ 1738204 w 12192002"/>
              <a:gd name="connsiteY129" fmla="*/ 308427 h 2122526"/>
              <a:gd name="connsiteX130" fmla="*/ 1786655 w 12192002"/>
              <a:gd name="connsiteY130" fmla="*/ 303376 h 2122526"/>
              <a:gd name="connsiteX131" fmla="*/ 1873080 w 12192002"/>
              <a:gd name="connsiteY131" fmla="*/ 330998 h 2122526"/>
              <a:gd name="connsiteX132" fmla="*/ 1921650 w 12192002"/>
              <a:gd name="connsiteY132" fmla="*/ 332593 h 2122526"/>
              <a:gd name="connsiteX133" fmla="*/ 1928172 w 12192002"/>
              <a:gd name="connsiteY133" fmla="*/ 327762 h 2122526"/>
              <a:gd name="connsiteX134" fmla="*/ 1997356 w 12192002"/>
              <a:gd name="connsiteY134" fmla="*/ 349707 h 2122526"/>
              <a:gd name="connsiteX135" fmla="*/ 2094665 w 12192002"/>
              <a:gd name="connsiteY135" fmla="*/ 341687 h 2122526"/>
              <a:gd name="connsiteX136" fmla="*/ 2208578 w 12192002"/>
              <a:gd name="connsiteY136" fmla="*/ 324976 h 2122526"/>
              <a:gd name="connsiteX137" fmla="*/ 2315112 w 12192002"/>
              <a:gd name="connsiteY137" fmla="*/ 319743 h 2122526"/>
              <a:gd name="connsiteX138" fmla="*/ 2443255 w 12192002"/>
              <a:gd name="connsiteY138" fmla="*/ 328210 h 2122526"/>
              <a:gd name="connsiteX139" fmla="*/ 2587906 w 12192002"/>
              <a:gd name="connsiteY139" fmla="*/ 322233 h 2122526"/>
              <a:gd name="connsiteX140" fmla="*/ 2646527 w 12192002"/>
              <a:gd name="connsiteY140" fmla="*/ 315870 h 2122526"/>
              <a:gd name="connsiteX141" fmla="*/ 2781569 w 12192002"/>
              <a:gd name="connsiteY141" fmla="*/ 326406 h 2122526"/>
              <a:gd name="connsiteX142" fmla="*/ 3030291 w 12192002"/>
              <a:gd name="connsiteY142" fmla="*/ 348227 h 2122526"/>
              <a:gd name="connsiteX143" fmla="*/ 3142556 w 12192002"/>
              <a:gd name="connsiteY143" fmla="*/ 350870 h 2122526"/>
              <a:gd name="connsiteX144" fmla="*/ 3262356 w 12192002"/>
              <a:gd name="connsiteY144" fmla="*/ 358645 h 2122526"/>
              <a:gd name="connsiteX145" fmla="*/ 3341698 w 12192002"/>
              <a:gd name="connsiteY145" fmla="*/ 364522 h 2122526"/>
              <a:gd name="connsiteX146" fmla="*/ 3344026 w 12192002"/>
              <a:gd name="connsiteY146" fmla="*/ 363547 h 2122526"/>
              <a:gd name="connsiteX147" fmla="*/ 3363888 w 12192002"/>
              <a:gd name="connsiteY147" fmla="*/ 365229 h 2122526"/>
              <a:gd name="connsiteX148" fmla="*/ 3400728 w 12192002"/>
              <a:gd name="connsiteY148" fmla="*/ 382181 h 2122526"/>
              <a:gd name="connsiteX149" fmla="*/ 3473223 w 12192002"/>
              <a:gd name="connsiteY149" fmla="*/ 370133 h 2122526"/>
              <a:gd name="connsiteX150" fmla="*/ 3536135 w 12192002"/>
              <a:gd name="connsiteY150" fmla="*/ 366472 h 2122526"/>
              <a:gd name="connsiteX151" fmla="*/ 3585978 w 12192002"/>
              <a:gd name="connsiteY151" fmla="*/ 356773 h 2122526"/>
              <a:gd name="connsiteX152" fmla="*/ 3594501 w 12192002"/>
              <a:gd name="connsiteY152" fmla="*/ 357463 h 2122526"/>
              <a:gd name="connsiteX153" fmla="*/ 3594736 w 12192002"/>
              <a:gd name="connsiteY153" fmla="*/ 357194 h 2122526"/>
              <a:gd name="connsiteX154" fmla="*/ 3603855 w 12192002"/>
              <a:gd name="connsiteY154" fmla="*/ 357358 h 2122526"/>
              <a:gd name="connsiteX155" fmla="*/ 3610035 w 12192002"/>
              <a:gd name="connsiteY155" fmla="*/ 358720 h 2122526"/>
              <a:gd name="connsiteX156" fmla="*/ 3682513 w 12192002"/>
              <a:gd name="connsiteY156" fmla="*/ 326449 h 2122526"/>
              <a:gd name="connsiteX157" fmla="*/ 3789760 w 12192002"/>
              <a:gd name="connsiteY157" fmla="*/ 302526 h 2122526"/>
              <a:gd name="connsiteX158" fmla="*/ 3897275 w 12192002"/>
              <a:gd name="connsiteY158" fmla="*/ 282288 h 2122526"/>
              <a:gd name="connsiteX159" fmla="*/ 3936846 w 12192002"/>
              <a:gd name="connsiteY159" fmla="*/ 276633 h 2122526"/>
              <a:gd name="connsiteX160" fmla="*/ 4004538 w 12192002"/>
              <a:gd name="connsiteY160" fmla="*/ 259176 h 2122526"/>
              <a:gd name="connsiteX161" fmla="*/ 4033778 w 12192002"/>
              <a:gd name="connsiteY161" fmla="*/ 246608 h 2122526"/>
              <a:gd name="connsiteX162" fmla="*/ 4035363 w 12192002"/>
              <a:gd name="connsiteY162" fmla="*/ 246843 h 2122526"/>
              <a:gd name="connsiteX163" fmla="*/ 4036996 w 12192002"/>
              <a:gd name="connsiteY163" fmla="*/ 243176 h 2122526"/>
              <a:gd name="connsiteX164" fmla="*/ 4042364 w 12192002"/>
              <a:gd name="connsiteY164" fmla="*/ 240742 h 2122526"/>
              <a:gd name="connsiteX165" fmla="*/ 4058954 w 12192002"/>
              <a:gd name="connsiteY165" fmla="*/ 239121 h 2122526"/>
              <a:gd name="connsiteX166" fmla="*/ 4065510 w 12192002"/>
              <a:gd name="connsiteY166" fmla="*/ 239339 h 2122526"/>
              <a:gd name="connsiteX167" fmla="*/ 4074427 w 12192002"/>
              <a:gd name="connsiteY167" fmla="*/ 237895 h 2122526"/>
              <a:gd name="connsiteX168" fmla="*/ 4074546 w 12192002"/>
              <a:gd name="connsiteY168" fmla="*/ 237596 h 2122526"/>
              <a:gd name="connsiteX169" fmla="*/ 4083097 w 12192002"/>
              <a:gd name="connsiteY169" fmla="*/ 236761 h 2122526"/>
              <a:gd name="connsiteX170" fmla="*/ 4142745 w 12192002"/>
              <a:gd name="connsiteY170" fmla="*/ 210228 h 2122526"/>
              <a:gd name="connsiteX171" fmla="*/ 4191248 w 12192002"/>
              <a:gd name="connsiteY171" fmla="*/ 194363 h 2122526"/>
              <a:gd name="connsiteX172" fmla="*/ 4201744 w 12192002"/>
              <a:gd name="connsiteY172" fmla="*/ 188729 h 2122526"/>
              <a:gd name="connsiteX173" fmla="*/ 4202048 w 12192002"/>
              <a:gd name="connsiteY173" fmla="*/ 187470 h 2122526"/>
              <a:gd name="connsiteX174" fmla="*/ 4248116 w 12192002"/>
              <a:gd name="connsiteY174" fmla="*/ 184675 h 2122526"/>
              <a:gd name="connsiteX175" fmla="*/ 4276141 w 12192002"/>
              <a:gd name="connsiteY175" fmla="*/ 186999 h 2122526"/>
              <a:gd name="connsiteX176" fmla="*/ 4290062 w 12192002"/>
              <a:gd name="connsiteY176" fmla="*/ 186753 h 2122526"/>
              <a:gd name="connsiteX177" fmla="*/ 4295143 w 12192002"/>
              <a:gd name="connsiteY177" fmla="*/ 189670 h 2122526"/>
              <a:gd name="connsiteX178" fmla="*/ 4315108 w 12192002"/>
              <a:gd name="connsiteY178" fmla="*/ 187791 h 2122526"/>
              <a:gd name="connsiteX179" fmla="*/ 4316965 w 12192002"/>
              <a:gd name="connsiteY179" fmla="*/ 186450 h 2122526"/>
              <a:gd name="connsiteX180" fmla="*/ 4362875 w 12192002"/>
              <a:gd name="connsiteY180" fmla="*/ 193065 h 2122526"/>
              <a:gd name="connsiteX181" fmla="*/ 4428542 w 12192002"/>
              <a:gd name="connsiteY181" fmla="*/ 191719 h 2122526"/>
              <a:gd name="connsiteX182" fmla="*/ 4515813 w 12192002"/>
              <a:gd name="connsiteY182" fmla="*/ 181068 h 2122526"/>
              <a:gd name="connsiteX183" fmla="*/ 4715526 w 12192002"/>
              <a:gd name="connsiteY183" fmla="*/ 171166 h 2122526"/>
              <a:gd name="connsiteX184" fmla="*/ 4762447 w 12192002"/>
              <a:gd name="connsiteY184" fmla="*/ 162678 h 2122526"/>
              <a:gd name="connsiteX185" fmla="*/ 4840439 w 12192002"/>
              <a:gd name="connsiteY185" fmla="*/ 134910 h 2122526"/>
              <a:gd name="connsiteX186" fmla="*/ 5011513 w 12192002"/>
              <a:gd name="connsiteY186" fmla="*/ 110893 h 2122526"/>
              <a:gd name="connsiteX187" fmla="*/ 5065790 w 12192002"/>
              <a:gd name="connsiteY187" fmla="*/ 94512 h 2122526"/>
              <a:gd name="connsiteX188" fmla="*/ 5121659 w 12192002"/>
              <a:gd name="connsiteY188" fmla="*/ 101083 h 2122526"/>
              <a:gd name="connsiteX189" fmla="*/ 5139595 w 12192002"/>
              <a:gd name="connsiteY189" fmla="*/ 90230 h 2122526"/>
              <a:gd name="connsiteX190" fmla="*/ 5142598 w 12192002"/>
              <a:gd name="connsiteY190" fmla="*/ 88129 h 2122526"/>
              <a:gd name="connsiteX191" fmla="*/ 5156554 w 12192002"/>
              <a:gd name="connsiteY191" fmla="*/ 84729 h 2122526"/>
              <a:gd name="connsiteX192" fmla="*/ 5174660 w 12192002"/>
              <a:gd name="connsiteY192" fmla="*/ 77506 h 2122526"/>
              <a:gd name="connsiteX193" fmla="*/ 5222961 w 12192002"/>
              <a:gd name="connsiteY193" fmla="*/ 74516 h 2122526"/>
              <a:gd name="connsiteX194" fmla="*/ 5261763 w 12192002"/>
              <a:gd name="connsiteY194" fmla="*/ 63392 h 2122526"/>
              <a:gd name="connsiteX195" fmla="*/ 5381667 w 12192002"/>
              <a:gd name="connsiteY195" fmla="*/ 42975 h 2122526"/>
              <a:gd name="connsiteX196" fmla="*/ 5432760 w 12192002"/>
              <a:gd name="connsiteY196" fmla="*/ 25273 h 2122526"/>
              <a:gd name="connsiteX197" fmla="*/ 5470905 w 12192002"/>
              <a:gd name="connsiteY197" fmla="*/ 14020 h 2122526"/>
              <a:gd name="connsiteX198" fmla="*/ 5626960 w 12192002"/>
              <a:gd name="connsiteY198" fmla="*/ 0 h 2122526"/>
              <a:gd name="connsiteX0" fmla="*/ 5626960 w 12192002"/>
              <a:gd name="connsiteY0" fmla="*/ 0 h 2122526"/>
              <a:gd name="connsiteX1" fmla="*/ 5758918 w 12192002"/>
              <a:gd name="connsiteY1" fmla="*/ 1023 h 2122526"/>
              <a:gd name="connsiteX2" fmla="*/ 5957375 w 12192002"/>
              <a:gd name="connsiteY2" fmla="*/ 16715 h 2122526"/>
              <a:gd name="connsiteX3" fmla="*/ 6010090 w 12192002"/>
              <a:gd name="connsiteY3" fmla="*/ 20359 h 2122526"/>
              <a:gd name="connsiteX4" fmla="*/ 6041282 w 12192002"/>
              <a:gd name="connsiteY4" fmla="*/ 15266 h 2122526"/>
              <a:gd name="connsiteX5" fmla="*/ 6048637 w 12192002"/>
              <a:gd name="connsiteY5" fmla="*/ 6917 h 2122526"/>
              <a:gd name="connsiteX6" fmla="*/ 6068529 w 12192002"/>
              <a:gd name="connsiteY6" fmla="*/ 7600 h 2122526"/>
              <a:gd name="connsiteX7" fmla="*/ 6073847 w 12192002"/>
              <a:gd name="connsiteY7" fmla="*/ 6063 h 2122526"/>
              <a:gd name="connsiteX8" fmla="*/ 6168673 w 12192002"/>
              <a:gd name="connsiteY8" fmla="*/ 26525 h 2122526"/>
              <a:gd name="connsiteX9" fmla="*/ 6317559 w 12192002"/>
              <a:gd name="connsiteY9" fmla="*/ 28612 h 2122526"/>
              <a:gd name="connsiteX10" fmla="*/ 6549454 w 12192002"/>
              <a:gd name="connsiteY10" fmla="*/ 75412 h 2122526"/>
              <a:gd name="connsiteX11" fmla="*/ 6708221 w 12192002"/>
              <a:gd name="connsiteY11" fmla="*/ 104188 h 2122526"/>
              <a:gd name="connsiteX12" fmla="*/ 6904145 w 12192002"/>
              <a:gd name="connsiteY12" fmla="*/ 132143 h 2122526"/>
              <a:gd name="connsiteX13" fmla="*/ 7018495 w 12192002"/>
              <a:gd name="connsiteY13" fmla="*/ 161649 h 2122526"/>
              <a:gd name="connsiteX14" fmla="*/ 7096987 w 12192002"/>
              <a:gd name="connsiteY14" fmla="*/ 161275 h 2122526"/>
              <a:gd name="connsiteX15" fmla="*/ 7170807 w 12192002"/>
              <a:gd name="connsiteY15" fmla="*/ 173503 h 2122526"/>
              <a:gd name="connsiteX16" fmla="*/ 7197003 w 12192002"/>
              <a:gd name="connsiteY16" fmla="*/ 178151 h 2122526"/>
              <a:gd name="connsiteX17" fmla="*/ 7201101 w 12192002"/>
              <a:gd name="connsiteY17" fmla="*/ 183509 h 2122526"/>
              <a:gd name="connsiteX18" fmla="*/ 7218559 w 12192002"/>
              <a:gd name="connsiteY18" fmla="*/ 188059 h 2122526"/>
              <a:gd name="connsiteX19" fmla="*/ 7310852 w 12192002"/>
              <a:gd name="connsiteY19" fmla="*/ 213308 h 2122526"/>
              <a:gd name="connsiteX20" fmla="*/ 7312179 w 12192002"/>
              <a:gd name="connsiteY20" fmla="*/ 211866 h 2122526"/>
              <a:gd name="connsiteX21" fmla="*/ 7405390 w 12192002"/>
              <a:gd name="connsiteY21" fmla="*/ 202271 h 2122526"/>
              <a:gd name="connsiteX22" fmla="*/ 7495794 w 12192002"/>
              <a:gd name="connsiteY22" fmla="*/ 194166 h 2122526"/>
              <a:gd name="connsiteX23" fmla="*/ 7507039 w 12192002"/>
              <a:gd name="connsiteY23" fmla="*/ 196118 h 2122526"/>
              <a:gd name="connsiteX24" fmla="*/ 7507411 w 12192002"/>
              <a:gd name="connsiteY24" fmla="*/ 195791 h 2122526"/>
              <a:gd name="connsiteX25" fmla="*/ 7519570 w 12192002"/>
              <a:gd name="connsiteY25" fmla="*/ 197126 h 2122526"/>
              <a:gd name="connsiteX26" fmla="*/ 7527542 w 12192002"/>
              <a:gd name="connsiteY26" fmla="*/ 199679 h 2122526"/>
              <a:gd name="connsiteX27" fmla="*/ 7614346 w 12192002"/>
              <a:gd name="connsiteY27" fmla="*/ 205507 h 2122526"/>
              <a:gd name="connsiteX28" fmla="*/ 7718744 w 12192002"/>
              <a:gd name="connsiteY28" fmla="*/ 202036 h 2122526"/>
              <a:gd name="connsiteX29" fmla="*/ 7905407 w 12192002"/>
              <a:gd name="connsiteY29" fmla="*/ 227751 h 2122526"/>
              <a:gd name="connsiteX30" fmla="*/ 8090271 w 12192002"/>
              <a:gd name="connsiteY30" fmla="*/ 269724 h 2122526"/>
              <a:gd name="connsiteX31" fmla="*/ 8245834 w 12192002"/>
              <a:gd name="connsiteY31" fmla="*/ 315885 h 2122526"/>
              <a:gd name="connsiteX32" fmla="*/ 8252033 w 12192002"/>
              <a:gd name="connsiteY32" fmla="*/ 328877 h 2122526"/>
              <a:gd name="connsiteX33" fmla="*/ 8263376 w 12192002"/>
              <a:gd name="connsiteY33" fmla="*/ 338720 h 2122526"/>
              <a:gd name="connsiteX34" fmla="*/ 8266075 w 12192002"/>
              <a:gd name="connsiteY34" fmla="*/ 338490 h 2122526"/>
              <a:gd name="connsiteX35" fmla="*/ 8283149 w 12192002"/>
              <a:gd name="connsiteY35" fmla="*/ 345665 h 2122526"/>
              <a:gd name="connsiteX36" fmla="*/ 8284276 w 12192002"/>
              <a:gd name="connsiteY36" fmla="*/ 350108 h 2122526"/>
              <a:gd name="connsiteX37" fmla="*/ 8295173 w 12192002"/>
              <a:gd name="connsiteY37" fmla="*/ 355931 h 2122526"/>
              <a:gd name="connsiteX38" fmla="*/ 8314432 w 12192002"/>
              <a:gd name="connsiteY38" fmla="*/ 369826 h 2122526"/>
              <a:gd name="connsiteX39" fmla="*/ 8320104 w 12192002"/>
              <a:gd name="connsiteY39" fmla="*/ 370152 h 2122526"/>
              <a:gd name="connsiteX40" fmla="*/ 8352372 w 12192002"/>
              <a:gd name="connsiteY40" fmla="*/ 387570 h 2122526"/>
              <a:gd name="connsiteX41" fmla="*/ 8353799 w 12192002"/>
              <a:gd name="connsiteY41" fmla="*/ 386730 h 2122526"/>
              <a:gd name="connsiteX42" fmla="*/ 8367182 w 12192002"/>
              <a:gd name="connsiteY42" fmla="*/ 386924 h 2122526"/>
              <a:gd name="connsiteX43" fmla="*/ 8490249 w 12192002"/>
              <a:gd name="connsiteY43" fmla="*/ 400966 h 2122526"/>
              <a:gd name="connsiteX44" fmla="*/ 8497594 w 12192002"/>
              <a:gd name="connsiteY44" fmla="*/ 404016 h 2122526"/>
              <a:gd name="connsiteX45" fmla="*/ 8497968 w 12192002"/>
              <a:gd name="connsiteY45" fmla="*/ 403837 h 2122526"/>
              <a:gd name="connsiteX46" fmla="*/ 8506167 w 12192002"/>
              <a:gd name="connsiteY46" fmla="*/ 406575 h 2122526"/>
              <a:gd name="connsiteX47" fmla="*/ 8510983 w 12192002"/>
              <a:gd name="connsiteY47" fmla="*/ 409576 h 2122526"/>
              <a:gd name="connsiteX48" fmla="*/ 8525230 w 12192002"/>
              <a:gd name="connsiteY48" fmla="*/ 415491 h 2122526"/>
              <a:gd name="connsiteX49" fmla="*/ 8596071 w 12192002"/>
              <a:gd name="connsiteY49" fmla="*/ 400649 h 2122526"/>
              <a:gd name="connsiteX50" fmla="*/ 8707847 w 12192002"/>
              <a:gd name="connsiteY50" fmla="*/ 409221 h 2122526"/>
              <a:gd name="connsiteX51" fmla="*/ 8752444 w 12192002"/>
              <a:gd name="connsiteY51" fmla="*/ 411322 h 2122526"/>
              <a:gd name="connsiteX52" fmla="*/ 8928988 w 12192002"/>
              <a:gd name="connsiteY52" fmla="*/ 430554 h 2122526"/>
              <a:gd name="connsiteX53" fmla="*/ 8963048 w 12192002"/>
              <a:gd name="connsiteY53" fmla="*/ 427366 h 2122526"/>
              <a:gd name="connsiteX54" fmla="*/ 8968011 w 12192002"/>
              <a:gd name="connsiteY54" fmla="*/ 425141 h 2122526"/>
              <a:gd name="connsiteX55" fmla="*/ 8974337 w 12192002"/>
              <a:gd name="connsiteY55" fmla="*/ 424441 h 2122526"/>
              <a:gd name="connsiteX56" fmla="*/ 8990394 w 12192002"/>
              <a:gd name="connsiteY56" fmla="*/ 427667 h 2122526"/>
              <a:gd name="connsiteX57" fmla="*/ 8996232 w 12192002"/>
              <a:gd name="connsiteY57" fmla="*/ 429728 h 2122526"/>
              <a:gd name="connsiteX58" fmla="*/ 9005201 w 12192002"/>
              <a:gd name="connsiteY58" fmla="*/ 430939 h 2122526"/>
              <a:gd name="connsiteX59" fmla="*/ 9005486 w 12192002"/>
              <a:gd name="connsiteY59" fmla="*/ 430699 h 2122526"/>
              <a:gd name="connsiteX60" fmla="*/ 9053453 w 12192002"/>
              <a:gd name="connsiteY60" fmla="*/ 433984 h 2122526"/>
              <a:gd name="connsiteX61" fmla="*/ 9113812 w 12192002"/>
              <a:gd name="connsiteY61" fmla="*/ 425670 h 2122526"/>
              <a:gd name="connsiteX62" fmla="*/ 9137318 w 12192002"/>
              <a:gd name="connsiteY62" fmla="*/ 424304 h 2122526"/>
              <a:gd name="connsiteX63" fmla="*/ 9150210 w 12192002"/>
              <a:gd name="connsiteY63" fmla="*/ 422135 h 2122526"/>
              <a:gd name="connsiteX64" fmla="*/ 9151232 w 12192002"/>
              <a:gd name="connsiteY64" fmla="*/ 421070 h 2122526"/>
              <a:gd name="connsiteX65" fmla="*/ 9189246 w 12192002"/>
              <a:gd name="connsiteY65" fmla="*/ 432272 h 2122526"/>
              <a:gd name="connsiteX66" fmla="*/ 9194810 w 12192002"/>
              <a:gd name="connsiteY66" fmla="*/ 441511 h 2122526"/>
              <a:gd name="connsiteX67" fmla="*/ 9231370 w 12192002"/>
              <a:gd name="connsiteY67" fmla="*/ 451590 h 2122526"/>
              <a:gd name="connsiteX68" fmla="*/ 9343052 w 12192002"/>
              <a:gd name="connsiteY68" fmla="*/ 503495 h 2122526"/>
              <a:gd name="connsiteX69" fmla="*/ 9584507 w 12192002"/>
              <a:gd name="connsiteY69" fmla="*/ 549197 h 2122526"/>
              <a:gd name="connsiteX70" fmla="*/ 9728309 w 12192002"/>
              <a:gd name="connsiteY70" fmla="*/ 560617 h 2122526"/>
              <a:gd name="connsiteX71" fmla="*/ 9847792 w 12192002"/>
              <a:gd name="connsiteY71" fmla="*/ 580824 h 2122526"/>
              <a:gd name="connsiteX72" fmla="*/ 9960019 w 12192002"/>
              <a:gd name="connsiteY72" fmla="*/ 587592 h 2122526"/>
              <a:gd name="connsiteX73" fmla="*/ 10039240 w 12192002"/>
              <a:gd name="connsiteY73" fmla="*/ 603107 h 2122526"/>
              <a:gd name="connsiteX74" fmla="*/ 10082169 w 12192002"/>
              <a:gd name="connsiteY74" fmla="*/ 601443 h 2122526"/>
              <a:gd name="connsiteX75" fmla="*/ 10126500 w 12192002"/>
              <a:gd name="connsiteY75" fmla="*/ 603538 h 2122526"/>
              <a:gd name="connsiteX76" fmla="*/ 10261101 w 12192002"/>
              <a:gd name="connsiteY76" fmla="*/ 615053 h 2122526"/>
              <a:gd name="connsiteX77" fmla="*/ 10336855 w 12192002"/>
              <a:gd name="connsiteY77" fmla="*/ 624804 h 2122526"/>
              <a:gd name="connsiteX78" fmla="*/ 10383868 w 12192002"/>
              <a:gd name="connsiteY78" fmla="*/ 625415 h 2122526"/>
              <a:gd name="connsiteX79" fmla="*/ 10445984 w 12192002"/>
              <a:gd name="connsiteY79" fmla="*/ 629262 h 2122526"/>
              <a:gd name="connsiteX80" fmla="*/ 10519280 w 12192002"/>
              <a:gd name="connsiteY80" fmla="*/ 631320 h 2122526"/>
              <a:gd name="connsiteX81" fmla="*/ 10644619 w 12192002"/>
              <a:gd name="connsiteY81" fmla="*/ 651566 h 2122526"/>
              <a:gd name="connsiteX82" fmla="*/ 10857724 w 12192002"/>
              <a:gd name="connsiteY82" fmla="*/ 712684 h 2122526"/>
              <a:gd name="connsiteX83" fmla="*/ 10951063 w 12192002"/>
              <a:gd name="connsiteY83" fmla="*/ 725767 h 2122526"/>
              <a:gd name="connsiteX84" fmla="*/ 11030956 w 12192002"/>
              <a:gd name="connsiteY84" fmla="*/ 721011 h 2122526"/>
              <a:gd name="connsiteX85" fmla="*/ 11085938 w 12192002"/>
              <a:gd name="connsiteY85" fmla="*/ 723892 h 2122526"/>
              <a:gd name="connsiteX86" fmla="*/ 11143411 w 12192002"/>
              <a:gd name="connsiteY86" fmla="*/ 733141 h 2122526"/>
              <a:gd name="connsiteX87" fmla="*/ 11195087 w 12192002"/>
              <a:gd name="connsiteY87" fmla="*/ 732494 h 2122526"/>
              <a:gd name="connsiteX88" fmla="*/ 11273972 w 12192002"/>
              <a:gd name="connsiteY88" fmla="*/ 729660 h 2122526"/>
              <a:gd name="connsiteX89" fmla="*/ 11369715 w 12192002"/>
              <a:gd name="connsiteY89" fmla="*/ 813181 h 2122526"/>
              <a:gd name="connsiteX90" fmla="*/ 11462695 w 12192002"/>
              <a:gd name="connsiteY90" fmla="*/ 874654 h 2122526"/>
              <a:gd name="connsiteX91" fmla="*/ 11564181 w 12192002"/>
              <a:gd name="connsiteY91" fmla="*/ 888450 h 2122526"/>
              <a:gd name="connsiteX92" fmla="*/ 11684760 w 12192002"/>
              <a:gd name="connsiteY92" fmla="*/ 929360 h 2122526"/>
              <a:gd name="connsiteX93" fmla="*/ 11744187 w 12192002"/>
              <a:gd name="connsiteY93" fmla="*/ 984253 h 2122526"/>
              <a:gd name="connsiteX94" fmla="*/ 11834979 w 12192002"/>
              <a:gd name="connsiteY94" fmla="*/ 1013094 h 2122526"/>
              <a:gd name="connsiteX95" fmla="*/ 11933790 w 12192002"/>
              <a:gd name="connsiteY95" fmla="*/ 990933 h 2122526"/>
              <a:gd name="connsiteX96" fmla="*/ 12084140 w 12192002"/>
              <a:gd name="connsiteY96" fmla="*/ 1007396 h 2122526"/>
              <a:gd name="connsiteX97" fmla="*/ 12140863 w 12192002"/>
              <a:gd name="connsiteY97" fmla="*/ 1035036 h 2122526"/>
              <a:gd name="connsiteX98" fmla="*/ 12192002 w 12192002"/>
              <a:gd name="connsiteY98" fmla="*/ 1015838 h 2122526"/>
              <a:gd name="connsiteX99" fmla="*/ 12192002 w 12192002"/>
              <a:gd name="connsiteY99" fmla="*/ 1955549 h 2122526"/>
              <a:gd name="connsiteX100" fmla="*/ 12192000 w 12192002"/>
              <a:gd name="connsiteY100" fmla="*/ 1955549 h 2122526"/>
              <a:gd name="connsiteX101" fmla="*/ 12192000 w 12192002"/>
              <a:gd name="connsiteY101" fmla="*/ 2122526 h 2122526"/>
              <a:gd name="connsiteX102" fmla="*/ 0 w 12192002"/>
              <a:gd name="connsiteY102" fmla="*/ 2122526 h 2122526"/>
              <a:gd name="connsiteX103" fmla="*/ 0 w 12192002"/>
              <a:gd name="connsiteY103" fmla="*/ 1348327 h 2122526"/>
              <a:gd name="connsiteX104" fmla="*/ 2 w 12192002"/>
              <a:gd name="connsiteY104" fmla="*/ 1348327 h 2122526"/>
              <a:gd name="connsiteX105" fmla="*/ 2 w 12192002"/>
              <a:gd name="connsiteY105" fmla="*/ 592017 h 2122526"/>
              <a:gd name="connsiteX106" fmla="*/ 15526 w 12192002"/>
              <a:gd name="connsiteY106" fmla="*/ 586548 h 2122526"/>
              <a:gd name="connsiteX107" fmla="*/ 118381 w 12192002"/>
              <a:gd name="connsiteY107" fmla="*/ 583692 h 2122526"/>
              <a:gd name="connsiteX108" fmla="*/ 292435 w 12192002"/>
              <a:gd name="connsiteY108" fmla="*/ 531887 h 2122526"/>
              <a:gd name="connsiteX109" fmla="*/ 404015 w 12192002"/>
              <a:gd name="connsiteY109" fmla="*/ 511191 h 2122526"/>
              <a:gd name="connsiteX110" fmla="*/ 445099 w 12192002"/>
              <a:gd name="connsiteY110" fmla="*/ 505368 h 2122526"/>
              <a:gd name="connsiteX111" fmla="*/ 571717 w 12192002"/>
              <a:gd name="connsiteY111" fmla="*/ 467338 h 2122526"/>
              <a:gd name="connsiteX112" fmla="*/ 578535 w 12192002"/>
              <a:gd name="connsiteY112" fmla="*/ 467527 h 2122526"/>
              <a:gd name="connsiteX113" fmla="*/ 596792 w 12192002"/>
              <a:gd name="connsiteY113" fmla="*/ 464875 h 2122526"/>
              <a:gd name="connsiteX114" fmla="*/ 708875 w 12192002"/>
              <a:gd name="connsiteY114" fmla="*/ 422017 h 2122526"/>
              <a:gd name="connsiteX115" fmla="*/ 719742 w 12192002"/>
              <a:gd name="connsiteY115" fmla="*/ 416340 h 2122526"/>
              <a:gd name="connsiteX116" fmla="*/ 720047 w 12192002"/>
              <a:gd name="connsiteY116" fmla="*/ 415078 h 2122526"/>
              <a:gd name="connsiteX117" fmla="*/ 763053 w 12192002"/>
              <a:gd name="connsiteY117" fmla="*/ 414307 h 2122526"/>
              <a:gd name="connsiteX118" fmla="*/ 767901 w 12192002"/>
              <a:gd name="connsiteY118" fmla="*/ 412086 h 2122526"/>
              <a:gd name="connsiteX119" fmla="*/ 797041 w 12192002"/>
              <a:gd name="connsiteY119" fmla="*/ 414293 h 2122526"/>
              <a:gd name="connsiteX120" fmla="*/ 811506 w 12192002"/>
              <a:gd name="connsiteY120" fmla="*/ 413988 h 2122526"/>
              <a:gd name="connsiteX121" fmla="*/ 816809 w 12192002"/>
              <a:gd name="connsiteY121" fmla="*/ 416882 h 2122526"/>
              <a:gd name="connsiteX122" fmla="*/ 837540 w 12192002"/>
              <a:gd name="connsiteY122" fmla="*/ 414918 h 2122526"/>
              <a:gd name="connsiteX123" fmla="*/ 858269 w 12192002"/>
              <a:gd name="connsiteY123" fmla="*/ 416131 h 2122526"/>
              <a:gd name="connsiteX124" fmla="*/ 948732 w 12192002"/>
              <a:gd name="connsiteY124" fmla="*/ 404293 h 2122526"/>
              <a:gd name="connsiteX125" fmla="*/ 1149979 w 12192002"/>
              <a:gd name="connsiteY125" fmla="*/ 406698 h 2122526"/>
              <a:gd name="connsiteX126" fmla="*/ 1496110 w 12192002"/>
              <a:gd name="connsiteY126" fmla="*/ 357263 h 2122526"/>
              <a:gd name="connsiteX127" fmla="*/ 1608669 w 12192002"/>
              <a:gd name="connsiteY127" fmla="*/ 331673 h 2122526"/>
              <a:gd name="connsiteX128" fmla="*/ 1675071 w 12192002"/>
              <a:gd name="connsiteY128" fmla="*/ 324776 h 2122526"/>
              <a:gd name="connsiteX129" fmla="*/ 1738204 w 12192002"/>
              <a:gd name="connsiteY129" fmla="*/ 308427 h 2122526"/>
              <a:gd name="connsiteX130" fmla="*/ 1786655 w 12192002"/>
              <a:gd name="connsiteY130" fmla="*/ 303376 h 2122526"/>
              <a:gd name="connsiteX131" fmla="*/ 1873080 w 12192002"/>
              <a:gd name="connsiteY131" fmla="*/ 330998 h 2122526"/>
              <a:gd name="connsiteX132" fmla="*/ 1921650 w 12192002"/>
              <a:gd name="connsiteY132" fmla="*/ 332593 h 2122526"/>
              <a:gd name="connsiteX133" fmla="*/ 1928172 w 12192002"/>
              <a:gd name="connsiteY133" fmla="*/ 327762 h 2122526"/>
              <a:gd name="connsiteX134" fmla="*/ 1997356 w 12192002"/>
              <a:gd name="connsiteY134" fmla="*/ 349707 h 2122526"/>
              <a:gd name="connsiteX135" fmla="*/ 2094665 w 12192002"/>
              <a:gd name="connsiteY135" fmla="*/ 341687 h 2122526"/>
              <a:gd name="connsiteX136" fmla="*/ 2208578 w 12192002"/>
              <a:gd name="connsiteY136" fmla="*/ 324976 h 2122526"/>
              <a:gd name="connsiteX137" fmla="*/ 2315112 w 12192002"/>
              <a:gd name="connsiteY137" fmla="*/ 319743 h 2122526"/>
              <a:gd name="connsiteX138" fmla="*/ 2443255 w 12192002"/>
              <a:gd name="connsiteY138" fmla="*/ 328210 h 2122526"/>
              <a:gd name="connsiteX139" fmla="*/ 2587906 w 12192002"/>
              <a:gd name="connsiteY139" fmla="*/ 322233 h 2122526"/>
              <a:gd name="connsiteX140" fmla="*/ 2646527 w 12192002"/>
              <a:gd name="connsiteY140" fmla="*/ 315870 h 2122526"/>
              <a:gd name="connsiteX141" fmla="*/ 2781569 w 12192002"/>
              <a:gd name="connsiteY141" fmla="*/ 326406 h 2122526"/>
              <a:gd name="connsiteX142" fmla="*/ 3030291 w 12192002"/>
              <a:gd name="connsiteY142" fmla="*/ 348227 h 2122526"/>
              <a:gd name="connsiteX143" fmla="*/ 3142556 w 12192002"/>
              <a:gd name="connsiteY143" fmla="*/ 350870 h 2122526"/>
              <a:gd name="connsiteX144" fmla="*/ 3262356 w 12192002"/>
              <a:gd name="connsiteY144" fmla="*/ 358645 h 2122526"/>
              <a:gd name="connsiteX145" fmla="*/ 3341698 w 12192002"/>
              <a:gd name="connsiteY145" fmla="*/ 364522 h 2122526"/>
              <a:gd name="connsiteX146" fmla="*/ 3344026 w 12192002"/>
              <a:gd name="connsiteY146" fmla="*/ 363547 h 2122526"/>
              <a:gd name="connsiteX147" fmla="*/ 3363888 w 12192002"/>
              <a:gd name="connsiteY147" fmla="*/ 365229 h 2122526"/>
              <a:gd name="connsiteX148" fmla="*/ 3400728 w 12192002"/>
              <a:gd name="connsiteY148" fmla="*/ 382181 h 2122526"/>
              <a:gd name="connsiteX149" fmla="*/ 3473223 w 12192002"/>
              <a:gd name="connsiteY149" fmla="*/ 370133 h 2122526"/>
              <a:gd name="connsiteX150" fmla="*/ 3536135 w 12192002"/>
              <a:gd name="connsiteY150" fmla="*/ 366472 h 2122526"/>
              <a:gd name="connsiteX151" fmla="*/ 3585978 w 12192002"/>
              <a:gd name="connsiteY151" fmla="*/ 356773 h 2122526"/>
              <a:gd name="connsiteX152" fmla="*/ 3594501 w 12192002"/>
              <a:gd name="connsiteY152" fmla="*/ 357463 h 2122526"/>
              <a:gd name="connsiteX153" fmla="*/ 3594736 w 12192002"/>
              <a:gd name="connsiteY153" fmla="*/ 357194 h 2122526"/>
              <a:gd name="connsiteX154" fmla="*/ 3603855 w 12192002"/>
              <a:gd name="connsiteY154" fmla="*/ 357358 h 2122526"/>
              <a:gd name="connsiteX155" fmla="*/ 3610035 w 12192002"/>
              <a:gd name="connsiteY155" fmla="*/ 358720 h 2122526"/>
              <a:gd name="connsiteX156" fmla="*/ 3682513 w 12192002"/>
              <a:gd name="connsiteY156" fmla="*/ 326449 h 2122526"/>
              <a:gd name="connsiteX157" fmla="*/ 3789760 w 12192002"/>
              <a:gd name="connsiteY157" fmla="*/ 302526 h 2122526"/>
              <a:gd name="connsiteX158" fmla="*/ 3897275 w 12192002"/>
              <a:gd name="connsiteY158" fmla="*/ 282288 h 2122526"/>
              <a:gd name="connsiteX159" fmla="*/ 3936846 w 12192002"/>
              <a:gd name="connsiteY159" fmla="*/ 276633 h 2122526"/>
              <a:gd name="connsiteX160" fmla="*/ 4004538 w 12192002"/>
              <a:gd name="connsiteY160" fmla="*/ 259176 h 2122526"/>
              <a:gd name="connsiteX161" fmla="*/ 4033778 w 12192002"/>
              <a:gd name="connsiteY161" fmla="*/ 246608 h 2122526"/>
              <a:gd name="connsiteX162" fmla="*/ 4035363 w 12192002"/>
              <a:gd name="connsiteY162" fmla="*/ 246843 h 2122526"/>
              <a:gd name="connsiteX163" fmla="*/ 4036996 w 12192002"/>
              <a:gd name="connsiteY163" fmla="*/ 243176 h 2122526"/>
              <a:gd name="connsiteX164" fmla="*/ 4042364 w 12192002"/>
              <a:gd name="connsiteY164" fmla="*/ 240742 h 2122526"/>
              <a:gd name="connsiteX165" fmla="*/ 4058954 w 12192002"/>
              <a:gd name="connsiteY165" fmla="*/ 239121 h 2122526"/>
              <a:gd name="connsiteX166" fmla="*/ 4065510 w 12192002"/>
              <a:gd name="connsiteY166" fmla="*/ 239339 h 2122526"/>
              <a:gd name="connsiteX167" fmla="*/ 4074427 w 12192002"/>
              <a:gd name="connsiteY167" fmla="*/ 237895 h 2122526"/>
              <a:gd name="connsiteX168" fmla="*/ 4074546 w 12192002"/>
              <a:gd name="connsiteY168" fmla="*/ 237596 h 2122526"/>
              <a:gd name="connsiteX169" fmla="*/ 4083097 w 12192002"/>
              <a:gd name="connsiteY169" fmla="*/ 236761 h 2122526"/>
              <a:gd name="connsiteX170" fmla="*/ 4142745 w 12192002"/>
              <a:gd name="connsiteY170" fmla="*/ 210228 h 2122526"/>
              <a:gd name="connsiteX171" fmla="*/ 4191248 w 12192002"/>
              <a:gd name="connsiteY171" fmla="*/ 194363 h 2122526"/>
              <a:gd name="connsiteX172" fmla="*/ 4201744 w 12192002"/>
              <a:gd name="connsiteY172" fmla="*/ 188729 h 2122526"/>
              <a:gd name="connsiteX173" fmla="*/ 4202048 w 12192002"/>
              <a:gd name="connsiteY173" fmla="*/ 187470 h 2122526"/>
              <a:gd name="connsiteX174" fmla="*/ 4248116 w 12192002"/>
              <a:gd name="connsiteY174" fmla="*/ 184675 h 2122526"/>
              <a:gd name="connsiteX175" fmla="*/ 4276141 w 12192002"/>
              <a:gd name="connsiteY175" fmla="*/ 186999 h 2122526"/>
              <a:gd name="connsiteX176" fmla="*/ 4290062 w 12192002"/>
              <a:gd name="connsiteY176" fmla="*/ 186753 h 2122526"/>
              <a:gd name="connsiteX177" fmla="*/ 4295143 w 12192002"/>
              <a:gd name="connsiteY177" fmla="*/ 189670 h 2122526"/>
              <a:gd name="connsiteX178" fmla="*/ 4315108 w 12192002"/>
              <a:gd name="connsiteY178" fmla="*/ 187791 h 2122526"/>
              <a:gd name="connsiteX179" fmla="*/ 4316965 w 12192002"/>
              <a:gd name="connsiteY179" fmla="*/ 186450 h 2122526"/>
              <a:gd name="connsiteX180" fmla="*/ 4362875 w 12192002"/>
              <a:gd name="connsiteY180" fmla="*/ 193065 h 2122526"/>
              <a:gd name="connsiteX181" fmla="*/ 4428542 w 12192002"/>
              <a:gd name="connsiteY181" fmla="*/ 191719 h 2122526"/>
              <a:gd name="connsiteX182" fmla="*/ 4515813 w 12192002"/>
              <a:gd name="connsiteY182" fmla="*/ 181068 h 2122526"/>
              <a:gd name="connsiteX183" fmla="*/ 4715526 w 12192002"/>
              <a:gd name="connsiteY183" fmla="*/ 171166 h 2122526"/>
              <a:gd name="connsiteX184" fmla="*/ 4762447 w 12192002"/>
              <a:gd name="connsiteY184" fmla="*/ 162678 h 2122526"/>
              <a:gd name="connsiteX185" fmla="*/ 4840439 w 12192002"/>
              <a:gd name="connsiteY185" fmla="*/ 134910 h 2122526"/>
              <a:gd name="connsiteX186" fmla="*/ 5011513 w 12192002"/>
              <a:gd name="connsiteY186" fmla="*/ 110893 h 2122526"/>
              <a:gd name="connsiteX187" fmla="*/ 5065790 w 12192002"/>
              <a:gd name="connsiteY187" fmla="*/ 94512 h 2122526"/>
              <a:gd name="connsiteX188" fmla="*/ 5121659 w 12192002"/>
              <a:gd name="connsiteY188" fmla="*/ 101083 h 2122526"/>
              <a:gd name="connsiteX189" fmla="*/ 5139595 w 12192002"/>
              <a:gd name="connsiteY189" fmla="*/ 90230 h 2122526"/>
              <a:gd name="connsiteX190" fmla="*/ 5142598 w 12192002"/>
              <a:gd name="connsiteY190" fmla="*/ 88129 h 2122526"/>
              <a:gd name="connsiteX191" fmla="*/ 5156554 w 12192002"/>
              <a:gd name="connsiteY191" fmla="*/ 84729 h 2122526"/>
              <a:gd name="connsiteX192" fmla="*/ 5174660 w 12192002"/>
              <a:gd name="connsiteY192" fmla="*/ 77506 h 2122526"/>
              <a:gd name="connsiteX193" fmla="*/ 5222961 w 12192002"/>
              <a:gd name="connsiteY193" fmla="*/ 74516 h 2122526"/>
              <a:gd name="connsiteX194" fmla="*/ 5261763 w 12192002"/>
              <a:gd name="connsiteY194" fmla="*/ 63392 h 2122526"/>
              <a:gd name="connsiteX195" fmla="*/ 5381667 w 12192002"/>
              <a:gd name="connsiteY195" fmla="*/ 42975 h 2122526"/>
              <a:gd name="connsiteX196" fmla="*/ 5432760 w 12192002"/>
              <a:gd name="connsiteY196" fmla="*/ 25273 h 2122526"/>
              <a:gd name="connsiteX197" fmla="*/ 5470905 w 12192002"/>
              <a:gd name="connsiteY197" fmla="*/ 14020 h 2122526"/>
              <a:gd name="connsiteX198" fmla="*/ 5626960 w 12192002"/>
              <a:gd name="connsiteY198" fmla="*/ 0 h 2122526"/>
              <a:gd name="connsiteX0" fmla="*/ 5626960 w 12192002"/>
              <a:gd name="connsiteY0" fmla="*/ 0 h 2122526"/>
              <a:gd name="connsiteX1" fmla="*/ 5758918 w 12192002"/>
              <a:gd name="connsiteY1" fmla="*/ 1023 h 2122526"/>
              <a:gd name="connsiteX2" fmla="*/ 5957375 w 12192002"/>
              <a:gd name="connsiteY2" fmla="*/ 16715 h 2122526"/>
              <a:gd name="connsiteX3" fmla="*/ 6010090 w 12192002"/>
              <a:gd name="connsiteY3" fmla="*/ 20359 h 2122526"/>
              <a:gd name="connsiteX4" fmla="*/ 6041282 w 12192002"/>
              <a:gd name="connsiteY4" fmla="*/ 15266 h 2122526"/>
              <a:gd name="connsiteX5" fmla="*/ 6048637 w 12192002"/>
              <a:gd name="connsiteY5" fmla="*/ 6917 h 2122526"/>
              <a:gd name="connsiteX6" fmla="*/ 6068529 w 12192002"/>
              <a:gd name="connsiteY6" fmla="*/ 7600 h 2122526"/>
              <a:gd name="connsiteX7" fmla="*/ 6073847 w 12192002"/>
              <a:gd name="connsiteY7" fmla="*/ 6063 h 2122526"/>
              <a:gd name="connsiteX8" fmla="*/ 6168673 w 12192002"/>
              <a:gd name="connsiteY8" fmla="*/ 26525 h 2122526"/>
              <a:gd name="connsiteX9" fmla="*/ 6317559 w 12192002"/>
              <a:gd name="connsiteY9" fmla="*/ 28612 h 2122526"/>
              <a:gd name="connsiteX10" fmla="*/ 6549454 w 12192002"/>
              <a:gd name="connsiteY10" fmla="*/ 75412 h 2122526"/>
              <a:gd name="connsiteX11" fmla="*/ 6708221 w 12192002"/>
              <a:gd name="connsiteY11" fmla="*/ 104188 h 2122526"/>
              <a:gd name="connsiteX12" fmla="*/ 6904145 w 12192002"/>
              <a:gd name="connsiteY12" fmla="*/ 132143 h 2122526"/>
              <a:gd name="connsiteX13" fmla="*/ 7018495 w 12192002"/>
              <a:gd name="connsiteY13" fmla="*/ 161649 h 2122526"/>
              <a:gd name="connsiteX14" fmla="*/ 7096987 w 12192002"/>
              <a:gd name="connsiteY14" fmla="*/ 161275 h 2122526"/>
              <a:gd name="connsiteX15" fmla="*/ 7170807 w 12192002"/>
              <a:gd name="connsiteY15" fmla="*/ 173503 h 2122526"/>
              <a:gd name="connsiteX16" fmla="*/ 7197003 w 12192002"/>
              <a:gd name="connsiteY16" fmla="*/ 178151 h 2122526"/>
              <a:gd name="connsiteX17" fmla="*/ 7201101 w 12192002"/>
              <a:gd name="connsiteY17" fmla="*/ 183509 h 2122526"/>
              <a:gd name="connsiteX18" fmla="*/ 7218559 w 12192002"/>
              <a:gd name="connsiteY18" fmla="*/ 188059 h 2122526"/>
              <a:gd name="connsiteX19" fmla="*/ 7310852 w 12192002"/>
              <a:gd name="connsiteY19" fmla="*/ 213308 h 2122526"/>
              <a:gd name="connsiteX20" fmla="*/ 7312179 w 12192002"/>
              <a:gd name="connsiteY20" fmla="*/ 211866 h 2122526"/>
              <a:gd name="connsiteX21" fmla="*/ 7405390 w 12192002"/>
              <a:gd name="connsiteY21" fmla="*/ 202271 h 2122526"/>
              <a:gd name="connsiteX22" fmla="*/ 7495794 w 12192002"/>
              <a:gd name="connsiteY22" fmla="*/ 194166 h 2122526"/>
              <a:gd name="connsiteX23" fmla="*/ 7507039 w 12192002"/>
              <a:gd name="connsiteY23" fmla="*/ 196118 h 2122526"/>
              <a:gd name="connsiteX24" fmla="*/ 7507411 w 12192002"/>
              <a:gd name="connsiteY24" fmla="*/ 195791 h 2122526"/>
              <a:gd name="connsiteX25" fmla="*/ 7519570 w 12192002"/>
              <a:gd name="connsiteY25" fmla="*/ 197126 h 2122526"/>
              <a:gd name="connsiteX26" fmla="*/ 7527542 w 12192002"/>
              <a:gd name="connsiteY26" fmla="*/ 199679 h 2122526"/>
              <a:gd name="connsiteX27" fmla="*/ 7614346 w 12192002"/>
              <a:gd name="connsiteY27" fmla="*/ 205507 h 2122526"/>
              <a:gd name="connsiteX28" fmla="*/ 7718744 w 12192002"/>
              <a:gd name="connsiteY28" fmla="*/ 202036 h 2122526"/>
              <a:gd name="connsiteX29" fmla="*/ 7905407 w 12192002"/>
              <a:gd name="connsiteY29" fmla="*/ 227751 h 2122526"/>
              <a:gd name="connsiteX30" fmla="*/ 8090271 w 12192002"/>
              <a:gd name="connsiteY30" fmla="*/ 269724 h 2122526"/>
              <a:gd name="connsiteX31" fmla="*/ 8245834 w 12192002"/>
              <a:gd name="connsiteY31" fmla="*/ 315885 h 2122526"/>
              <a:gd name="connsiteX32" fmla="*/ 8252033 w 12192002"/>
              <a:gd name="connsiteY32" fmla="*/ 328877 h 2122526"/>
              <a:gd name="connsiteX33" fmla="*/ 8263376 w 12192002"/>
              <a:gd name="connsiteY33" fmla="*/ 338720 h 2122526"/>
              <a:gd name="connsiteX34" fmla="*/ 8266075 w 12192002"/>
              <a:gd name="connsiteY34" fmla="*/ 338490 h 2122526"/>
              <a:gd name="connsiteX35" fmla="*/ 8283149 w 12192002"/>
              <a:gd name="connsiteY35" fmla="*/ 345665 h 2122526"/>
              <a:gd name="connsiteX36" fmla="*/ 8284276 w 12192002"/>
              <a:gd name="connsiteY36" fmla="*/ 350108 h 2122526"/>
              <a:gd name="connsiteX37" fmla="*/ 8295173 w 12192002"/>
              <a:gd name="connsiteY37" fmla="*/ 355931 h 2122526"/>
              <a:gd name="connsiteX38" fmla="*/ 8314432 w 12192002"/>
              <a:gd name="connsiteY38" fmla="*/ 369826 h 2122526"/>
              <a:gd name="connsiteX39" fmla="*/ 8320104 w 12192002"/>
              <a:gd name="connsiteY39" fmla="*/ 370152 h 2122526"/>
              <a:gd name="connsiteX40" fmla="*/ 8352372 w 12192002"/>
              <a:gd name="connsiteY40" fmla="*/ 387570 h 2122526"/>
              <a:gd name="connsiteX41" fmla="*/ 8353799 w 12192002"/>
              <a:gd name="connsiteY41" fmla="*/ 386730 h 2122526"/>
              <a:gd name="connsiteX42" fmla="*/ 8367182 w 12192002"/>
              <a:gd name="connsiteY42" fmla="*/ 386924 h 2122526"/>
              <a:gd name="connsiteX43" fmla="*/ 8490249 w 12192002"/>
              <a:gd name="connsiteY43" fmla="*/ 400966 h 2122526"/>
              <a:gd name="connsiteX44" fmla="*/ 8497594 w 12192002"/>
              <a:gd name="connsiteY44" fmla="*/ 404016 h 2122526"/>
              <a:gd name="connsiteX45" fmla="*/ 8497968 w 12192002"/>
              <a:gd name="connsiteY45" fmla="*/ 403837 h 2122526"/>
              <a:gd name="connsiteX46" fmla="*/ 8506167 w 12192002"/>
              <a:gd name="connsiteY46" fmla="*/ 406575 h 2122526"/>
              <a:gd name="connsiteX47" fmla="*/ 8510983 w 12192002"/>
              <a:gd name="connsiteY47" fmla="*/ 409576 h 2122526"/>
              <a:gd name="connsiteX48" fmla="*/ 8525230 w 12192002"/>
              <a:gd name="connsiteY48" fmla="*/ 415491 h 2122526"/>
              <a:gd name="connsiteX49" fmla="*/ 8596071 w 12192002"/>
              <a:gd name="connsiteY49" fmla="*/ 400649 h 2122526"/>
              <a:gd name="connsiteX50" fmla="*/ 8707847 w 12192002"/>
              <a:gd name="connsiteY50" fmla="*/ 409221 h 2122526"/>
              <a:gd name="connsiteX51" fmla="*/ 8752444 w 12192002"/>
              <a:gd name="connsiteY51" fmla="*/ 411322 h 2122526"/>
              <a:gd name="connsiteX52" fmla="*/ 8928988 w 12192002"/>
              <a:gd name="connsiteY52" fmla="*/ 430554 h 2122526"/>
              <a:gd name="connsiteX53" fmla="*/ 8963048 w 12192002"/>
              <a:gd name="connsiteY53" fmla="*/ 427366 h 2122526"/>
              <a:gd name="connsiteX54" fmla="*/ 8968011 w 12192002"/>
              <a:gd name="connsiteY54" fmla="*/ 425141 h 2122526"/>
              <a:gd name="connsiteX55" fmla="*/ 8974337 w 12192002"/>
              <a:gd name="connsiteY55" fmla="*/ 424441 h 2122526"/>
              <a:gd name="connsiteX56" fmla="*/ 8990394 w 12192002"/>
              <a:gd name="connsiteY56" fmla="*/ 427667 h 2122526"/>
              <a:gd name="connsiteX57" fmla="*/ 8996232 w 12192002"/>
              <a:gd name="connsiteY57" fmla="*/ 429728 h 2122526"/>
              <a:gd name="connsiteX58" fmla="*/ 9005201 w 12192002"/>
              <a:gd name="connsiteY58" fmla="*/ 430939 h 2122526"/>
              <a:gd name="connsiteX59" fmla="*/ 9005486 w 12192002"/>
              <a:gd name="connsiteY59" fmla="*/ 430699 h 2122526"/>
              <a:gd name="connsiteX60" fmla="*/ 9053453 w 12192002"/>
              <a:gd name="connsiteY60" fmla="*/ 433984 h 2122526"/>
              <a:gd name="connsiteX61" fmla="*/ 9113812 w 12192002"/>
              <a:gd name="connsiteY61" fmla="*/ 425670 h 2122526"/>
              <a:gd name="connsiteX62" fmla="*/ 9137318 w 12192002"/>
              <a:gd name="connsiteY62" fmla="*/ 424304 h 2122526"/>
              <a:gd name="connsiteX63" fmla="*/ 9150210 w 12192002"/>
              <a:gd name="connsiteY63" fmla="*/ 422135 h 2122526"/>
              <a:gd name="connsiteX64" fmla="*/ 9151232 w 12192002"/>
              <a:gd name="connsiteY64" fmla="*/ 421070 h 2122526"/>
              <a:gd name="connsiteX65" fmla="*/ 9189246 w 12192002"/>
              <a:gd name="connsiteY65" fmla="*/ 432272 h 2122526"/>
              <a:gd name="connsiteX66" fmla="*/ 9194810 w 12192002"/>
              <a:gd name="connsiteY66" fmla="*/ 441511 h 2122526"/>
              <a:gd name="connsiteX67" fmla="*/ 9231370 w 12192002"/>
              <a:gd name="connsiteY67" fmla="*/ 451590 h 2122526"/>
              <a:gd name="connsiteX68" fmla="*/ 9343052 w 12192002"/>
              <a:gd name="connsiteY68" fmla="*/ 503495 h 2122526"/>
              <a:gd name="connsiteX69" fmla="*/ 9584507 w 12192002"/>
              <a:gd name="connsiteY69" fmla="*/ 549197 h 2122526"/>
              <a:gd name="connsiteX70" fmla="*/ 9728309 w 12192002"/>
              <a:gd name="connsiteY70" fmla="*/ 560617 h 2122526"/>
              <a:gd name="connsiteX71" fmla="*/ 9847792 w 12192002"/>
              <a:gd name="connsiteY71" fmla="*/ 580824 h 2122526"/>
              <a:gd name="connsiteX72" fmla="*/ 9960019 w 12192002"/>
              <a:gd name="connsiteY72" fmla="*/ 587592 h 2122526"/>
              <a:gd name="connsiteX73" fmla="*/ 10039240 w 12192002"/>
              <a:gd name="connsiteY73" fmla="*/ 603107 h 2122526"/>
              <a:gd name="connsiteX74" fmla="*/ 10082169 w 12192002"/>
              <a:gd name="connsiteY74" fmla="*/ 601443 h 2122526"/>
              <a:gd name="connsiteX75" fmla="*/ 10126500 w 12192002"/>
              <a:gd name="connsiteY75" fmla="*/ 603538 h 2122526"/>
              <a:gd name="connsiteX76" fmla="*/ 10261101 w 12192002"/>
              <a:gd name="connsiteY76" fmla="*/ 615053 h 2122526"/>
              <a:gd name="connsiteX77" fmla="*/ 10336855 w 12192002"/>
              <a:gd name="connsiteY77" fmla="*/ 624804 h 2122526"/>
              <a:gd name="connsiteX78" fmla="*/ 10383868 w 12192002"/>
              <a:gd name="connsiteY78" fmla="*/ 625415 h 2122526"/>
              <a:gd name="connsiteX79" fmla="*/ 10445984 w 12192002"/>
              <a:gd name="connsiteY79" fmla="*/ 629262 h 2122526"/>
              <a:gd name="connsiteX80" fmla="*/ 10519280 w 12192002"/>
              <a:gd name="connsiteY80" fmla="*/ 631320 h 2122526"/>
              <a:gd name="connsiteX81" fmla="*/ 10644619 w 12192002"/>
              <a:gd name="connsiteY81" fmla="*/ 651566 h 2122526"/>
              <a:gd name="connsiteX82" fmla="*/ 10857724 w 12192002"/>
              <a:gd name="connsiteY82" fmla="*/ 712684 h 2122526"/>
              <a:gd name="connsiteX83" fmla="*/ 10951063 w 12192002"/>
              <a:gd name="connsiteY83" fmla="*/ 725767 h 2122526"/>
              <a:gd name="connsiteX84" fmla="*/ 11030956 w 12192002"/>
              <a:gd name="connsiteY84" fmla="*/ 721011 h 2122526"/>
              <a:gd name="connsiteX85" fmla="*/ 11085938 w 12192002"/>
              <a:gd name="connsiteY85" fmla="*/ 723892 h 2122526"/>
              <a:gd name="connsiteX86" fmla="*/ 11143411 w 12192002"/>
              <a:gd name="connsiteY86" fmla="*/ 733141 h 2122526"/>
              <a:gd name="connsiteX87" fmla="*/ 11195087 w 12192002"/>
              <a:gd name="connsiteY87" fmla="*/ 732494 h 2122526"/>
              <a:gd name="connsiteX88" fmla="*/ 11273972 w 12192002"/>
              <a:gd name="connsiteY88" fmla="*/ 729660 h 2122526"/>
              <a:gd name="connsiteX89" fmla="*/ 11369715 w 12192002"/>
              <a:gd name="connsiteY89" fmla="*/ 813181 h 2122526"/>
              <a:gd name="connsiteX90" fmla="*/ 11462695 w 12192002"/>
              <a:gd name="connsiteY90" fmla="*/ 874654 h 2122526"/>
              <a:gd name="connsiteX91" fmla="*/ 11564181 w 12192002"/>
              <a:gd name="connsiteY91" fmla="*/ 888450 h 2122526"/>
              <a:gd name="connsiteX92" fmla="*/ 11684760 w 12192002"/>
              <a:gd name="connsiteY92" fmla="*/ 929360 h 2122526"/>
              <a:gd name="connsiteX93" fmla="*/ 11744187 w 12192002"/>
              <a:gd name="connsiteY93" fmla="*/ 984253 h 2122526"/>
              <a:gd name="connsiteX94" fmla="*/ 11834979 w 12192002"/>
              <a:gd name="connsiteY94" fmla="*/ 1013094 h 2122526"/>
              <a:gd name="connsiteX95" fmla="*/ 11933790 w 12192002"/>
              <a:gd name="connsiteY95" fmla="*/ 990933 h 2122526"/>
              <a:gd name="connsiteX96" fmla="*/ 12084140 w 12192002"/>
              <a:gd name="connsiteY96" fmla="*/ 1007396 h 2122526"/>
              <a:gd name="connsiteX97" fmla="*/ 12140863 w 12192002"/>
              <a:gd name="connsiteY97" fmla="*/ 1035036 h 2122526"/>
              <a:gd name="connsiteX98" fmla="*/ 12192002 w 12192002"/>
              <a:gd name="connsiteY98" fmla="*/ 1015838 h 2122526"/>
              <a:gd name="connsiteX99" fmla="*/ 12192002 w 12192002"/>
              <a:gd name="connsiteY99" fmla="*/ 1955549 h 2122526"/>
              <a:gd name="connsiteX100" fmla="*/ 12192000 w 12192002"/>
              <a:gd name="connsiteY100" fmla="*/ 1955549 h 2122526"/>
              <a:gd name="connsiteX101" fmla="*/ 12192000 w 12192002"/>
              <a:gd name="connsiteY101" fmla="*/ 2122526 h 2122526"/>
              <a:gd name="connsiteX102" fmla="*/ 0 w 12192002"/>
              <a:gd name="connsiteY102" fmla="*/ 2122526 h 2122526"/>
              <a:gd name="connsiteX103" fmla="*/ 0 w 12192002"/>
              <a:gd name="connsiteY103" fmla="*/ 1348327 h 2122526"/>
              <a:gd name="connsiteX104" fmla="*/ 2 w 12192002"/>
              <a:gd name="connsiteY104" fmla="*/ 1348327 h 2122526"/>
              <a:gd name="connsiteX105" fmla="*/ 2 w 12192002"/>
              <a:gd name="connsiteY105" fmla="*/ 592017 h 2122526"/>
              <a:gd name="connsiteX106" fmla="*/ 15526 w 12192002"/>
              <a:gd name="connsiteY106" fmla="*/ 586548 h 2122526"/>
              <a:gd name="connsiteX107" fmla="*/ 118381 w 12192002"/>
              <a:gd name="connsiteY107" fmla="*/ 583692 h 2122526"/>
              <a:gd name="connsiteX108" fmla="*/ 292435 w 12192002"/>
              <a:gd name="connsiteY108" fmla="*/ 531887 h 2122526"/>
              <a:gd name="connsiteX109" fmla="*/ 404015 w 12192002"/>
              <a:gd name="connsiteY109" fmla="*/ 511191 h 2122526"/>
              <a:gd name="connsiteX110" fmla="*/ 445099 w 12192002"/>
              <a:gd name="connsiteY110" fmla="*/ 505368 h 2122526"/>
              <a:gd name="connsiteX111" fmla="*/ 571717 w 12192002"/>
              <a:gd name="connsiteY111" fmla="*/ 467338 h 2122526"/>
              <a:gd name="connsiteX112" fmla="*/ 578535 w 12192002"/>
              <a:gd name="connsiteY112" fmla="*/ 467527 h 2122526"/>
              <a:gd name="connsiteX113" fmla="*/ 596792 w 12192002"/>
              <a:gd name="connsiteY113" fmla="*/ 464875 h 2122526"/>
              <a:gd name="connsiteX114" fmla="*/ 708875 w 12192002"/>
              <a:gd name="connsiteY114" fmla="*/ 422017 h 2122526"/>
              <a:gd name="connsiteX115" fmla="*/ 719742 w 12192002"/>
              <a:gd name="connsiteY115" fmla="*/ 416340 h 2122526"/>
              <a:gd name="connsiteX116" fmla="*/ 720047 w 12192002"/>
              <a:gd name="connsiteY116" fmla="*/ 415078 h 2122526"/>
              <a:gd name="connsiteX117" fmla="*/ 763053 w 12192002"/>
              <a:gd name="connsiteY117" fmla="*/ 414307 h 2122526"/>
              <a:gd name="connsiteX118" fmla="*/ 767901 w 12192002"/>
              <a:gd name="connsiteY118" fmla="*/ 412086 h 2122526"/>
              <a:gd name="connsiteX119" fmla="*/ 797041 w 12192002"/>
              <a:gd name="connsiteY119" fmla="*/ 414293 h 2122526"/>
              <a:gd name="connsiteX120" fmla="*/ 811506 w 12192002"/>
              <a:gd name="connsiteY120" fmla="*/ 413988 h 2122526"/>
              <a:gd name="connsiteX121" fmla="*/ 816809 w 12192002"/>
              <a:gd name="connsiteY121" fmla="*/ 416882 h 2122526"/>
              <a:gd name="connsiteX122" fmla="*/ 837540 w 12192002"/>
              <a:gd name="connsiteY122" fmla="*/ 414918 h 2122526"/>
              <a:gd name="connsiteX123" fmla="*/ 858269 w 12192002"/>
              <a:gd name="connsiteY123" fmla="*/ 416131 h 2122526"/>
              <a:gd name="connsiteX124" fmla="*/ 948732 w 12192002"/>
              <a:gd name="connsiteY124" fmla="*/ 404293 h 2122526"/>
              <a:gd name="connsiteX125" fmla="*/ 1149979 w 12192002"/>
              <a:gd name="connsiteY125" fmla="*/ 406698 h 2122526"/>
              <a:gd name="connsiteX126" fmla="*/ 1496110 w 12192002"/>
              <a:gd name="connsiteY126" fmla="*/ 357263 h 2122526"/>
              <a:gd name="connsiteX127" fmla="*/ 1608669 w 12192002"/>
              <a:gd name="connsiteY127" fmla="*/ 331673 h 2122526"/>
              <a:gd name="connsiteX128" fmla="*/ 1675071 w 12192002"/>
              <a:gd name="connsiteY128" fmla="*/ 324776 h 2122526"/>
              <a:gd name="connsiteX129" fmla="*/ 1738204 w 12192002"/>
              <a:gd name="connsiteY129" fmla="*/ 308427 h 2122526"/>
              <a:gd name="connsiteX130" fmla="*/ 1786655 w 12192002"/>
              <a:gd name="connsiteY130" fmla="*/ 303376 h 2122526"/>
              <a:gd name="connsiteX131" fmla="*/ 1873080 w 12192002"/>
              <a:gd name="connsiteY131" fmla="*/ 330998 h 2122526"/>
              <a:gd name="connsiteX132" fmla="*/ 1921650 w 12192002"/>
              <a:gd name="connsiteY132" fmla="*/ 332593 h 2122526"/>
              <a:gd name="connsiteX133" fmla="*/ 1928172 w 12192002"/>
              <a:gd name="connsiteY133" fmla="*/ 327762 h 2122526"/>
              <a:gd name="connsiteX134" fmla="*/ 1997356 w 12192002"/>
              <a:gd name="connsiteY134" fmla="*/ 349707 h 2122526"/>
              <a:gd name="connsiteX135" fmla="*/ 2094665 w 12192002"/>
              <a:gd name="connsiteY135" fmla="*/ 341687 h 2122526"/>
              <a:gd name="connsiteX136" fmla="*/ 2208578 w 12192002"/>
              <a:gd name="connsiteY136" fmla="*/ 324976 h 2122526"/>
              <a:gd name="connsiteX137" fmla="*/ 2315112 w 12192002"/>
              <a:gd name="connsiteY137" fmla="*/ 319743 h 2122526"/>
              <a:gd name="connsiteX138" fmla="*/ 2443255 w 12192002"/>
              <a:gd name="connsiteY138" fmla="*/ 328210 h 2122526"/>
              <a:gd name="connsiteX139" fmla="*/ 2568028 w 12192002"/>
              <a:gd name="connsiteY139" fmla="*/ 342111 h 2122526"/>
              <a:gd name="connsiteX140" fmla="*/ 2646527 w 12192002"/>
              <a:gd name="connsiteY140" fmla="*/ 315870 h 2122526"/>
              <a:gd name="connsiteX141" fmla="*/ 2781569 w 12192002"/>
              <a:gd name="connsiteY141" fmla="*/ 326406 h 2122526"/>
              <a:gd name="connsiteX142" fmla="*/ 3030291 w 12192002"/>
              <a:gd name="connsiteY142" fmla="*/ 348227 h 2122526"/>
              <a:gd name="connsiteX143" fmla="*/ 3142556 w 12192002"/>
              <a:gd name="connsiteY143" fmla="*/ 350870 h 2122526"/>
              <a:gd name="connsiteX144" fmla="*/ 3262356 w 12192002"/>
              <a:gd name="connsiteY144" fmla="*/ 358645 h 2122526"/>
              <a:gd name="connsiteX145" fmla="*/ 3341698 w 12192002"/>
              <a:gd name="connsiteY145" fmla="*/ 364522 h 2122526"/>
              <a:gd name="connsiteX146" fmla="*/ 3344026 w 12192002"/>
              <a:gd name="connsiteY146" fmla="*/ 363547 h 2122526"/>
              <a:gd name="connsiteX147" fmla="*/ 3363888 w 12192002"/>
              <a:gd name="connsiteY147" fmla="*/ 365229 h 2122526"/>
              <a:gd name="connsiteX148" fmla="*/ 3400728 w 12192002"/>
              <a:gd name="connsiteY148" fmla="*/ 382181 h 2122526"/>
              <a:gd name="connsiteX149" fmla="*/ 3473223 w 12192002"/>
              <a:gd name="connsiteY149" fmla="*/ 370133 h 2122526"/>
              <a:gd name="connsiteX150" fmla="*/ 3536135 w 12192002"/>
              <a:gd name="connsiteY150" fmla="*/ 366472 h 2122526"/>
              <a:gd name="connsiteX151" fmla="*/ 3585978 w 12192002"/>
              <a:gd name="connsiteY151" fmla="*/ 356773 h 2122526"/>
              <a:gd name="connsiteX152" fmla="*/ 3594501 w 12192002"/>
              <a:gd name="connsiteY152" fmla="*/ 357463 h 2122526"/>
              <a:gd name="connsiteX153" fmla="*/ 3594736 w 12192002"/>
              <a:gd name="connsiteY153" fmla="*/ 357194 h 2122526"/>
              <a:gd name="connsiteX154" fmla="*/ 3603855 w 12192002"/>
              <a:gd name="connsiteY154" fmla="*/ 357358 h 2122526"/>
              <a:gd name="connsiteX155" fmla="*/ 3610035 w 12192002"/>
              <a:gd name="connsiteY155" fmla="*/ 358720 h 2122526"/>
              <a:gd name="connsiteX156" fmla="*/ 3682513 w 12192002"/>
              <a:gd name="connsiteY156" fmla="*/ 326449 h 2122526"/>
              <a:gd name="connsiteX157" fmla="*/ 3789760 w 12192002"/>
              <a:gd name="connsiteY157" fmla="*/ 302526 h 2122526"/>
              <a:gd name="connsiteX158" fmla="*/ 3897275 w 12192002"/>
              <a:gd name="connsiteY158" fmla="*/ 282288 h 2122526"/>
              <a:gd name="connsiteX159" fmla="*/ 3936846 w 12192002"/>
              <a:gd name="connsiteY159" fmla="*/ 276633 h 2122526"/>
              <a:gd name="connsiteX160" fmla="*/ 4004538 w 12192002"/>
              <a:gd name="connsiteY160" fmla="*/ 259176 h 2122526"/>
              <a:gd name="connsiteX161" fmla="*/ 4033778 w 12192002"/>
              <a:gd name="connsiteY161" fmla="*/ 246608 h 2122526"/>
              <a:gd name="connsiteX162" fmla="*/ 4035363 w 12192002"/>
              <a:gd name="connsiteY162" fmla="*/ 246843 h 2122526"/>
              <a:gd name="connsiteX163" fmla="*/ 4036996 w 12192002"/>
              <a:gd name="connsiteY163" fmla="*/ 243176 h 2122526"/>
              <a:gd name="connsiteX164" fmla="*/ 4042364 w 12192002"/>
              <a:gd name="connsiteY164" fmla="*/ 240742 h 2122526"/>
              <a:gd name="connsiteX165" fmla="*/ 4058954 w 12192002"/>
              <a:gd name="connsiteY165" fmla="*/ 239121 h 2122526"/>
              <a:gd name="connsiteX166" fmla="*/ 4065510 w 12192002"/>
              <a:gd name="connsiteY166" fmla="*/ 239339 h 2122526"/>
              <a:gd name="connsiteX167" fmla="*/ 4074427 w 12192002"/>
              <a:gd name="connsiteY167" fmla="*/ 237895 h 2122526"/>
              <a:gd name="connsiteX168" fmla="*/ 4074546 w 12192002"/>
              <a:gd name="connsiteY168" fmla="*/ 237596 h 2122526"/>
              <a:gd name="connsiteX169" fmla="*/ 4083097 w 12192002"/>
              <a:gd name="connsiteY169" fmla="*/ 236761 h 2122526"/>
              <a:gd name="connsiteX170" fmla="*/ 4142745 w 12192002"/>
              <a:gd name="connsiteY170" fmla="*/ 210228 h 2122526"/>
              <a:gd name="connsiteX171" fmla="*/ 4191248 w 12192002"/>
              <a:gd name="connsiteY171" fmla="*/ 194363 h 2122526"/>
              <a:gd name="connsiteX172" fmla="*/ 4201744 w 12192002"/>
              <a:gd name="connsiteY172" fmla="*/ 188729 h 2122526"/>
              <a:gd name="connsiteX173" fmla="*/ 4202048 w 12192002"/>
              <a:gd name="connsiteY173" fmla="*/ 187470 h 2122526"/>
              <a:gd name="connsiteX174" fmla="*/ 4248116 w 12192002"/>
              <a:gd name="connsiteY174" fmla="*/ 184675 h 2122526"/>
              <a:gd name="connsiteX175" fmla="*/ 4276141 w 12192002"/>
              <a:gd name="connsiteY175" fmla="*/ 186999 h 2122526"/>
              <a:gd name="connsiteX176" fmla="*/ 4290062 w 12192002"/>
              <a:gd name="connsiteY176" fmla="*/ 186753 h 2122526"/>
              <a:gd name="connsiteX177" fmla="*/ 4295143 w 12192002"/>
              <a:gd name="connsiteY177" fmla="*/ 189670 h 2122526"/>
              <a:gd name="connsiteX178" fmla="*/ 4315108 w 12192002"/>
              <a:gd name="connsiteY178" fmla="*/ 187791 h 2122526"/>
              <a:gd name="connsiteX179" fmla="*/ 4316965 w 12192002"/>
              <a:gd name="connsiteY179" fmla="*/ 186450 h 2122526"/>
              <a:gd name="connsiteX180" fmla="*/ 4362875 w 12192002"/>
              <a:gd name="connsiteY180" fmla="*/ 193065 h 2122526"/>
              <a:gd name="connsiteX181" fmla="*/ 4428542 w 12192002"/>
              <a:gd name="connsiteY181" fmla="*/ 191719 h 2122526"/>
              <a:gd name="connsiteX182" fmla="*/ 4515813 w 12192002"/>
              <a:gd name="connsiteY182" fmla="*/ 181068 h 2122526"/>
              <a:gd name="connsiteX183" fmla="*/ 4715526 w 12192002"/>
              <a:gd name="connsiteY183" fmla="*/ 171166 h 2122526"/>
              <a:gd name="connsiteX184" fmla="*/ 4762447 w 12192002"/>
              <a:gd name="connsiteY184" fmla="*/ 162678 h 2122526"/>
              <a:gd name="connsiteX185" fmla="*/ 4840439 w 12192002"/>
              <a:gd name="connsiteY185" fmla="*/ 134910 h 2122526"/>
              <a:gd name="connsiteX186" fmla="*/ 5011513 w 12192002"/>
              <a:gd name="connsiteY186" fmla="*/ 110893 h 2122526"/>
              <a:gd name="connsiteX187" fmla="*/ 5065790 w 12192002"/>
              <a:gd name="connsiteY187" fmla="*/ 94512 h 2122526"/>
              <a:gd name="connsiteX188" fmla="*/ 5121659 w 12192002"/>
              <a:gd name="connsiteY188" fmla="*/ 101083 h 2122526"/>
              <a:gd name="connsiteX189" fmla="*/ 5139595 w 12192002"/>
              <a:gd name="connsiteY189" fmla="*/ 90230 h 2122526"/>
              <a:gd name="connsiteX190" fmla="*/ 5142598 w 12192002"/>
              <a:gd name="connsiteY190" fmla="*/ 88129 h 2122526"/>
              <a:gd name="connsiteX191" fmla="*/ 5156554 w 12192002"/>
              <a:gd name="connsiteY191" fmla="*/ 84729 h 2122526"/>
              <a:gd name="connsiteX192" fmla="*/ 5174660 w 12192002"/>
              <a:gd name="connsiteY192" fmla="*/ 77506 h 2122526"/>
              <a:gd name="connsiteX193" fmla="*/ 5222961 w 12192002"/>
              <a:gd name="connsiteY193" fmla="*/ 74516 h 2122526"/>
              <a:gd name="connsiteX194" fmla="*/ 5261763 w 12192002"/>
              <a:gd name="connsiteY194" fmla="*/ 63392 h 2122526"/>
              <a:gd name="connsiteX195" fmla="*/ 5381667 w 12192002"/>
              <a:gd name="connsiteY195" fmla="*/ 42975 h 2122526"/>
              <a:gd name="connsiteX196" fmla="*/ 5432760 w 12192002"/>
              <a:gd name="connsiteY196" fmla="*/ 25273 h 2122526"/>
              <a:gd name="connsiteX197" fmla="*/ 5470905 w 12192002"/>
              <a:gd name="connsiteY197" fmla="*/ 14020 h 2122526"/>
              <a:gd name="connsiteX198" fmla="*/ 5626960 w 12192002"/>
              <a:gd name="connsiteY198" fmla="*/ 0 h 2122526"/>
              <a:gd name="connsiteX0" fmla="*/ 5626960 w 12192002"/>
              <a:gd name="connsiteY0" fmla="*/ 0 h 2122526"/>
              <a:gd name="connsiteX1" fmla="*/ 5758918 w 12192002"/>
              <a:gd name="connsiteY1" fmla="*/ 1023 h 2122526"/>
              <a:gd name="connsiteX2" fmla="*/ 5957375 w 12192002"/>
              <a:gd name="connsiteY2" fmla="*/ 16715 h 2122526"/>
              <a:gd name="connsiteX3" fmla="*/ 6010090 w 12192002"/>
              <a:gd name="connsiteY3" fmla="*/ 20359 h 2122526"/>
              <a:gd name="connsiteX4" fmla="*/ 6041282 w 12192002"/>
              <a:gd name="connsiteY4" fmla="*/ 15266 h 2122526"/>
              <a:gd name="connsiteX5" fmla="*/ 6048637 w 12192002"/>
              <a:gd name="connsiteY5" fmla="*/ 6917 h 2122526"/>
              <a:gd name="connsiteX6" fmla="*/ 6068529 w 12192002"/>
              <a:gd name="connsiteY6" fmla="*/ 7600 h 2122526"/>
              <a:gd name="connsiteX7" fmla="*/ 6073847 w 12192002"/>
              <a:gd name="connsiteY7" fmla="*/ 6063 h 2122526"/>
              <a:gd name="connsiteX8" fmla="*/ 6168673 w 12192002"/>
              <a:gd name="connsiteY8" fmla="*/ 26525 h 2122526"/>
              <a:gd name="connsiteX9" fmla="*/ 6317559 w 12192002"/>
              <a:gd name="connsiteY9" fmla="*/ 28612 h 2122526"/>
              <a:gd name="connsiteX10" fmla="*/ 6549454 w 12192002"/>
              <a:gd name="connsiteY10" fmla="*/ 75412 h 2122526"/>
              <a:gd name="connsiteX11" fmla="*/ 6708221 w 12192002"/>
              <a:gd name="connsiteY11" fmla="*/ 104188 h 2122526"/>
              <a:gd name="connsiteX12" fmla="*/ 6904145 w 12192002"/>
              <a:gd name="connsiteY12" fmla="*/ 132143 h 2122526"/>
              <a:gd name="connsiteX13" fmla="*/ 7018495 w 12192002"/>
              <a:gd name="connsiteY13" fmla="*/ 161649 h 2122526"/>
              <a:gd name="connsiteX14" fmla="*/ 7096987 w 12192002"/>
              <a:gd name="connsiteY14" fmla="*/ 161275 h 2122526"/>
              <a:gd name="connsiteX15" fmla="*/ 7170807 w 12192002"/>
              <a:gd name="connsiteY15" fmla="*/ 173503 h 2122526"/>
              <a:gd name="connsiteX16" fmla="*/ 7197003 w 12192002"/>
              <a:gd name="connsiteY16" fmla="*/ 178151 h 2122526"/>
              <a:gd name="connsiteX17" fmla="*/ 7201101 w 12192002"/>
              <a:gd name="connsiteY17" fmla="*/ 183509 h 2122526"/>
              <a:gd name="connsiteX18" fmla="*/ 7218559 w 12192002"/>
              <a:gd name="connsiteY18" fmla="*/ 188059 h 2122526"/>
              <a:gd name="connsiteX19" fmla="*/ 7310852 w 12192002"/>
              <a:gd name="connsiteY19" fmla="*/ 213308 h 2122526"/>
              <a:gd name="connsiteX20" fmla="*/ 7312179 w 12192002"/>
              <a:gd name="connsiteY20" fmla="*/ 211866 h 2122526"/>
              <a:gd name="connsiteX21" fmla="*/ 7405390 w 12192002"/>
              <a:gd name="connsiteY21" fmla="*/ 202271 h 2122526"/>
              <a:gd name="connsiteX22" fmla="*/ 7495794 w 12192002"/>
              <a:gd name="connsiteY22" fmla="*/ 194166 h 2122526"/>
              <a:gd name="connsiteX23" fmla="*/ 7507039 w 12192002"/>
              <a:gd name="connsiteY23" fmla="*/ 196118 h 2122526"/>
              <a:gd name="connsiteX24" fmla="*/ 7507411 w 12192002"/>
              <a:gd name="connsiteY24" fmla="*/ 195791 h 2122526"/>
              <a:gd name="connsiteX25" fmla="*/ 7519570 w 12192002"/>
              <a:gd name="connsiteY25" fmla="*/ 197126 h 2122526"/>
              <a:gd name="connsiteX26" fmla="*/ 7527542 w 12192002"/>
              <a:gd name="connsiteY26" fmla="*/ 199679 h 2122526"/>
              <a:gd name="connsiteX27" fmla="*/ 7614346 w 12192002"/>
              <a:gd name="connsiteY27" fmla="*/ 205507 h 2122526"/>
              <a:gd name="connsiteX28" fmla="*/ 7718744 w 12192002"/>
              <a:gd name="connsiteY28" fmla="*/ 202036 h 2122526"/>
              <a:gd name="connsiteX29" fmla="*/ 7905407 w 12192002"/>
              <a:gd name="connsiteY29" fmla="*/ 227751 h 2122526"/>
              <a:gd name="connsiteX30" fmla="*/ 8090271 w 12192002"/>
              <a:gd name="connsiteY30" fmla="*/ 269724 h 2122526"/>
              <a:gd name="connsiteX31" fmla="*/ 8245834 w 12192002"/>
              <a:gd name="connsiteY31" fmla="*/ 315885 h 2122526"/>
              <a:gd name="connsiteX32" fmla="*/ 8252033 w 12192002"/>
              <a:gd name="connsiteY32" fmla="*/ 328877 h 2122526"/>
              <a:gd name="connsiteX33" fmla="*/ 8263376 w 12192002"/>
              <a:gd name="connsiteY33" fmla="*/ 338720 h 2122526"/>
              <a:gd name="connsiteX34" fmla="*/ 8266075 w 12192002"/>
              <a:gd name="connsiteY34" fmla="*/ 338490 h 2122526"/>
              <a:gd name="connsiteX35" fmla="*/ 8283149 w 12192002"/>
              <a:gd name="connsiteY35" fmla="*/ 345665 h 2122526"/>
              <a:gd name="connsiteX36" fmla="*/ 8284276 w 12192002"/>
              <a:gd name="connsiteY36" fmla="*/ 350108 h 2122526"/>
              <a:gd name="connsiteX37" fmla="*/ 8295173 w 12192002"/>
              <a:gd name="connsiteY37" fmla="*/ 355931 h 2122526"/>
              <a:gd name="connsiteX38" fmla="*/ 8314432 w 12192002"/>
              <a:gd name="connsiteY38" fmla="*/ 369826 h 2122526"/>
              <a:gd name="connsiteX39" fmla="*/ 8320104 w 12192002"/>
              <a:gd name="connsiteY39" fmla="*/ 370152 h 2122526"/>
              <a:gd name="connsiteX40" fmla="*/ 8352372 w 12192002"/>
              <a:gd name="connsiteY40" fmla="*/ 387570 h 2122526"/>
              <a:gd name="connsiteX41" fmla="*/ 8353799 w 12192002"/>
              <a:gd name="connsiteY41" fmla="*/ 386730 h 2122526"/>
              <a:gd name="connsiteX42" fmla="*/ 8367182 w 12192002"/>
              <a:gd name="connsiteY42" fmla="*/ 386924 h 2122526"/>
              <a:gd name="connsiteX43" fmla="*/ 8490249 w 12192002"/>
              <a:gd name="connsiteY43" fmla="*/ 400966 h 2122526"/>
              <a:gd name="connsiteX44" fmla="*/ 8497594 w 12192002"/>
              <a:gd name="connsiteY44" fmla="*/ 404016 h 2122526"/>
              <a:gd name="connsiteX45" fmla="*/ 8497968 w 12192002"/>
              <a:gd name="connsiteY45" fmla="*/ 403837 h 2122526"/>
              <a:gd name="connsiteX46" fmla="*/ 8506167 w 12192002"/>
              <a:gd name="connsiteY46" fmla="*/ 406575 h 2122526"/>
              <a:gd name="connsiteX47" fmla="*/ 8510983 w 12192002"/>
              <a:gd name="connsiteY47" fmla="*/ 409576 h 2122526"/>
              <a:gd name="connsiteX48" fmla="*/ 8525230 w 12192002"/>
              <a:gd name="connsiteY48" fmla="*/ 415491 h 2122526"/>
              <a:gd name="connsiteX49" fmla="*/ 8596071 w 12192002"/>
              <a:gd name="connsiteY49" fmla="*/ 400649 h 2122526"/>
              <a:gd name="connsiteX50" fmla="*/ 8707847 w 12192002"/>
              <a:gd name="connsiteY50" fmla="*/ 409221 h 2122526"/>
              <a:gd name="connsiteX51" fmla="*/ 8752444 w 12192002"/>
              <a:gd name="connsiteY51" fmla="*/ 411322 h 2122526"/>
              <a:gd name="connsiteX52" fmla="*/ 8928988 w 12192002"/>
              <a:gd name="connsiteY52" fmla="*/ 430554 h 2122526"/>
              <a:gd name="connsiteX53" fmla="*/ 8963048 w 12192002"/>
              <a:gd name="connsiteY53" fmla="*/ 427366 h 2122526"/>
              <a:gd name="connsiteX54" fmla="*/ 8968011 w 12192002"/>
              <a:gd name="connsiteY54" fmla="*/ 425141 h 2122526"/>
              <a:gd name="connsiteX55" fmla="*/ 8974337 w 12192002"/>
              <a:gd name="connsiteY55" fmla="*/ 424441 h 2122526"/>
              <a:gd name="connsiteX56" fmla="*/ 8990394 w 12192002"/>
              <a:gd name="connsiteY56" fmla="*/ 427667 h 2122526"/>
              <a:gd name="connsiteX57" fmla="*/ 8996232 w 12192002"/>
              <a:gd name="connsiteY57" fmla="*/ 429728 h 2122526"/>
              <a:gd name="connsiteX58" fmla="*/ 9005201 w 12192002"/>
              <a:gd name="connsiteY58" fmla="*/ 430939 h 2122526"/>
              <a:gd name="connsiteX59" fmla="*/ 9005486 w 12192002"/>
              <a:gd name="connsiteY59" fmla="*/ 430699 h 2122526"/>
              <a:gd name="connsiteX60" fmla="*/ 9053453 w 12192002"/>
              <a:gd name="connsiteY60" fmla="*/ 433984 h 2122526"/>
              <a:gd name="connsiteX61" fmla="*/ 9113812 w 12192002"/>
              <a:gd name="connsiteY61" fmla="*/ 425670 h 2122526"/>
              <a:gd name="connsiteX62" fmla="*/ 9137318 w 12192002"/>
              <a:gd name="connsiteY62" fmla="*/ 424304 h 2122526"/>
              <a:gd name="connsiteX63" fmla="*/ 9150210 w 12192002"/>
              <a:gd name="connsiteY63" fmla="*/ 422135 h 2122526"/>
              <a:gd name="connsiteX64" fmla="*/ 9151232 w 12192002"/>
              <a:gd name="connsiteY64" fmla="*/ 421070 h 2122526"/>
              <a:gd name="connsiteX65" fmla="*/ 9189246 w 12192002"/>
              <a:gd name="connsiteY65" fmla="*/ 432272 h 2122526"/>
              <a:gd name="connsiteX66" fmla="*/ 9194810 w 12192002"/>
              <a:gd name="connsiteY66" fmla="*/ 441511 h 2122526"/>
              <a:gd name="connsiteX67" fmla="*/ 9231370 w 12192002"/>
              <a:gd name="connsiteY67" fmla="*/ 451590 h 2122526"/>
              <a:gd name="connsiteX68" fmla="*/ 9343052 w 12192002"/>
              <a:gd name="connsiteY68" fmla="*/ 503495 h 2122526"/>
              <a:gd name="connsiteX69" fmla="*/ 9584507 w 12192002"/>
              <a:gd name="connsiteY69" fmla="*/ 549197 h 2122526"/>
              <a:gd name="connsiteX70" fmla="*/ 9728309 w 12192002"/>
              <a:gd name="connsiteY70" fmla="*/ 560617 h 2122526"/>
              <a:gd name="connsiteX71" fmla="*/ 9847792 w 12192002"/>
              <a:gd name="connsiteY71" fmla="*/ 580824 h 2122526"/>
              <a:gd name="connsiteX72" fmla="*/ 9960019 w 12192002"/>
              <a:gd name="connsiteY72" fmla="*/ 587592 h 2122526"/>
              <a:gd name="connsiteX73" fmla="*/ 10039240 w 12192002"/>
              <a:gd name="connsiteY73" fmla="*/ 603107 h 2122526"/>
              <a:gd name="connsiteX74" fmla="*/ 10082169 w 12192002"/>
              <a:gd name="connsiteY74" fmla="*/ 601443 h 2122526"/>
              <a:gd name="connsiteX75" fmla="*/ 10126500 w 12192002"/>
              <a:gd name="connsiteY75" fmla="*/ 603538 h 2122526"/>
              <a:gd name="connsiteX76" fmla="*/ 10261101 w 12192002"/>
              <a:gd name="connsiteY76" fmla="*/ 615053 h 2122526"/>
              <a:gd name="connsiteX77" fmla="*/ 10336855 w 12192002"/>
              <a:gd name="connsiteY77" fmla="*/ 624804 h 2122526"/>
              <a:gd name="connsiteX78" fmla="*/ 10383868 w 12192002"/>
              <a:gd name="connsiteY78" fmla="*/ 625415 h 2122526"/>
              <a:gd name="connsiteX79" fmla="*/ 10445984 w 12192002"/>
              <a:gd name="connsiteY79" fmla="*/ 629262 h 2122526"/>
              <a:gd name="connsiteX80" fmla="*/ 10519280 w 12192002"/>
              <a:gd name="connsiteY80" fmla="*/ 631320 h 2122526"/>
              <a:gd name="connsiteX81" fmla="*/ 10644619 w 12192002"/>
              <a:gd name="connsiteY81" fmla="*/ 651566 h 2122526"/>
              <a:gd name="connsiteX82" fmla="*/ 10857724 w 12192002"/>
              <a:gd name="connsiteY82" fmla="*/ 712684 h 2122526"/>
              <a:gd name="connsiteX83" fmla="*/ 10951063 w 12192002"/>
              <a:gd name="connsiteY83" fmla="*/ 725767 h 2122526"/>
              <a:gd name="connsiteX84" fmla="*/ 11030956 w 12192002"/>
              <a:gd name="connsiteY84" fmla="*/ 721011 h 2122526"/>
              <a:gd name="connsiteX85" fmla="*/ 11085938 w 12192002"/>
              <a:gd name="connsiteY85" fmla="*/ 723892 h 2122526"/>
              <a:gd name="connsiteX86" fmla="*/ 11143411 w 12192002"/>
              <a:gd name="connsiteY86" fmla="*/ 733141 h 2122526"/>
              <a:gd name="connsiteX87" fmla="*/ 11195087 w 12192002"/>
              <a:gd name="connsiteY87" fmla="*/ 732494 h 2122526"/>
              <a:gd name="connsiteX88" fmla="*/ 11273972 w 12192002"/>
              <a:gd name="connsiteY88" fmla="*/ 729660 h 2122526"/>
              <a:gd name="connsiteX89" fmla="*/ 11369715 w 12192002"/>
              <a:gd name="connsiteY89" fmla="*/ 813181 h 2122526"/>
              <a:gd name="connsiteX90" fmla="*/ 11462695 w 12192002"/>
              <a:gd name="connsiteY90" fmla="*/ 874654 h 2122526"/>
              <a:gd name="connsiteX91" fmla="*/ 11564181 w 12192002"/>
              <a:gd name="connsiteY91" fmla="*/ 888450 h 2122526"/>
              <a:gd name="connsiteX92" fmla="*/ 11684760 w 12192002"/>
              <a:gd name="connsiteY92" fmla="*/ 929360 h 2122526"/>
              <a:gd name="connsiteX93" fmla="*/ 11744187 w 12192002"/>
              <a:gd name="connsiteY93" fmla="*/ 984253 h 2122526"/>
              <a:gd name="connsiteX94" fmla="*/ 11834979 w 12192002"/>
              <a:gd name="connsiteY94" fmla="*/ 1013094 h 2122526"/>
              <a:gd name="connsiteX95" fmla="*/ 11925839 w 12192002"/>
              <a:gd name="connsiteY95" fmla="*/ 1110203 h 2122526"/>
              <a:gd name="connsiteX96" fmla="*/ 12084140 w 12192002"/>
              <a:gd name="connsiteY96" fmla="*/ 1007396 h 2122526"/>
              <a:gd name="connsiteX97" fmla="*/ 12140863 w 12192002"/>
              <a:gd name="connsiteY97" fmla="*/ 1035036 h 2122526"/>
              <a:gd name="connsiteX98" fmla="*/ 12192002 w 12192002"/>
              <a:gd name="connsiteY98" fmla="*/ 1015838 h 2122526"/>
              <a:gd name="connsiteX99" fmla="*/ 12192002 w 12192002"/>
              <a:gd name="connsiteY99" fmla="*/ 1955549 h 2122526"/>
              <a:gd name="connsiteX100" fmla="*/ 12192000 w 12192002"/>
              <a:gd name="connsiteY100" fmla="*/ 1955549 h 2122526"/>
              <a:gd name="connsiteX101" fmla="*/ 12192000 w 12192002"/>
              <a:gd name="connsiteY101" fmla="*/ 2122526 h 2122526"/>
              <a:gd name="connsiteX102" fmla="*/ 0 w 12192002"/>
              <a:gd name="connsiteY102" fmla="*/ 2122526 h 2122526"/>
              <a:gd name="connsiteX103" fmla="*/ 0 w 12192002"/>
              <a:gd name="connsiteY103" fmla="*/ 1348327 h 2122526"/>
              <a:gd name="connsiteX104" fmla="*/ 2 w 12192002"/>
              <a:gd name="connsiteY104" fmla="*/ 1348327 h 2122526"/>
              <a:gd name="connsiteX105" fmla="*/ 2 w 12192002"/>
              <a:gd name="connsiteY105" fmla="*/ 592017 h 2122526"/>
              <a:gd name="connsiteX106" fmla="*/ 15526 w 12192002"/>
              <a:gd name="connsiteY106" fmla="*/ 586548 h 2122526"/>
              <a:gd name="connsiteX107" fmla="*/ 118381 w 12192002"/>
              <a:gd name="connsiteY107" fmla="*/ 583692 h 2122526"/>
              <a:gd name="connsiteX108" fmla="*/ 292435 w 12192002"/>
              <a:gd name="connsiteY108" fmla="*/ 531887 h 2122526"/>
              <a:gd name="connsiteX109" fmla="*/ 404015 w 12192002"/>
              <a:gd name="connsiteY109" fmla="*/ 511191 h 2122526"/>
              <a:gd name="connsiteX110" fmla="*/ 445099 w 12192002"/>
              <a:gd name="connsiteY110" fmla="*/ 505368 h 2122526"/>
              <a:gd name="connsiteX111" fmla="*/ 571717 w 12192002"/>
              <a:gd name="connsiteY111" fmla="*/ 467338 h 2122526"/>
              <a:gd name="connsiteX112" fmla="*/ 578535 w 12192002"/>
              <a:gd name="connsiteY112" fmla="*/ 467527 h 2122526"/>
              <a:gd name="connsiteX113" fmla="*/ 596792 w 12192002"/>
              <a:gd name="connsiteY113" fmla="*/ 464875 h 2122526"/>
              <a:gd name="connsiteX114" fmla="*/ 708875 w 12192002"/>
              <a:gd name="connsiteY114" fmla="*/ 422017 h 2122526"/>
              <a:gd name="connsiteX115" fmla="*/ 719742 w 12192002"/>
              <a:gd name="connsiteY115" fmla="*/ 416340 h 2122526"/>
              <a:gd name="connsiteX116" fmla="*/ 720047 w 12192002"/>
              <a:gd name="connsiteY116" fmla="*/ 415078 h 2122526"/>
              <a:gd name="connsiteX117" fmla="*/ 763053 w 12192002"/>
              <a:gd name="connsiteY117" fmla="*/ 414307 h 2122526"/>
              <a:gd name="connsiteX118" fmla="*/ 767901 w 12192002"/>
              <a:gd name="connsiteY118" fmla="*/ 412086 h 2122526"/>
              <a:gd name="connsiteX119" fmla="*/ 797041 w 12192002"/>
              <a:gd name="connsiteY119" fmla="*/ 414293 h 2122526"/>
              <a:gd name="connsiteX120" fmla="*/ 811506 w 12192002"/>
              <a:gd name="connsiteY120" fmla="*/ 413988 h 2122526"/>
              <a:gd name="connsiteX121" fmla="*/ 816809 w 12192002"/>
              <a:gd name="connsiteY121" fmla="*/ 416882 h 2122526"/>
              <a:gd name="connsiteX122" fmla="*/ 837540 w 12192002"/>
              <a:gd name="connsiteY122" fmla="*/ 414918 h 2122526"/>
              <a:gd name="connsiteX123" fmla="*/ 858269 w 12192002"/>
              <a:gd name="connsiteY123" fmla="*/ 416131 h 2122526"/>
              <a:gd name="connsiteX124" fmla="*/ 948732 w 12192002"/>
              <a:gd name="connsiteY124" fmla="*/ 404293 h 2122526"/>
              <a:gd name="connsiteX125" fmla="*/ 1149979 w 12192002"/>
              <a:gd name="connsiteY125" fmla="*/ 406698 h 2122526"/>
              <a:gd name="connsiteX126" fmla="*/ 1496110 w 12192002"/>
              <a:gd name="connsiteY126" fmla="*/ 357263 h 2122526"/>
              <a:gd name="connsiteX127" fmla="*/ 1608669 w 12192002"/>
              <a:gd name="connsiteY127" fmla="*/ 331673 h 2122526"/>
              <a:gd name="connsiteX128" fmla="*/ 1675071 w 12192002"/>
              <a:gd name="connsiteY128" fmla="*/ 324776 h 2122526"/>
              <a:gd name="connsiteX129" fmla="*/ 1738204 w 12192002"/>
              <a:gd name="connsiteY129" fmla="*/ 308427 h 2122526"/>
              <a:gd name="connsiteX130" fmla="*/ 1786655 w 12192002"/>
              <a:gd name="connsiteY130" fmla="*/ 303376 h 2122526"/>
              <a:gd name="connsiteX131" fmla="*/ 1873080 w 12192002"/>
              <a:gd name="connsiteY131" fmla="*/ 330998 h 2122526"/>
              <a:gd name="connsiteX132" fmla="*/ 1921650 w 12192002"/>
              <a:gd name="connsiteY132" fmla="*/ 332593 h 2122526"/>
              <a:gd name="connsiteX133" fmla="*/ 1928172 w 12192002"/>
              <a:gd name="connsiteY133" fmla="*/ 327762 h 2122526"/>
              <a:gd name="connsiteX134" fmla="*/ 1997356 w 12192002"/>
              <a:gd name="connsiteY134" fmla="*/ 349707 h 2122526"/>
              <a:gd name="connsiteX135" fmla="*/ 2094665 w 12192002"/>
              <a:gd name="connsiteY135" fmla="*/ 341687 h 2122526"/>
              <a:gd name="connsiteX136" fmla="*/ 2208578 w 12192002"/>
              <a:gd name="connsiteY136" fmla="*/ 324976 h 2122526"/>
              <a:gd name="connsiteX137" fmla="*/ 2315112 w 12192002"/>
              <a:gd name="connsiteY137" fmla="*/ 319743 h 2122526"/>
              <a:gd name="connsiteX138" fmla="*/ 2443255 w 12192002"/>
              <a:gd name="connsiteY138" fmla="*/ 328210 h 2122526"/>
              <a:gd name="connsiteX139" fmla="*/ 2568028 w 12192002"/>
              <a:gd name="connsiteY139" fmla="*/ 342111 h 2122526"/>
              <a:gd name="connsiteX140" fmla="*/ 2646527 w 12192002"/>
              <a:gd name="connsiteY140" fmla="*/ 315870 h 2122526"/>
              <a:gd name="connsiteX141" fmla="*/ 2781569 w 12192002"/>
              <a:gd name="connsiteY141" fmla="*/ 326406 h 2122526"/>
              <a:gd name="connsiteX142" fmla="*/ 3030291 w 12192002"/>
              <a:gd name="connsiteY142" fmla="*/ 348227 h 2122526"/>
              <a:gd name="connsiteX143" fmla="*/ 3142556 w 12192002"/>
              <a:gd name="connsiteY143" fmla="*/ 350870 h 2122526"/>
              <a:gd name="connsiteX144" fmla="*/ 3262356 w 12192002"/>
              <a:gd name="connsiteY144" fmla="*/ 358645 h 2122526"/>
              <a:gd name="connsiteX145" fmla="*/ 3341698 w 12192002"/>
              <a:gd name="connsiteY145" fmla="*/ 364522 h 2122526"/>
              <a:gd name="connsiteX146" fmla="*/ 3344026 w 12192002"/>
              <a:gd name="connsiteY146" fmla="*/ 363547 h 2122526"/>
              <a:gd name="connsiteX147" fmla="*/ 3363888 w 12192002"/>
              <a:gd name="connsiteY147" fmla="*/ 365229 h 2122526"/>
              <a:gd name="connsiteX148" fmla="*/ 3400728 w 12192002"/>
              <a:gd name="connsiteY148" fmla="*/ 382181 h 2122526"/>
              <a:gd name="connsiteX149" fmla="*/ 3473223 w 12192002"/>
              <a:gd name="connsiteY149" fmla="*/ 370133 h 2122526"/>
              <a:gd name="connsiteX150" fmla="*/ 3536135 w 12192002"/>
              <a:gd name="connsiteY150" fmla="*/ 366472 h 2122526"/>
              <a:gd name="connsiteX151" fmla="*/ 3585978 w 12192002"/>
              <a:gd name="connsiteY151" fmla="*/ 356773 h 2122526"/>
              <a:gd name="connsiteX152" fmla="*/ 3594501 w 12192002"/>
              <a:gd name="connsiteY152" fmla="*/ 357463 h 2122526"/>
              <a:gd name="connsiteX153" fmla="*/ 3594736 w 12192002"/>
              <a:gd name="connsiteY153" fmla="*/ 357194 h 2122526"/>
              <a:gd name="connsiteX154" fmla="*/ 3603855 w 12192002"/>
              <a:gd name="connsiteY154" fmla="*/ 357358 h 2122526"/>
              <a:gd name="connsiteX155" fmla="*/ 3610035 w 12192002"/>
              <a:gd name="connsiteY155" fmla="*/ 358720 h 2122526"/>
              <a:gd name="connsiteX156" fmla="*/ 3682513 w 12192002"/>
              <a:gd name="connsiteY156" fmla="*/ 326449 h 2122526"/>
              <a:gd name="connsiteX157" fmla="*/ 3789760 w 12192002"/>
              <a:gd name="connsiteY157" fmla="*/ 302526 h 2122526"/>
              <a:gd name="connsiteX158" fmla="*/ 3897275 w 12192002"/>
              <a:gd name="connsiteY158" fmla="*/ 282288 h 2122526"/>
              <a:gd name="connsiteX159" fmla="*/ 3936846 w 12192002"/>
              <a:gd name="connsiteY159" fmla="*/ 276633 h 2122526"/>
              <a:gd name="connsiteX160" fmla="*/ 4004538 w 12192002"/>
              <a:gd name="connsiteY160" fmla="*/ 259176 h 2122526"/>
              <a:gd name="connsiteX161" fmla="*/ 4033778 w 12192002"/>
              <a:gd name="connsiteY161" fmla="*/ 246608 h 2122526"/>
              <a:gd name="connsiteX162" fmla="*/ 4035363 w 12192002"/>
              <a:gd name="connsiteY162" fmla="*/ 246843 h 2122526"/>
              <a:gd name="connsiteX163" fmla="*/ 4036996 w 12192002"/>
              <a:gd name="connsiteY163" fmla="*/ 243176 h 2122526"/>
              <a:gd name="connsiteX164" fmla="*/ 4042364 w 12192002"/>
              <a:gd name="connsiteY164" fmla="*/ 240742 h 2122526"/>
              <a:gd name="connsiteX165" fmla="*/ 4058954 w 12192002"/>
              <a:gd name="connsiteY165" fmla="*/ 239121 h 2122526"/>
              <a:gd name="connsiteX166" fmla="*/ 4065510 w 12192002"/>
              <a:gd name="connsiteY166" fmla="*/ 239339 h 2122526"/>
              <a:gd name="connsiteX167" fmla="*/ 4074427 w 12192002"/>
              <a:gd name="connsiteY167" fmla="*/ 237895 h 2122526"/>
              <a:gd name="connsiteX168" fmla="*/ 4074546 w 12192002"/>
              <a:gd name="connsiteY168" fmla="*/ 237596 h 2122526"/>
              <a:gd name="connsiteX169" fmla="*/ 4083097 w 12192002"/>
              <a:gd name="connsiteY169" fmla="*/ 236761 h 2122526"/>
              <a:gd name="connsiteX170" fmla="*/ 4142745 w 12192002"/>
              <a:gd name="connsiteY170" fmla="*/ 210228 h 2122526"/>
              <a:gd name="connsiteX171" fmla="*/ 4191248 w 12192002"/>
              <a:gd name="connsiteY171" fmla="*/ 194363 h 2122526"/>
              <a:gd name="connsiteX172" fmla="*/ 4201744 w 12192002"/>
              <a:gd name="connsiteY172" fmla="*/ 188729 h 2122526"/>
              <a:gd name="connsiteX173" fmla="*/ 4202048 w 12192002"/>
              <a:gd name="connsiteY173" fmla="*/ 187470 h 2122526"/>
              <a:gd name="connsiteX174" fmla="*/ 4248116 w 12192002"/>
              <a:gd name="connsiteY174" fmla="*/ 184675 h 2122526"/>
              <a:gd name="connsiteX175" fmla="*/ 4276141 w 12192002"/>
              <a:gd name="connsiteY175" fmla="*/ 186999 h 2122526"/>
              <a:gd name="connsiteX176" fmla="*/ 4290062 w 12192002"/>
              <a:gd name="connsiteY176" fmla="*/ 186753 h 2122526"/>
              <a:gd name="connsiteX177" fmla="*/ 4295143 w 12192002"/>
              <a:gd name="connsiteY177" fmla="*/ 189670 h 2122526"/>
              <a:gd name="connsiteX178" fmla="*/ 4315108 w 12192002"/>
              <a:gd name="connsiteY178" fmla="*/ 187791 h 2122526"/>
              <a:gd name="connsiteX179" fmla="*/ 4316965 w 12192002"/>
              <a:gd name="connsiteY179" fmla="*/ 186450 h 2122526"/>
              <a:gd name="connsiteX180" fmla="*/ 4362875 w 12192002"/>
              <a:gd name="connsiteY180" fmla="*/ 193065 h 2122526"/>
              <a:gd name="connsiteX181" fmla="*/ 4428542 w 12192002"/>
              <a:gd name="connsiteY181" fmla="*/ 191719 h 2122526"/>
              <a:gd name="connsiteX182" fmla="*/ 4515813 w 12192002"/>
              <a:gd name="connsiteY182" fmla="*/ 181068 h 2122526"/>
              <a:gd name="connsiteX183" fmla="*/ 4715526 w 12192002"/>
              <a:gd name="connsiteY183" fmla="*/ 171166 h 2122526"/>
              <a:gd name="connsiteX184" fmla="*/ 4762447 w 12192002"/>
              <a:gd name="connsiteY184" fmla="*/ 162678 h 2122526"/>
              <a:gd name="connsiteX185" fmla="*/ 4840439 w 12192002"/>
              <a:gd name="connsiteY185" fmla="*/ 134910 h 2122526"/>
              <a:gd name="connsiteX186" fmla="*/ 5011513 w 12192002"/>
              <a:gd name="connsiteY186" fmla="*/ 110893 h 2122526"/>
              <a:gd name="connsiteX187" fmla="*/ 5065790 w 12192002"/>
              <a:gd name="connsiteY187" fmla="*/ 94512 h 2122526"/>
              <a:gd name="connsiteX188" fmla="*/ 5121659 w 12192002"/>
              <a:gd name="connsiteY188" fmla="*/ 101083 h 2122526"/>
              <a:gd name="connsiteX189" fmla="*/ 5139595 w 12192002"/>
              <a:gd name="connsiteY189" fmla="*/ 90230 h 2122526"/>
              <a:gd name="connsiteX190" fmla="*/ 5142598 w 12192002"/>
              <a:gd name="connsiteY190" fmla="*/ 88129 h 2122526"/>
              <a:gd name="connsiteX191" fmla="*/ 5156554 w 12192002"/>
              <a:gd name="connsiteY191" fmla="*/ 84729 h 2122526"/>
              <a:gd name="connsiteX192" fmla="*/ 5174660 w 12192002"/>
              <a:gd name="connsiteY192" fmla="*/ 77506 h 2122526"/>
              <a:gd name="connsiteX193" fmla="*/ 5222961 w 12192002"/>
              <a:gd name="connsiteY193" fmla="*/ 74516 h 2122526"/>
              <a:gd name="connsiteX194" fmla="*/ 5261763 w 12192002"/>
              <a:gd name="connsiteY194" fmla="*/ 63392 h 2122526"/>
              <a:gd name="connsiteX195" fmla="*/ 5381667 w 12192002"/>
              <a:gd name="connsiteY195" fmla="*/ 42975 h 2122526"/>
              <a:gd name="connsiteX196" fmla="*/ 5432760 w 12192002"/>
              <a:gd name="connsiteY196" fmla="*/ 25273 h 2122526"/>
              <a:gd name="connsiteX197" fmla="*/ 5470905 w 12192002"/>
              <a:gd name="connsiteY197" fmla="*/ 14020 h 2122526"/>
              <a:gd name="connsiteX198" fmla="*/ 5626960 w 12192002"/>
              <a:gd name="connsiteY198" fmla="*/ 0 h 2122526"/>
              <a:gd name="connsiteX0" fmla="*/ 5626960 w 12192002"/>
              <a:gd name="connsiteY0" fmla="*/ 0 h 2122526"/>
              <a:gd name="connsiteX1" fmla="*/ 5758918 w 12192002"/>
              <a:gd name="connsiteY1" fmla="*/ 1023 h 2122526"/>
              <a:gd name="connsiteX2" fmla="*/ 5957375 w 12192002"/>
              <a:gd name="connsiteY2" fmla="*/ 16715 h 2122526"/>
              <a:gd name="connsiteX3" fmla="*/ 6010090 w 12192002"/>
              <a:gd name="connsiteY3" fmla="*/ 20359 h 2122526"/>
              <a:gd name="connsiteX4" fmla="*/ 6041282 w 12192002"/>
              <a:gd name="connsiteY4" fmla="*/ 15266 h 2122526"/>
              <a:gd name="connsiteX5" fmla="*/ 6048637 w 12192002"/>
              <a:gd name="connsiteY5" fmla="*/ 6917 h 2122526"/>
              <a:gd name="connsiteX6" fmla="*/ 6068529 w 12192002"/>
              <a:gd name="connsiteY6" fmla="*/ 7600 h 2122526"/>
              <a:gd name="connsiteX7" fmla="*/ 6073847 w 12192002"/>
              <a:gd name="connsiteY7" fmla="*/ 6063 h 2122526"/>
              <a:gd name="connsiteX8" fmla="*/ 6168673 w 12192002"/>
              <a:gd name="connsiteY8" fmla="*/ 26525 h 2122526"/>
              <a:gd name="connsiteX9" fmla="*/ 6317559 w 12192002"/>
              <a:gd name="connsiteY9" fmla="*/ 28612 h 2122526"/>
              <a:gd name="connsiteX10" fmla="*/ 6549454 w 12192002"/>
              <a:gd name="connsiteY10" fmla="*/ 75412 h 2122526"/>
              <a:gd name="connsiteX11" fmla="*/ 6708221 w 12192002"/>
              <a:gd name="connsiteY11" fmla="*/ 104188 h 2122526"/>
              <a:gd name="connsiteX12" fmla="*/ 6904145 w 12192002"/>
              <a:gd name="connsiteY12" fmla="*/ 132143 h 2122526"/>
              <a:gd name="connsiteX13" fmla="*/ 7018495 w 12192002"/>
              <a:gd name="connsiteY13" fmla="*/ 161649 h 2122526"/>
              <a:gd name="connsiteX14" fmla="*/ 7096987 w 12192002"/>
              <a:gd name="connsiteY14" fmla="*/ 161275 h 2122526"/>
              <a:gd name="connsiteX15" fmla="*/ 7170807 w 12192002"/>
              <a:gd name="connsiteY15" fmla="*/ 173503 h 2122526"/>
              <a:gd name="connsiteX16" fmla="*/ 7197003 w 12192002"/>
              <a:gd name="connsiteY16" fmla="*/ 178151 h 2122526"/>
              <a:gd name="connsiteX17" fmla="*/ 7201101 w 12192002"/>
              <a:gd name="connsiteY17" fmla="*/ 183509 h 2122526"/>
              <a:gd name="connsiteX18" fmla="*/ 7218559 w 12192002"/>
              <a:gd name="connsiteY18" fmla="*/ 188059 h 2122526"/>
              <a:gd name="connsiteX19" fmla="*/ 7310852 w 12192002"/>
              <a:gd name="connsiteY19" fmla="*/ 213308 h 2122526"/>
              <a:gd name="connsiteX20" fmla="*/ 7312179 w 12192002"/>
              <a:gd name="connsiteY20" fmla="*/ 211866 h 2122526"/>
              <a:gd name="connsiteX21" fmla="*/ 7405390 w 12192002"/>
              <a:gd name="connsiteY21" fmla="*/ 202271 h 2122526"/>
              <a:gd name="connsiteX22" fmla="*/ 7495794 w 12192002"/>
              <a:gd name="connsiteY22" fmla="*/ 194166 h 2122526"/>
              <a:gd name="connsiteX23" fmla="*/ 7507039 w 12192002"/>
              <a:gd name="connsiteY23" fmla="*/ 196118 h 2122526"/>
              <a:gd name="connsiteX24" fmla="*/ 7507411 w 12192002"/>
              <a:gd name="connsiteY24" fmla="*/ 195791 h 2122526"/>
              <a:gd name="connsiteX25" fmla="*/ 7519570 w 12192002"/>
              <a:gd name="connsiteY25" fmla="*/ 197126 h 2122526"/>
              <a:gd name="connsiteX26" fmla="*/ 7527542 w 12192002"/>
              <a:gd name="connsiteY26" fmla="*/ 199679 h 2122526"/>
              <a:gd name="connsiteX27" fmla="*/ 7614346 w 12192002"/>
              <a:gd name="connsiteY27" fmla="*/ 205507 h 2122526"/>
              <a:gd name="connsiteX28" fmla="*/ 7718744 w 12192002"/>
              <a:gd name="connsiteY28" fmla="*/ 202036 h 2122526"/>
              <a:gd name="connsiteX29" fmla="*/ 7905407 w 12192002"/>
              <a:gd name="connsiteY29" fmla="*/ 227751 h 2122526"/>
              <a:gd name="connsiteX30" fmla="*/ 8090271 w 12192002"/>
              <a:gd name="connsiteY30" fmla="*/ 269724 h 2122526"/>
              <a:gd name="connsiteX31" fmla="*/ 8245834 w 12192002"/>
              <a:gd name="connsiteY31" fmla="*/ 315885 h 2122526"/>
              <a:gd name="connsiteX32" fmla="*/ 8252033 w 12192002"/>
              <a:gd name="connsiteY32" fmla="*/ 328877 h 2122526"/>
              <a:gd name="connsiteX33" fmla="*/ 8263376 w 12192002"/>
              <a:gd name="connsiteY33" fmla="*/ 338720 h 2122526"/>
              <a:gd name="connsiteX34" fmla="*/ 8266075 w 12192002"/>
              <a:gd name="connsiteY34" fmla="*/ 338490 h 2122526"/>
              <a:gd name="connsiteX35" fmla="*/ 8283149 w 12192002"/>
              <a:gd name="connsiteY35" fmla="*/ 345665 h 2122526"/>
              <a:gd name="connsiteX36" fmla="*/ 8284276 w 12192002"/>
              <a:gd name="connsiteY36" fmla="*/ 350108 h 2122526"/>
              <a:gd name="connsiteX37" fmla="*/ 8295173 w 12192002"/>
              <a:gd name="connsiteY37" fmla="*/ 355931 h 2122526"/>
              <a:gd name="connsiteX38" fmla="*/ 8314432 w 12192002"/>
              <a:gd name="connsiteY38" fmla="*/ 369826 h 2122526"/>
              <a:gd name="connsiteX39" fmla="*/ 8320104 w 12192002"/>
              <a:gd name="connsiteY39" fmla="*/ 370152 h 2122526"/>
              <a:gd name="connsiteX40" fmla="*/ 8352372 w 12192002"/>
              <a:gd name="connsiteY40" fmla="*/ 387570 h 2122526"/>
              <a:gd name="connsiteX41" fmla="*/ 8353799 w 12192002"/>
              <a:gd name="connsiteY41" fmla="*/ 386730 h 2122526"/>
              <a:gd name="connsiteX42" fmla="*/ 8367182 w 12192002"/>
              <a:gd name="connsiteY42" fmla="*/ 386924 h 2122526"/>
              <a:gd name="connsiteX43" fmla="*/ 8490249 w 12192002"/>
              <a:gd name="connsiteY43" fmla="*/ 400966 h 2122526"/>
              <a:gd name="connsiteX44" fmla="*/ 8497594 w 12192002"/>
              <a:gd name="connsiteY44" fmla="*/ 404016 h 2122526"/>
              <a:gd name="connsiteX45" fmla="*/ 8497968 w 12192002"/>
              <a:gd name="connsiteY45" fmla="*/ 403837 h 2122526"/>
              <a:gd name="connsiteX46" fmla="*/ 8506167 w 12192002"/>
              <a:gd name="connsiteY46" fmla="*/ 406575 h 2122526"/>
              <a:gd name="connsiteX47" fmla="*/ 8510983 w 12192002"/>
              <a:gd name="connsiteY47" fmla="*/ 409576 h 2122526"/>
              <a:gd name="connsiteX48" fmla="*/ 8525230 w 12192002"/>
              <a:gd name="connsiteY48" fmla="*/ 415491 h 2122526"/>
              <a:gd name="connsiteX49" fmla="*/ 8596071 w 12192002"/>
              <a:gd name="connsiteY49" fmla="*/ 400649 h 2122526"/>
              <a:gd name="connsiteX50" fmla="*/ 8707847 w 12192002"/>
              <a:gd name="connsiteY50" fmla="*/ 409221 h 2122526"/>
              <a:gd name="connsiteX51" fmla="*/ 8752444 w 12192002"/>
              <a:gd name="connsiteY51" fmla="*/ 411322 h 2122526"/>
              <a:gd name="connsiteX52" fmla="*/ 8928988 w 12192002"/>
              <a:gd name="connsiteY52" fmla="*/ 430554 h 2122526"/>
              <a:gd name="connsiteX53" fmla="*/ 8963048 w 12192002"/>
              <a:gd name="connsiteY53" fmla="*/ 427366 h 2122526"/>
              <a:gd name="connsiteX54" fmla="*/ 8968011 w 12192002"/>
              <a:gd name="connsiteY54" fmla="*/ 425141 h 2122526"/>
              <a:gd name="connsiteX55" fmla="*/ 8974337 w 12192002"/>
              <a:gd name="connsiteY55" fmla="*/ 424441 h 2122526"/>
              <a:gd name="connsiteX56" fmla="*/ 8990394 w 12192002"/>
              <a:gd name="connsiteY56" fmla="*/ 427667 h 2122526"/>
              <a:gd name="connsiteX57" fmla="*/ 8996232 w 12192002"/>
              <a:gd name="connsiteY57" fmla="*/ 429728 h 2122526"/>
              <a:gd name="connsiteX58" fmla="*/ 9005201 w 12192002"/>
              <a:gd name="connsiteY58" fmla="*/ 430939 h 2122526"/>
              <a:gd name="connsiteX59" fmla="*/ 9005486 w 12192002"/>
              <a:gd name="connsiteY59" fmla="*/ 430699 h 2122526"/>
              <a:gd name="connsiteX60" fmla="*/ 9053453 w 12192002"/>
              <a:gd name="connsiteY60" fmla="*/ 433984 h 2122526"/>
              <a:gd name="connsiteX61" fmla="*/ 9113812 w 12192002"/>
              <a:gd name="connsiteY61" fmla="*/ 425670 h 2122526"/>
              <a:gd name="connsiteX62" fmla="*/ 9137318 w 12192002"/>
              <a:gd name="connsiteY62" fmla="*/ 424304 h 2122526"/>
              <a:gd name="connsiteX63" fmla="*/ 9150210 w 12192002"/>
              <a:gd name="connsiteY63" fmla="*/ 422135 h 2122526"/>
              <a:gd name="connsiteX64" fmla="*/ 9151232 w 12192002"/>
              <a:gd name="connsiteY64" fmla="*/ 421070 h 2122526"/>
              <a:gd name="connsiteX65" fmla="*/ 9189246 w 12192002"/>
              <a:gd name="connsiteY65" fmla="*/ 432272 h 2122526"/>
              <a:gd name="connsiteX66" fmla="*/ 9194810 w 12192002"/>
              <a:gd name="connsiteY66" fmla="*/ 441511 h 2122526"/>
              <a:gd name="connsiteX67" fmla="*/ 9231370 w 12192002"/>
              <a:gd name="connsiteY67" fmla="*/ 451590 h 2122526"/>
              <a:gd name="connsiteX68" fmla="*/ 9343052 w 12192002"/>
              <a:gd name="connsiteY68" fmla="*/ 503495 h 2122526"/>
              <a:gd name="connsiteX69" fmla="*/ 9584507 w 12192002"/>
              <a:gd name="connsiteY69" fmla="*/ 549197 h 2122526"/>
              <a:gd name="connsiteX70" fmla="*/ 9728309 w 12192002"/>
              <a:gd name="connsiteY70" fmla="*/ 560617 h 2122526"/>
              <a:gd name="connsiteX71" fmla="*/ 9847792 w 12192002"/>
              <a:gd name="connsiteY71" fmla="*/ 580824 h 2122526"/>
              <a:gd name="connsiteX72" fmla="*/ 9960019 w 12192002"/>
              <a:gd name="connsiteY72" fmla="*/ 587592 h 2122526"/>
              <a:gd name="connsiteX73" fmla="*/ 10039240 w 12192002"/>
              <a:gd name="connsiteY73" fmla="*/ 603107 h 2122526"/>
              <a:gd name="connsiteX74" fmla="*/ 10082169 w 12192002"/>
              <a:gd name="connsiteY74" fmla="*/ 601443 h 2122526"/>
              <a:gd name="connsiteX75" fmla="*/ 10126500 w 12192002"/>
              <a:gd name="connsiteY75" fmla="*/ 603538 h 2122526"/>
              <a:gd name="connsiteX76" fmla="*/ 10261101 w 12192002"/>
              <a:gd name="connsiteY76" fmla="*/ 615053 h 2122526"/>
              <a:gd name="connsiteX77" fmla="*/ 10336855 w 12192002"/>
              <a:gd name="connsiteY77" fmla="*/ 624804 h 2122526"/>
              <a:gd name="connsiteX78" fmla="*/ 10383868 w 12192002"/>
              <a:gd name="connsiteY78" fmla="*/ 625415 h 2122526"/>
              <a:gd name="connsiteX79" fmla="*/ 10445984 w 12192002"/>
              <a:gd name="connsiteY79" fmla="*/ 629262 h 2122526"/>
              <a:gd name="connsiteX80" fmla="*/ 10519280 w 12192002"/>
              <a:gd name="connsiteY80" fmla="*/ 631320 h 2122526"/>
              <a:gd name="connsiteX81" fmla="*/ 10644619 w 12192002"/>
              <a:gd name="connsiteY81" fmla="*/ 651566 h 2122526"/>
              <a:gd name="connsiteX82" fmla="*/ 10857724 w 12192002"/>
              <a:gd name="connsiteY82" fmla="*/ 712684 h 2122526"/>
              <a:gd name="connsiteX83" fmla="*/ 10951063 w 12192002"/>
              <a:gd name="connsiteY83" fmla="*/ 725767 h 2122526"/>
              <a:gd name="connsiteX84" fmla="*/ 11030956 w 12192002"/>
              <a:gd name="connsiteY84" fmla="*/ 721011 h 2122526"/>
              <a:gd name="connsiteX85" fmla="*/ 11085938 w 12192002"/>
              <a:gd name="connsiteY85" fmla="*/ 723892 h 2122526"/>
              <a:gd name="connsiteX86" fmla="*/ 11143411 w 12192002"/>
              <a:gd name="connsiteY86" fmla="*/ 733141 h 2122526"/>
              <a:gd name="connsiteX87" fmla="*/ 11195087 w 12192002"/>
              <a:gd name="connsiteY87" fmla="*/ 732494 h 2122526"/>
              <a:gd name="connsiteX88" fmla="*/ 11273972 w 12192002"/>
              <a:gd name="connsiteY88" fmla="*/ 729660 h 2122526"/>
              <a:gd name="connsiteX89" fmla="*/ 11369715 w 12192002"/>
              <a:gd name="connsiteY89" fmla="*/ 813181 h 2122526"/>
              <a:gd name="connsiteX90" fmla="*/ 11462695 w 12192002"/>
              <a:gd name="connsiteY90" fmla="*/ 874654 h 2122526"/>
              <a:gd name="connsiteX91" fmla="*/ 11564181 w 12192002"/>
              <a:gd name="connsiteY91" fmla="*/ 888450 h 2122526"/>
              <a:gd name="connsiteX92" fmla="*/ 11684760 w 12192002"/>
              <a:gd name="connsiteY92" fmla="*/ 929360 h 2122526"/>
              <a:gd name="connsiteX93" fmla="*/ 11744187 w 12192002"/>
              <a:gd name="connsiteY93" fmla="*/ 984253 h 2122526"/>
              <a:gd name="connsiteX94" fmla="*/ 11834979 w 12192002"/>
              <a:gd name="connsiteY94" fmla="*/ 1013094 h 2122526"/>
              <a:gd name="connsiteX95" fmla="*/ 11925839 w 12192002"/>
              <a:gd name="connsiteY95" fmla="*/ 1110203 h 2122526"/>
              <a:gd name="connsiteX96" fmla="*/ 12084140 w 12192002"/>
              <a:gd name="connsiteY96" fmla="*/ 1007396 h 2122526"/>
              <a:gd name="connsiteX97" fmla="*/ 12140863 w 12192002"/>
              <a:gd name="connsiteY97" fmla="*/ 1035036 h 2122526"/>
              <a:gd name="connsiteX98" fmla="*/ 12192002 w 12192002"/>
              <a:gd name="connsiteY98" fmla="*/ 1015838 h 2122526"/>
              <a:gd name="connsiteX99" fmla="*/ 12192002 w 12192002"/>
              <a:gd name="connsiteY99" fmla="*/ 1955549 h 2122526"/>
              <a:gd name="connsiteX100" fmla="*/ 12192000 w 12192002"/>
              <a:gd name="connsiteY100" fmla="*/ 1955549 h 2122526"/>
              <a:gd name="connsiteX101" fmla="*/ 12192000 w 12192002"/>
              <a:gd name="connsiteY101" fmla="*/ 2122526 h 2122526"/>
              <a:gd name="connsiteX102" fmla="*/ 0 w 12192002"/>
              <a:gd name="connsiteY102" fmla="*/ 2122526 h 2122526"/>
              <a:gd name="connsiteX103" fmla="*/ 0 w 12192002"/>
              <a:gd name="connsiteY103" fmla="*/ 1348327 h 2122526"/>
              <a:gd name="connsiteX104" fmla="*/ 2 w 12192002"/>
              <a:gd name="connsiteY104" fmla="*/ 1348327 h 2122526"/>
              <a:gd name="connsiteX105" fmla="*/ 2 w 12192002"/>
              <a:gd name="connsiteY105" fmla="*/ 592017 h 2122526"/>
              <a:gd name="connsiteX106" fmla="*/ 15526 w 12192002"/>
              <a:gd name="connsiteY106" fmla="*/ 586548 h 2122526"/>
              <a:gd name="connsiteX107" fmla="*/ 118381 w 12192002"/>
              <a:gd name="connsiteY107" fmla="*/ 583692 h 2122526"/>
              <a:gd name="connsiteX108" fmla="*/ 292435 w 12192002"/>
              <a:gd name="connsiteY108" fmla="*/ 531887 h 2122526"/>
              <a:gd name="connsiteX109" fmla="*/ 404015 w 12192002"/>
              <a:gd name="connsiteY109" fmla="*/ 511191 h 2122526"/>
              <a:gd name="connsiteX110" fmla="*/ 445099 w 12192002"/>
              <a:gd name="connsiteY110" fmla="*/ 505368 h 2122526"/>
              <a:gd name="connsiteX111" fmla="*/ 571717 w 12192002"/>
              <a:gd name="connsiteY111" fmla="*/ 467338 h 2122526"/>
              <a:gd name="connsiteX112" fmla="*/ 578535 w 12192002"/>
              <a:gd name="connsiteY112" fmla="*/ 467527 h 2122526"/>
              <a:gd name="connsiteX113" fmla="*/ 596792 w 12192002"/>
              <a:gd name="connsiteY113" fmla="*/ 464875 h 2122526"/>
              <a:gd name="connsiteX114" fmla="*/ 708875 w 12192002"/>
              <a:gd name="connsiteY114" fmla="*/ 422017 h 2122526"/>
              <a:gd name="connsiteX115" fmla="*/ 719742 w 12192002"/>
              <a:gd name="connsiteY115" fmla="*/ 416340 h 2122526"/>
              <a:gd name="connsiteX116" fmla="*/ 720047 w 12192002"/>
              <a:gd name="connsiteY116" fmla="*/ 415078 h 2122526"/>
              <a:gd name="connsiteX117" fmla="*/ 763053 w 12192002"/>
              <a:gd name="connsiteY117" fmla="*/ 414307 h 2122526"/>
              <a:gd name="connsiteX118" fmla="*/ 767901 w 12192002"/>
              <a:gd name="connsiteY118" fmla="*/ 412086 h 2122526"/>
              <a:gd name="connsiteX119" fmla="*/ 797041 w 12192002"/>
              <a:gd name="connsiteY119" fmla="*/ 414293 h 2122526"/>
              <a:gd name="connsiteX120" fmla="*/ 811506 w 12192002"/>
              <a:gd name="connsiteY120" fmla="*/ 413988 h 2122526"/>
              <a:gd name="connsiteX121" fmla="*/ 816809 w 12192002"/>
              <a:gd name="connsiteY121" fmla="*/ 416882 h 2122526"/>
              <a:gd name="connsiteX122" fmla="*/ 837540 w 12192002"/>
              <a:gd name="connsiteY122" fmla="*/ 414918 h 2122526"/>
              <a:gd name="connsiteX123" fmla="*/ 858269 w 12192002"/>
              <a:gd name="connsiteY123" fmla="*/ 416131 h 2122526"/>
              <a:gd name="connsiteX124" fmla="*/ 948732 w 12192002"/>
              <a:gd name="connsiteY124" fmla="*/ 404293 h 2122526"/>
              <a:gd name="connsiteX125" fmla="*/ 1149979 w 12192002"/>
              <a:gd name="connsiteY125" fmla="*/ 406698 h 2122526"/>
              <a:gd name="connsiteX126" fmla="*/ 1496110 w 12192002"/>
              <a:gd name="connsiteY126" fmla="*/ 357263 h 2122526"/>
              <a:gd name="connsiteX127" fmla="*/ 1608669 w 12192002"/>
              <a:gd name="connsiteY127" fmla="*/ 331673 h 2122526"/>
              <a:gd name="connsiteX128" fmla="*/ 1675071 w 12192002"/>
              <a:gd name="connsiteY128" fmla="*/ 324776 h 2122526"/>
              <a:gd name="connsiteX129" fmla="*/ 1738204 w 12192002"/>
              <a:gd name="connsiteY129" fmla="*/ 308427 h 2122526"/>
              <a:gd name="connsiteX130" fmla="*/ 1786655 w 12192002"/>
              <a:gd name="connsiteY130" fmla="*/ 303376 h 2122526"/>
              <a:gd name="connsiteX131" fmla="*/ 1873080 w 12192002"/>
              <a:gd name="connsiteY131" fmla="*/ 330998 h 2122526"/>
              <a:gd name="connsiteX132" fmla="*/ 1921650 w 12192002"/>
              <a:gd name="connsiteY132" fmla="*/ 332593 h 2122526"/>
              <a:gd name="connsiteX133" fmla="*/ 1928172 w 12192002"/>
              <a:gd name="connsiteY133" fmla="*/ 327762 h 2122526"/>
              <a:gd name="connsiteX134" fmla="*/ 1997356 w 12192002"/>
              <a:gd name="connsiteY134" fmla="*/ 349707 h 2122526"/>
              <a:gd name="connsiteX135" fmla="*/ 2094665 w 12192002"/>
              <a:gd name="connsiteY135" fmla="*/ 341687 h 2122526"/>
              <a:gd name="connsiteX136" fmla="*/ 2208578 w 12192002"/>
              <a:gd name="connsiteY136" fmla="*/ 324976 h 2122526"/>
              <a:gd name="connsiteX137" fmla="*/ 2315112 w 12192002"/>
              <a:gd name="connsiteY137" fmla="*/ 319743 h 2122526"/>
              <a:gd name="connsiteX138" fmla="*/ 2443255 w 12192002"/>
              <a:gd name="connsiteY138" fmla="*/ 328210 h 2122526"/>
              <a:gd name="connsiteX139" fmla="*/ 2568028 w 12192002"/>
              <a:gd name="connsiteY139" fmla="*/ 342111 h 2122526"/>
              <a:gd name="connsiteX140" fmla="*/ 2646527 w 12192002"/>
              <a:gd name="connsiteY140" fmla="*/ 315870 h 2122526"/>
              <a:gd name="connsiteX141" fmla="*/ 2781569 w 12192002"/>
              <a:gd name="connsiteY141" fmla="*/ 326406 h 2122526"/>
              <a:gd name="connsiteX142" fmla="*/ 3030291 w 12192002"/>
              <a:gd name="connsiteY142" fmla="*/ 348227 h 2122526"/>
              <a:gd name="connsiteX143" fmla="*/ 3142556 w 12192002"/>
              <a:gd name="connsiteY143" fmla="*/ 350870 h 2122526"/>
              <a:gd name="connsiteX144" fmla="*/ 3262356 w 12192002"/>
              <a:gd name="connsiteY144" fmla="*/ 358645 h 2122526"/>
              <a:gd name="connsiteX145" fmla="*/ 3341698 w 12192002"/>
              <a:gd name="connsiteY145" fmla="*/ 364522 h 2122526"/>
              <a:gd name="connsiteX146" fmla="*/ 3344026 w 12192002"/>
              <a:gd name="connsiteY146" fmla="*/ 363547 h 2122526"/>
              <a:gd name="connsiteX147" fmla="*/ 3363888 w 12192002"/>
              <a:gd name="connsiteY147" fmla="*/ 365229 h 2122526"/>
              <a:gd name="connsiteX148" fmla="*/ 3400728 w 12192002"/>
              <a:gd name="connsiteY148" fmla="*/ 382181 h 2122526"/>
              <a:gd name="connsiteX149" fmla="*/ 3473223 w 12192002"/>
              <a:gd name="connsiteY149" fmla="*/ 370133 h 2122526"/>
              <a:gd name="connsiteX150" fmla="*/ 3536135 w 12192002"/>
              <a:gd name="connsiteY150" fmla="*/ 366472 h 2122526"/>
              <a:gd name="connsiteX151" fmla="*/ 3585978 w 12192002"/>
              <a:gd name="connsiteY151" fmla="*/ 356773 h 2122526"/>
              <a:gd name="connsiteX152" fmla="*/ 3594501 w 12192002"/>
              <a:gd name="connsiteY152" fmla="*/ 357463 h 2122526"/>
              <a:gd name="connsiteX153" fmla="*/ 3594736 w 12192002"/>
              <a:gd name="connsiteY153" fmla="*/ 357194 h 2122526"/>
              <a:gd name="connsiteX154" fmla="*/ 3603855 w 12192002"/>
              <a:gd name="connsiteY154" fmla="*/ 357358 h 2122526"/>
              <a:gd name="connsiteX155" fmla="*/ 3610035 w 12192002"/>
              <a:gd name="connsiteY155" fmla="*/ 358720 h 2122526"/>
              <a:gd name="connsiteX156" fmla="*/ 3682513 w 12192002"/>
              <a:gd name="connsiteY156" fmla="*/ 326449 h 2122526"/>
              <a:gd name="connsiteX157" fmla="*/ 3789760 w 12192002"/>
              <a:gd name="connsiteY157" fmla="*/ 302526 h 2122526"/>
              <a:gd name="connsiteX158" fmla="*/ 3897275 w 12192002"/>
              <a:gd name="connsiteY158" fmla="*/ 282288 h 2122526"/>
              <a:gd name="connsiteX159" fmla="*/ 3936846 w 12192002"/>
              <a:gd name="connsiteY159" fmla="*/ 276633 h 2122526"/>
              <a:gd name="connsiteX160" fmla="*/ 4004538 w 12192002"/>
              <a:gd name="connsiteY160" fmla="*/ 259176 h 2122526"/>
              <a:gd name="connsiteX161" fmla="*/ 4033778 w 12192002"/>
              <a:gd name="connsiteY161" fmla="*/ 246608 h 2122526"/>
              <a:gd name="connsiteX162" fmla="*/ 4035363 w 12192002"/>
              <a:gd name="connsiteY162" fmla="*/ 246843 h 2122526"/>
              <a:gd name="connsiteX163" fmla="*/ 4036996 w 12192002"/>
              <a:gd name="connsiteY163" fmla="*/ 243176 h 2122526"/>
              <a:gd name="connsiteX164" fmla="*/ 4042364 w 12192002"/>
              <a:gd name="connsiteY164" fmla="*/ 240742 h 2122526"/>
              <a:gd name="connsiteX165" fmla="*/ 4058954 w 12192002"/>
              <a:gd name="connsiteY165" fmla="*/ 239121 h 2122526"/>
              <a:gd name="connsiteX166" fmla="*/ 4065510 w 12192002"/>
              <a:gd name="connsiteY166" fmla="*/ 239339 h 2122526"/>
              <a:gd name="connsiteX167" fmla="*/ 4074427 w 12192002"/>
              <a:gd name="connsiteY167" fmla="*/ 237895 h 2122526"/>
              <a:gd name="connsiteX168" fmla="*/ 4074546 w 12192002"/>
              <a:gd name="connsiteY168" fmla="*/ 237596 h 2122526"/>
              <a:gd name="connsiteX169" fmla="*/ 4083097 w 12192002"/>
              <a:gd name="connsiteY169" fmla="*/ 236761 h 2122526"/>
              <a:gd name="connsiteX170" fmla="*/ 4142745 w 12192002"/>
              <a:gd name="connsiteY170" fmla="*/ 210228 h 2122526"/>
              <a:gd name="connsiteX171" fmla="*/ 4191248 w 12192002"/>
              <a:gd name="connsiteY171" fmla="*/ 194363 h 2122526"/>
              <a:gd name="connsiteX172" fmla="*/ 4201744 w 12192002"/>
              <a:gd name="connsiteY172" fmla="*/ 188729 h 2122526"/>
              <a:gd name="connsiteX173" fmla="*/ 4202048 w 12192002"/>
              <a:gd name="connsiteY173" fmla="*/ 187470 h 2122526"/>
              <a:gd name="connsiteX174" fmla="*/ 4248116 w 12192002"/>
              <a:gd name="connsiteY174" fmla="*/ 184675 h 2122526"/>
              <a:gd name="connsiteX175" fmla="*/ 4276141 w 12192002"/>
              <a:gd name="connsiteY175" fmla="*/ 186999 h 2122526"/>
              <a:gd name="connsiteX176" fmla="*/ 4290062 w 12192002"/>
              <a:gd name="connsiteY176" fmla="*/ 186753 h 2122526"/>
              <a:gd name="connsiteX177" fmla="*/ 4295143 w 12192002"/>
              <a:gd name="connsiteY177" fmla="*/ 189670 h 2122526"/>
              <a:gd name="connsiteX178" fmla="*/ 4315108 w 12192002"/>
              <a:gd name="connsiteY178" fmla="*/ 187791 h 2122526"/>
              <a:gd name="connsiteX179" fmla="*/ 4316965 w 12192002"/>
              <a:gd name="connsiteY179" fmla="*/ 186450 h 2122526"/>
              <a:gd name="connsiteX180" fmla="*/ 4362875 w 12192002"/>
              <a:gd name="connsiteY180" fmla="*/ 193065 h 2122526"/>
              <a:gd name="connsiteX181" fmla="*/ 4428542 w 12192002"/>
              <a:gd name="connsiteY181" fmla="*/ 191719 h 2122526"/>
              <a:gd name="connsiteX182" fmla="*/ 4515813 w 12192002"/>
              <a:gd name="connsiteY182" fmla="*/ 181068 h 2122526"/>
              <a:gd name="connsiteX183" fmla="*/ 4715526 w 12192002"/>
              <a:gd name="connsiteY183" fmla="*/ 171166 h 2122526"/>
              <a:gd name="connsiteX184" fmla="*/ 4762447 w 12192002"/>
              <a:gd name="connsiteY184" fmla="*/ 162678 h 2122526"/>
              <a:gd name="connsiteX185" fmla="*/ 4840439 w 12192002"/>
              <a:gd name="connsiteY185" fmla="*/ 134910 h 2122526"/>
              <a:gd name="connsiteX186" fmla="*/ 5011513 w 12192002"/>
              <a:gd name="connsiteY186" fmla="*/ 110893 h 2122526"/>
              <a:gd name="connsiteX187" fmla="*/ 5065790 w 12192002"/>
              <a:gd name="connsiteY187" fmla="*/ 94512 h 2122526"/>
              <a:gd name="connsiteX188" fmla="*/ 5121659 w 12192002"/>
              <a:gd name="connsiteY188" fmla="*/ 101083 h 2122526"/>
              <a:gd name="connsiteX189" fmla="*/ 5139595 w 12192002"/>
              <a:gd name="connsiteY189" fmla="*/ 90230 h 2122526"/>
              <a:gd name="connsiteX190" fmla="*/ 5142598 w 12192002"/>
              <a:gd name="connsiteY190" fmla="*/ 88129 h 2122526"/>
              <a:gd name="connsiteX191" fmla="*/ 5156554 w 12192002"/>
              <a:gd name="connsiteY191" fmla="*/ 84729 h 2122526"/>
              <a:gd name="connsiteX192" fmla="*/ 5174660 w 12192002"/>
              <a:gd name="connsiteY192" fmla="*/ 77506 h 2122526"/>
              <a:gd name="connsiteX193" fmla="*/ 5222961 w 12192002"/>
              <a:gd name="connsiteY193" fmla="*/ 74516 h 2122526"/>
              <a:gd name="connsiteX194" fmla="*/ 5261763 w 12192002"/>
              <a:gd name="connsiteY194" fmla="*/ 63392 h 2122526"/>
              <a:gd name="connsiteX195" fmla="*/ 5381667 w 12192002"/>
              <a:gd name="connsiteY195" fmla="*/ 42975 h 2122526"/>
              <a:gd name="connsiteX196" fmla="*/ 5432760 w 12192002"/>
              <a:gd name="connsiteY196" fmla="*/ 25273 h 2122526"/>
              <a:gd name="connsiteX197" fmla="*/ 5470905 w 12192002"/>
              <a:gd name="connsiteY197" fmla="*/ 14020 h 2122526"/>
              <a:gd name="connsiteX198" fmla="*/ 5626960 w 12192002"/>
              <a:gd name="connsiteY198" fmla="*/ 0 h 2122526"/>
              <a:gd name="connsiteX0" fmla="*/ 5626960 w 12192002"/>
              <a:gd name="connsiteY0" fmla="*/ 0 h 2122526"/>
              <a:gd name="connsiteX1" fmla="*/ 5758918 w 12192002"/>
              <a:gd name="connsiteY1" fmla="*/ 1023 h 2122526"/>
              <a:gd name="connsiteX2" fmla="*/ 5957375 w 12192002"/>
              <a:gd name="connsiteY2" fmla="*/ 16715 h 2122526"/>
              <a:gd name="connsiteX3" fmla="*/ 6010090 w 12192002"/>
              <a:gd name="connsiteY3" fmla="*/ 20359 h 2122526"/>
              <a:gd name="connsiteX4" fmla="*/ 6041282 w 12192002"/>
              <a:gd name="connsiteY4" fmla="*/ 15266 h 2122526"/>
              <a:gd name="connsiteX5" fmla="*/ 6048637 w 12192002"/>
              <a:gd name="connsiteY5" fmla="*/ 6917 h 2122526"/>
              <a:gd name="connsiteX6" fmla="*/ 6068529 w 12192002"/>
              <a:gd name="connsiteY6" fmla="*/ 7600 h 2122526"/>
              <a:gd name="connsiteX7" fmla="*/ 6073847 w 12192002"/>
              <a:gd name="connsiteY7" fmla="*/ 6063 h 2122526"/>
              <a:gd name="connsiteX8" fmla="*/ 6168673 w 12192002"/>
              <a:gd name="connsiteY8" fmla="*/ 26525 h 2122526"/>
              <a:gd name="connsiteX9" fmla="*/ 6317559 w 12192002"/>
              <a:gd name="connsiteY9" fmla="*/ 28612 h 2122526"/>
              <a:gd name="connsiteX10" fmla="*/ 6549454 w 12192002"/>
              <a:gd name="connsiteY10" fmla="*/ 75412 h 2122526"/>
              <a:gd name="connsiteX11" fmla="*/ 6708221 w 12192002"/>
              <a:gd name="connsiteY11" fmla="*/ 104188 h 2122526"/>
              <a:gd name="connsiteX12" fmla="*/ 6904145 w 12192002"/>
              <a:gd name="connsiteY12" fmla="*/ 132143 h 2122526"/>
              <a:gd name="connsiteX13" fmla="*/ 7018495 w 12192002"/>
              <a:gd name="connsiteY13" fmla="*/ 161649 h 2122526"/>
              <a:gd name="connsiteX14" fmla="*/ 7096987 w 12192002"/>
              <a:gd name="connsiteY14" fmla="*/ 161275 h 2122526"/>
              <a:gd name="connsiteX15" fmla="*/ 7170807 w 12192002"/>
              <a:gd name="connsiteY15" fmla="*/ 173503 h 2122526"/>
              <a:gd name="connsiteX16" fmla="*/ 7197003 w 12192002"/>
              <a:gd name="connsiteY16" fmla="*/ 178151 h 2122526"/>
              <a:gd name="connsiteX17" fmla="*/ 7201101 w 12192002"/>
              <a:gd name="connsiteY17" fmla="*/ 183509 h 2122526"/>
              <a:gd name="connsiteX18" fmla="*/ 7218559 w 12192002"/>
              <a:gd name="connsiteY18" fmla="*/ 188059 h 2122526"/>
              <a:gd name="connsiteX19" fmla="*/ 7310852 w 12192002"/>
              <a:gd name="connsiteY19" fmla="*/ 213308 h 2122526"/>
              <a:gd name="connsiteX20" fmla="*/ 7312179 w 12192002"/>
              <a:gd name="connsiteY20" fmla="*/ 211866 h 2122526"/>
              <a:gd name="connsiteX21" fmla="*/ 7405390 w 12192002"/>
              <a:gd name="connsiteY21" fmla="*/ 202271 h 2122526"/>
              <a:gd name="connsiteX22" fmla="*/ 7495794 w 12192002"/>
              <a:gd name="connsiteY22" fmla="*/ 194166 h 2122526"/>
              <a:gd name="connsiteX23" fmla="*/ 7507039 w 12192002"/>
              <a:gd name="connsiteY23" fmla="*/ 196118 h 2122526"/>
              <a:gd name="connsiteX24" fmla="*/ 7507411 w 12192002"/>
              <a:gd name="connsiteY24" fmla="*/ 195791 h 2122526"/>
              <a:gd name="connsiteX25" fmla="*/ 7519570 w 12192002"/>
              <a:gd name="connsiteY25" fmla="*/ 197126 h 2122526"/>
              <a:gd name="connsiteX26" fmla="*/ 7527542 w 12192002"/>
              <a:gd name="connsiteY26" fmla="*/ 199679 h 2122526"/>
              <a:gd name="connsiteX27" fmla="*/ 7614346 w 12192002"/>
              <a:gd name="connsiteY27" fmla="*/ 205507 h 2122526"/>
              <a:gd name="connsiteX28" fmla="*/ 7718744 w 12192002"/>
              <a:gd name="connsiteY28" fmla="*/ 202036 h 2122526"/>
              <a:gd name="connsiteX29" fmla="*/ 7905407 w 12192002"/>
              <a:gd name="connsiteY29" fmla="*/ 227751 h 2122526"/>
              <a:gd name="connsiteX30" fmla="*/ 8090271 w 12192002"/>
              <a:gd name="connsiteY30" fmla="*/ 269724 h 2122526"/>
              <a:gd name="connsiteX31" fmla="*/ 8245834 w 12192002"/>
              <a:gd name="connsiteY31" fmla="*/ 315885 h 2122526"/>
              <a:gd name="connsiteX32" fmla="*/ 8252033 w 12192002"/>
              <a:gd name="connsiteY32" fmla="*/ 328877 h 2122526"/>
              <a:gd name="connsiteX33" fmla="*/ 8263376 w 12192002"/>
              <a:gd name="connsiteY33" fmla="*/ 338720 h 2122526"/>
              <a:gd name="connsiteX34" fmla="*/ 8266075 w 12192002"/>
              <a:gd name="connsiteY34" fmla="*/ 338490 h 2122526"/>
              <a:gd name="connsiteX35" fmla="*/ 8283149 w 12192002"/>
              <a:gd name="connsiteY35" fmla="*/ 345665 h 2122526"/>
              <a:gd name="connsiteX36" fmla="*/ 8284276 w 12192002"/>
              <a:gd name="connsiteY36" fmla="*/ 350108 h 2122526"/>
              <a:gd name="connsiteX37" fmla="*/ 8295173 w 12192002"/>
              <a:gd name="connsiteY37" fmla="*/ 355931 h 2122526"/>
              <a:gd name="connsiteX38" fmla="*/ 8314432 w 12192002"/>
              <a:gd name="connsiteY38" fmla="*/ 369826 h 2122526"/>
              <a:gd name="connsiteX39" fmla="*/ 8320104 w 12192002"/>
              <a:gd name="connsiteY39" fmla="*/ 370152 h 2122526"/>
              <a:gd name="connsiteX40" fmla="*/ 8352372 w 12192002"/>
              <a:gd name="connsiteY40" fmla="*/ 387570 h 2122526"/>
              <a:gd name="connsiteX41" fmla="*/ 8353799 w 12192002"/>
              <a:gd name="connsiteY41" fmla="*/ 386730 h 2122526"/>
              <a:gd name="connsiteX42" fmla="*/ 8367182 w 12192002"/>
              <a:gd name="connsiteY42" fmla="*/ 386924 h 2122526"/>
              <a:gd name="connsiteX43" fmla="*/ 8490249 w 12192002"/>
              <a:gd name="connsiteY43" fmla="*/ 400966 h 2122526"/>
              <a:gd name="connsiteX44" fmla="*/ 8497594 w 12192002"/>
              <a:gd name="connsiteY44" fmla="*/ 404016 h 2122526"/>
              <a:gd name="connsiteX45" fmla="*/ 8497968 w 12192002"/>
              <a:gd name="connsiteY45" fmla="*/ 403837 h 2122526"/>
              <a:gd name="connsiteX46" fmla="*/ 8506167 w 12192002"/>
              <a:gd name="connsiteY46" fmla="*/ 406575 h 2122526"/>
              <a:gd name="connsiteX47" fmla="*/ 8510983 w 12192002"/>
              <a:gd name="connsiteY47" fmla="*/ 409576 h 2122526"/>
              <a:gd name="connsiteX48" fmla="*/ 8525230 w 12192002"/>
              <a:gd name="connsiteY48" fmla="*/ 415491 h 2122526"/>
              <a:gd name="connsiteX49" fmla="*/ 8596071 w 12192002"/>
              <a:gd name="connsiteY49" fmla="*/ 400649 h 2122526"/>
              <a:gd name="connsiteX50" fmla="*/ 8707847 w 12192002"/>
              <a:gd name="connsiteY50" fmla="*/ 409221 h 2122526"/>
              <a:gd name="connsiteX51" fmla="*/ 8752444 w 12192002"/>
              <a:gd name="connsiteY51" fmla="*/ 411322 h 2122526"/>
              <a:gd name="connsiteX52" fmla="*/ 8928988 w 12192002"/>
              <a:gd name="connsiteY52" fmla="*/ 430554 h 2122526"/>
              <a:gd name="connsiteX53" fmla="*/ 8963048 w 12192002"/>
              <a:gd name="connsiteY53" fmla="*/ 427366 h 2122526"/>
              <a:gd name="connsiteX54" fmla="*/ 8968011 w 12192002"/>
              <a:gd name="connsiteY54" fmla="*/ 425141 h 2122526"/>
              <a:gd name="connsiteX55" fmla="*/ 8974337 w 12192002"/>
              <a:gd name="connsiteY55" fmla="*/ 424441 h 2122526"/>
              <a:gd name="connsiteX56" fmla="*/ 8990394 w 12192002"/>
              <a:gd name="connsiteY56" fmla="*/ 427667 h 2122526"/>
              <a:gd name="connsiteX57" fmla="*/ 8996232 w 12192002"/>
              <a:gd name="connsiteY57" fmla="*/ 429728 h 2122526"/>
              <a:gd name="connsiteX58" fmla="*/ 9005201 w 12192002"/>
              <a:gd name="connsiteY58" fmla="*/ 430939 h 2122526"/>
              <a:gd name="connsiteX59" fmla="*/ 9005486 w 12192002"/>
              <a:gd name="connsiteY59" fmla="*/ 430699 h 2122526"/>
              <a:gd name="connsiteX60" fmla="*/ 9053453 w 12192002"/>
              <a:gd name="connsiteY60" fmla="*/ 433984 h 2122526"/>
              <a:gd name="connsiteX61" fmla="*/ 9113812 w 12192002"/>
              <a:gd name="connsiteY61" fmla="*/ 425670 h 2122526"/>
              <a:gd name="connsiteX62" fmla="*/ 9137318 w 12192002"/>
              <a:gd name="connsiteY62" fmla="*/ 424304 h 2122526"/>
              <a:gd name="connsiteX63" fmla="*/ 9150210 w 12192002"/>
              <a:gd name="connsiteY63" fmla="*/ 422135 h 2122526"/>
              <a:gd name="connsiteX64" fmla="*/ 9151232 w 12192002"/>
              <a:gd name="connsiteY64" fmla="*/ 421070 h 2122526"/>
              <a:gd name="connsiteX65" fmla="*/ 9189246 w 12192002"/>
              <a:gd name="connsiteY65" fmla="*/ 432272 h 2122526"/>
              <a:gd name="connsiteX66" fmla="*/ 9194810 w 12192002"/>
              <a:gd name="connsiteY66" fmla="*/ 441511 h 2122526"/>
              <a:gd name="connsiteX67" fmla="*/ 9231370 w 12192002"/>
              <a:gd name="connsiteY67" fmla="*/ 451590 h 2122526"/>
              <a:gd name="connsiteX68" fmla="*/ 9343052 w 12192002"/>
              <a:gd name="connsiteY68" fmla="*/ 503495 h 2122526"/>
              <a:gd name="connsiteX69" fmla="*/ 9584507 w 12192002"/>
              <a:gd name="connsiteY69" fmla="*/ 549197 h 2122526"/>
              <a:gd name="connsiteX70" fmla="*/ 9728309 w 12192002"/>
              <a:gd name="connsiteY70" fmla="*/ 560617 h 2122526"/>
              <a:gd name="connsiteX71" fmla="*/ 9847792 w 12192002"/>
              <a:gd name="connsiteY71" fmla="*/ 580824 h 2122526"/>
              <a:gd name="connsiteX72" fmla="*/ 9960019 w 12192002"/>
              <a:gd name="connsiteY72" fmla="*/ 587592 h 2122526"/>
              <a:gd name="connsiteX73" fmla="*/ 10039240 w 12192002"/>
              <a:gd name="connsiteY73" fmla="*/ 603107 h 2122526"/>
              <a:gd name="connsiteX74" fmla="*/ 10082169 w 12192002"/>
              <a:gd name="connsiteY74" fmla="*/ 601443 h 2122526"/>
              <a:gd name="connsiteX75" fmla="*/ 10126500 w 12192002"/>
              <a:gd name="connsiteY75" fmla="*/ 603538 h 2122526"/>
              <a:gd name="connsiteX76" fmla="*/ 10261101 w 12192002"/>
              <a:gd name="connsiteY76" fmla="*/ 615053 h 2122526"/>
              <a:gd name="connsiteX77" fmla="*/ 10336855 w 12192002"/>
              <a:gd name="connsiteY77" fmla="*/ 624804 h 2122526"/>
              <a:gd name="connsiteX78" fmla="*/ 10383868 w 12192002"/>
              <a:gd name="connsiteY78" fmla="*/ 625415 h 2122526"/>
              <a:gd name="connsiteX79" fmla="*/ 10445984 w 12192002"/>
              <a:gd name="connsiteY79" fmla="*/ 629262 h 2122526"/>
              <a:gd name="connsiteX80" fmla="*/ 10519280 w 12192002"/>
              <a:gd name="connsiteY80" fmla="*/ 631320 h 2122526"/>
              <a:gd name="connsiteX81" fmla="*/ 10644619 w 12192002"/>
              <a:gd name="connsiteY81" fmla="*/ 651566 h 2122526"/>
              <a:gd name="connsiteX82" fmla="*/ 10857724 w 12192002"/>
              <a:gd name="connsiteY82" fmla="*/ 712684 h 2122526"/>
              <a:gd name="connsiteX83" fmla="*/ 10951063 w 12192002"/>
              <a:gd name="connsiteY83" fmla="*/ 725767 h 2122526"/>
              <a:gd name="connsiteX84" fmla="*/ 11030956 w 12192002"/>
              <a:gd name="connsiteY84" fmla="*/ 721011 h 2122526"/>
              <a:gd name="connsiteX85" fmla="*/ 11085938 w 12192002"/>
              <a:gd name="connsiteY85" fmla="*/ 723892 h 2122526"/>
              <a:gd name="connsiteX86" fmla="*/ 11143411 w 12192002"/>
              <a:gd name="connsiteY86" fmla="*/ 733141 h 2122526"/>
              <a:gd name="connsiteX87" fmla="*/ 11195087 w 12192002"/>
              <a:gd name="connsiteY87" fmla="*/ 732494 h 2122526"/>
              <a:gd name="connsiteX88" fmla="*/ 11273972 w 12192002"/>
              <a:gd name="connsiteY88" fmla="*/ 729660 h 2122526"/>
              <a:gd name="connsiteX89" fmla="*/ 11369715 w 12192002"/>
              <a:gd name="connsiteY89" fmla="*/ 813181 h 2122526"/>
              <a:gd name="connsiteX90" fmla="*/ 11462695 w 12192002"/>
              <a:gd name="connsiteY90" fmla="*/ 874654 h 2122526"/>
              <a:gd name="connsiteX91" fmla="*/ 11564181 w 12192002"/>
              <a:gd name="connsiteY91" fmla="*/ 888450 h 2122526"/>
              <a:gd name="connsiteX92" fmla="*/ 11684760 w 12192002"/>
              <a:gd name="connsiteY92" fmla="*/ 929360 h 2122526"/>
              <a:gd name="connsiteX93" fmla="*/ 11744187 w 12192002"/>
              <a:gd name="connsiteY93" fmla="*/ 984253 h 2122526"/>
              <a:gd name="connsiteX94" fmla="*/ 11834979 w 12192002"/>
              <a:gd name="connsiteY94" fmla="*/ 1013094 h 2122526"/>
              <a:gd name="connsiteX95" fmla="*/ 11925839 w 12192002"/>
              <a:gd name="connsiteY95" fmla="*/ 1110203 h 2122526"/>
              <a:gd name="connsiteX96" fmla="*/ 12080164 w 12192002"/>
              <a:gd name="connsiteY96" fmla="*/ 1090885 h 2122526"/>
              <a:gd name="connsiteX97" fmla="*/ 12140863 w 12192002"/>
              <a:gd name="connsiteY97" fmla="*/ 1035036 h 2122526"/>
              <a:gd name="connsiteX98" fmla="*/ 12192002 w 12192002"/>
              <a:gd name="connsiteY98" fmla="*/ 1015838 h 2122526"/>
              <a:gd name="connsiteX99" fmla="*/ 12192002 w 12192002"/>
              <a:gd name="connsiteY99" fmla="*/ 1955549 h 2122526"/>
              <a:gd name="connsiteX100" fmla="*/ 12192000 w 12192002"/>
              <a:gd name="connsiteY100" fmla="*/ 1955549 h 2122526"/>
              <a:gd name="connsiteX101" fmla="*/ 12192000 w 12192002"/>
              <a:gd name="connsiteY101" fmla="*/ 2122526 h 2122526"/>
              <a:gd name="connsiteX102" fmla="*/ 0 w 12192002"/>
              <a:gd name="connsiteY102" fmla="*/ 2122526 h 2122526"/>
              <a:gd name="connsiteX103" fmla="*/ 0 w 12192002"/>
              <a:gd name="connsiteY103" fmla="*/ 1348327 h 2122526"/>
              <a:gd name="connsiteX104" fmla="*/ 2 w 12192002"/>
              <a:gd name="connsiteY104" fmla="*/ 1348327 h 2122526"/>
              <a:gd name="connsiteX105" fmla="*/ 2 w 12192002"/>
              <a:gd name="connsiteY105" fmla="*/ 592017 h 2122526"/>
              <a:gd name="connsiteX106" fmla="*/ 15526 w 12192002"/>
              <a:gd name="connsiteY106" fmla="*/ 586548 h 2122526"/>
              <a:gd name="connsiteX107" fmla="*/ 118381 w 12192002"/>
              <a:gd name="connsiteY107" fmla="*/ 583692 h 2122526"/>
              <a:gd name="connsiteX108" fmla="*/ 292435 w 12192002"/>
              <a:gd name="connsiteY108" fmla="*/ 531887 h 2122526"/>
              <a:gd name="connsiteX109" fmla="*/ 404015 w 12192002"/>
              <a:gd name="connsiteY109" fmla="*/ 511191 h 2122526"/>
              <a:gd name="connsiteX110" fmla="*/ 445099 w 12192002"/>
              <a:gd name="connsiteY110" fmla="*/ 505368 h 2122526"/>
              <a:gd name="connsiteX111" fmla="*/ 571717 w 12192002"/>
              <a:gd name="connsiteY111" fmla="*/ 467338 h 2122526"/>
              <a:gd name="connsiteX112" fmla="*/ 578535 w 12192002"/>
              <a:gd name="connsiteY112" fmla="*/ 467527 h 2122526"/>
              <a:gd name="connsiteX113" fmla="*/ 596792 w 12192002"/>
              <a:gd name="connsiteY113" fmla="*/ 464875 h 2122526"/>
              <a:gd name="connsiteX114" fmla="*/ 708875 w 12192002"/>
              <a:gd name="connsiteY114" fmla="*/ 422017 h 2122526"/>
              <a:gd name="connsiteX115" fmla="*/ 719742 w 12192002"/>
              <a:gd name="connsiteY115" fmla="*/ 416340 h 2122526"/>
              <a:gd name="connsiteX116" fmla="*/ 720047 w 12192002"/>
              <a:gd name="connsiteY116" fmla="*/ 415078 h 2122526"/>
              <a:gd name="connsiteX117" fmla="*/ 763053 w 12192002"/>
              <a:gd name="connsiteY117" fmla="*/ 414307 h 2122526"/>
              <a:gd name="connsiteX118" fmla="*/ 767901 w 12192002"/>
              <a:gd name="connsiteY118" fmla="*/ 412086 h 2122526"/>
              <a:gd name="connsiteX119" fmla="*/ 797041 w 12192002"/>
              <a:gd name="connsiteY119" fmla="*/ 414293 h 2122526"/>
              <a:gd name="connsiteX120" fmla="*/ 811506 w 12192002"/>
              <a:gd name="connsiteY120" fmla="*/ 413988 h 2122526"/>
              <a:gd name="connsiteX121" fmla="*/ 816809 w 12192002"/>
              <a:gd name="connsiteY121" fmla="*/ 416882 h 2122526"/>
              <a:gd name="connsiteX122" fmla="*/ 837540 w 12192002"/>
              <a:gd name="connsiteY122" fmla="*/ 414918 h 2122526"/>
              <a:gd name="connsiteX123" fmla="*/ 858269 w 12192002"/>
              <a:gd name="connsiteY123" fmla="*/ 416131 h 2122526"/>
              <a:gd name="connsiteX124" fmla="*/ 948732 w 12192002"/>
              <a:gd name="connsiteY124" fmla="*/ 404293 h 2122526"/>
              <a:gd name="connsiteX125" fmla="*/ 1149979 w 12192002"/>
              <a:gd name="connsiteY125" fmla="*/ 406698 h 2122526"/>
              <a:gd name="connsiteX126" fmla="*/ 1496110 w 12192002"/>
              <a:gd name="connsiteY126" fmla="*/ 357263 h 2122526"/>
              <a:gd name="connsiteX127" fmla="*/ 1608669 w 12192002"/>
              <a:gd name="connsiteY127" fmla="*/ 331673 h 2122526"/>
              <a:gd name="connsiteX128" fmla="*/ 1675071 w 12192002"/>
              <a:gd name="connsiteY128" fmla="*/ 324776 h 2122526"/>
              <a:gd name="connsiteX129" fmla="*/ 1738204 w 12192002"/>
              <a:gd name="connsiteY129" fmla="*/ 308427 h 2122526"/>
              <a:gd name="connsiteX130" fmla="*/ 1786655 w 12192002"/>
              <a:gd name="connsiteY130" fmla="*/ 303376 h 2122526"/>
              <a:gd name="connsiteX131" fmla="*/ 1873080 w 12192002"/>
              <a:gd name="connsiteY131" fmla="*/ 330998 h 2122526"/>
              <a:gd name="connsiteX132" fmla="*/ 1921650 w 12192002"/>
              <a:gd name="connsiteY132" fmla="*/ 332593 h 2122526"/>
              <a:gd name="connsiteX133" fmla="*/ 1928172 w 12192002"/>
              <a:gd name="connsiteY133" fmla="*/ 327762 h 2122526"/>
              <a:gd name="connsiteX134" fmla="*/ 1997356 w 12192002"/>
              <a:gd name="connsiteY134" fmla="*/ 349707 h 2122526"/>
              <a:gd name="connsiteX135" fmla="*/ 2094665 w 12192002"/>
              <a:gd name="connsiteY135" fmla="*/ 341687 h 2122526"/>
              <a:gd name="connsiteX136" fmla="*/ 2208578 w 12192002"/>
              <a:gd name="connsiteY136" fmla="*/ 324976 h 2122526"/>
              <a:gd name="connsiteX137" fmla="*/ 2315112 w 12192002"/>
              <a:gd name="connsiteY137" fmla="*/ 319743 h 2122526"/>
              <a:gd name="connsiteX138" fmla="*/ 2443255 w 12192002"/>
              <a:gd name="connsiteY138" fmla="*/ 328210 h 2122526"/>
              <a:gd name="connsiteX139" fmla="*/ 2568028 w 12192002"/>
              <a:gd name="connsiteY139" fmla="*/ 342111 h 2122526"/>
              <a:gd name="connsiteX140" fmla="*/ 2646527 w 12192002"/>
              <a:gd name="connsiteY140" fmla="*/ 315870 h 2122526"/>
              <a:gd name="connsiteX141" fmla="*/ 2781569 w 12192002"/>
              <a:gd name="connsiteY141" fmla="*/ 326406 h 2122526"/>
              <a:gd name="connsiteX142" fmla="*/ 3030291 w 12192002"/>
              <a:gd name="connsiteY142" fmla="*/ 348227 h 2122526"/>
              <a:gd name="connsiteX143" fmla="*/ 3142556 w 12192002"/>
              <a:gd name="connsiteY143" fmla="*/ 350870 h 2122526"/>
              <a:gd name="connsiteX144" fmla="*/ 3262356 w 12192002"/>
              <a:gd name="connsiteY144" fmla="*/ 358645 h 2122526"/>
              <a:gd name="connsiteX145" fmla="*/ 3341698 w 12192002"/>
              <a:gd name="connsiteY145" fmla="*/ 364522 h 2122526"/>
              <a:gd name="connsiteX146" fmla="*/ 3344026 w 12192002"/>
              <a:gd name="connsiteY146" fmla="*/ 363547 h 2122526"/>
              <a:gd name="connsiteX147" fmla="*/ 3363888 w 12192002"/>
              <a:gd name="connsiteY147" fmla="*/ 365229 h 2122526"/>
              <a:gd name="connsiteX148" fmla="*/ 3400728 w 12192002"/>
              <a:gd name="connsiteY148" fmla="*/ 382181 h 2122526"/>
              <a:gd name="connsiteX149" fmla="*/ 3473223 w 12192002"/>
              <a:gd name="connsiteY149" fmla="*/ 370133 h 2122526"/>
              <a:gd name="connsiteX150" fmla="*/ 3536135 w 12192002"/>
              <a:gd name="connsiteY150" fmla="*/ 366472 h 2122526"/>
              <a:gd name="connsiteX151" fmla="*/ 3585978 w 12192002"/>
              <a:gd name="connsiteY151" fmla="*/ 356773 h 2122526"/>
              <a:gd name="connsiteX152" fmla="*/ 3594501 w 12192002"/>
              <a:gd name="connsiteY152" fmla="*/ 357463 h 2122526"/>
              <a:gd name="connsiteX153" fmla="*/ 3594736 w 12192002"/>
              <a:gd name="connsiteY153" fmla="*/ 357194 h 2122526"/>
              <a:gd name="connsiteX154" fmla="*/ 3603855 w 12192002"/>
              <a:gd name="connsiteY154" fmla="*/ 357358 h 2122526"/>
              <a:gd name="connsiteX155" fmla="*/ 3610035 w 12192002"/>
              <a:gd name="connsiteY155" fmla="*/ 358720 h 2122526"/>
              <a:gd name="connsiteX156" fmla="*/ 3682513 w 12192002"/>
              <a:gd name="connsiteY156" fmla="*/ 326449 h 2122526"/>
              <a:gd name="connsiteX157" fmla="*/ 3789760 w 12192002"/>
              <a:gd name="connsiteY157" fmla="*/ 302526 h 2122526"/>
              <a:gd name="connsiteX158" fmla="*/ 3897275 w 12192002"/>
              <a:gd name="connsiteY158" fmla="*/ 282288 h 2122526"/>
              <a:gd name="connsiteX159" fmla="*/ 3936846 w 12192002"/>
              <a:gd name="connsiteY159" fmla="*/ 276633 h 2122526"/>
              <a:gd name="connsiteX160" fmla="*/ 4004538 w 12192002"/>
              <a:gd name="connsiteY160" fmla="*/ 259176 h 2122526"/>
              <a:gd name="connsiteX161" fmla="*/ 4033778 w 12192002"/>
              <a:gd name="connsiteY161" fmla="*/ 246608 h 2122526"/>
              <a:gd name="connsiteX162" fmla="*/ 4035363 w 12192002"/>
              <a:gd name="connsiteY162" fmla="*/ 246843 h 2122526"/>
              <a:gd name="connsiteX163" fmla="*/ 4036996 w 12192002"/>
              <a:gd name="connsiteY163" fmla="*/ 243176 h 2122526"/>
              <a:gd name="connsiteX164" fmla="*/ 4042364 w 12192002"/>
              <a:gd name="connsiteY164" fmla="*/ 240742 h 2122526"/>
              <a:gd name="connsiteX165" fmla="*/ 4058954 w 12192002"/>
              <a:gd name="connsiteY165" fmla="*/ 239121 h 2122526"/>
              <a:gd name="connsiteX166" fmla="*/ 4065510 w 12192002"/>
              <a:gd name="connsiteY166" fmla="*/ 239339 h 2122526"/>
              <a:gd name="connsiteX167" fmla="*/ 4074427 w 12192002"/>
              <a:gd name="connsiteY167" fmla="*/ 237895 h 2122526"/>
              <a:gd name="connsiteX168" fmla="*/ 4074546 w 12192002"/>
              <a:gd name="connsiteY168" fmla="*/ 237596 h 2122526"/>
              <a:gd name="connsiteX169" fmla="*/ 4083097 w 12192002"/>
              <a:gd name="connsiteY169" fmla="*/ 236761 h 2122526"/>
              <a:gd name="connsiteX170" fmla="*/ 4142745 w 12192002"/>
              <a:gd name="connsiteY170" fmla="*/ 210228 h 2122526"/>
              <a:gd name="connsiteX171" fmla="*/ 4191248 w 12192002"/>
              <a:gd name="connsiteY171" fmla="*/ 194363 h 2122526"/>
              <a:gd name="connsiteX172" fmla="*/ 4201744 w 12192002"/>
              <a:gd name="connsiteY172" fmla="*/ 188729 h 2122526"/>
              <a:gd name="connsiteX173" fmla="*/ 4202048 w 12192002"/>
              <a:gd name="connsiteY173" fmla="*/ 187470 h 2122526"/>
              <a:gd name="connsiteX174" fmla="*/ 4248116 w 12192002"/>
              <a:gd name="connsiteY174" fmla="*/ 184675 h 2122526"/>
              <a:gd name="connsiteX175" fmla="*/ 4276141 w 12192002"/>
              <a:gd name="connsiteY175" fmla="*/ 186999 h 2122526"/>
              <a:gd name="connsiteX176" fmla="*/ 4290062 w 12192002"/>
              <a:gd name="connsiteY176" fmla="*/ 186753 h 2122526"/>
              <a:gd name="connsiteX177" fmla="*/ 4295143 w 12192002"/>
              <a:gd name="connsiteY177" fmla="*/ 189670 h 2122526"/>
              <a:gd name="connsiteX178" fmla="*/ 4315108 w 12192002"/>
              <a:gd name="connsiteY178" fmla="*/ 187791 h 2122526"/>
              <a:gd name="connsiteX179" fmla="*/ 4316965 w 12192002"/>
              <a:gd name="connsiteY179" fmla="*/ 186450 h 2122526"/>
              <a:gd name="connsiteX180" fmla="*/ 4362875 w 12192002"/>
              <a:gd name="connsiteY180" fmla="*/ 193065 h 2122526"/>
              <a:gd name="connsiteX181" fmla="*/ 4428542 w 12192002"/>
              <a:gd name="connsiteY181" fmla="*/ 191719 h 2122526"/>
              <a:gd name="connsiteX182" fmla="*/ 4515813 w 12192002"/>
              <a:gd name="connsiteY182" fmla="*/ 181068 h 2122526"/>
              <a:gd name="connsiteX183" fmla="*/ 4715526 w 12192002"/>
              <a:gd name="connsiteY183" fmla="*/ 171166 h 2122526"/>
              <a:gd name="connsiteX184" fmla="*/ 4762447 w 12192002"/>
              <a:gd name="connsiteY184" fmla="*/ 162678 h 2122526"/>
              <a:gd name="connsiteX185" fmla="*/ 4840439 w 12192002"/>
              <a:gd name="connsiteY185" fmla="*/ 134910 h 2122526"/>
              <a:gd name="connsiteX186" fmla="*/ 5011513 w 12192002"/>
              <a:gd name="connsiteY186" fmla="*/ 110893 h 2122526"/>
              <a:gd name="connsiteX187" fmla="*/ 5065790 w 12192002"/>
              <a:gd name="connsiteY187" fmla="*/ 94512 h 2122526"/>
              <a:gd name="connsiteX188" fmla="*/ 5121659 w 12192002"/>
              <a:gd name="connsiteY188" fmla="*/ 101083 h 2122526"/>
              <a:gd name="connsiteX189" fmla="*/ 5139595 w 12192002"/>
              <a:gd name="connsiteY189" fmla="*/ 90230 h 2122526"/>
              <a:gd name="connsiteX190" fmla="*/ 5142598 w 12192002"/>
              <a:gd name="connsiteY190" fmla="*/ 88129 h 2122526"/>
              <a:gd name="connsiteX191" fmla="*/ 5156554 w 12192002"/>
              <a:gd name="connsiteY191" fmla="*/ 84729 h 2122526"/>
              <a:gd name="connsiteX192" fmla="*/ 5174660 w 12192002"/>
              <a:gd name="connsiteY192" fmla="*/ 77506 h 2122526"/>
              <a:gd name="connsiteX193" fmla="*/ 5222961 w 12192002"/>
              <a:gd name="connsiteY193" fmla="*/ 74516 h 2122526"/>
              <a:gd name="connsiteX194" fmla="*/ 5261763 w 12192002"/>
              <a:gd name="connsiteY194" fmla="*/ 63392 h 2122526"/>
              <a:gd name="connsiteX195" fmla="*/ 5381667 w 12192002"/>
              <a:gd name="connsiteY195" fmla="*/ 42975 h 2122526"/>
              <a:gd name="connsiteX196" fmla="*/ 5432760 w 12192002"/>
              <a:gd name="connsiteY196" fmla="*/ 25273 h 2122526"/>
              <a:gd name="connsiteX197" fmla="*/ 5470905 w 12192002"/>
              <a:gd name="connsiteY197" fmla="*/ 14020 h 2122526"/>
              <a:gd name="connsiteX198" fmla="*/ 5626960 w 12192002"/>
              <a:gd name="connsiteY198" fmla="*/ 0 h 2122526"/>
              <a:gd name="connsiteX0" fmla="*/ 5626960 w 12192002"/>
              <a:gd name="connsiteY0" fmla="*/ 0 h 2122526"/>
              <a:gd name="connsiteX1" fmla="*/ 5758918 w 12192002"/>
              <a:gd name="connsiteY1" fmla="*/ 1023 h 2122526"/>
              <a:gd name="connsiteX2" fmla="*/ 5957375 w 12192002"/>
              <a:gd name="connsiteY2" fmla="*/ 16715 h 2122526"/>
              <a:gd name="connsiteX3" fmla="*/ 6010090 w 12192002"/>
              <a:gd name="connsiteY3" fmla="*/ 20359 h 2122526"/>
              <a:gd name="connsiteX4" fmla="*/ 6041282 w 12192002"/>
              <a:gd name="connsiteY4" fmla="*/ 15266 h 2122526"/>
              <a:gd name="connsiteX5" fmla="*/ 6048637 w 12192002"/>
              <a:gd name="connsiteY5" fmla="*/ 6917 h 2122526"/>
              <a:gd name="connsiteX6" fmla="*/ 6068529 w 12192002"/>
              <a:gd name="connsiteY6" fmla="*/ 7600 h 2122526"/>
              <a:gd name="connsiteX7" fmla="*/ 6073847 w 12192002"/>
              <a:gd name="connsiteY7" fmla="*/ 6063 h 2122526"/>
              <a:gd name="connsiteX8" fmla="*/ 6168673 w 12192002"/>
              <a:gd name="connsiteY8" fmla="*/ 26525 h 2122526"/>
              <a:gd name="connsiteX9" fmla="*/ 6317559 w 12192002"/>
              <a:gd name="connsiteY9" fmla="*/ 28612 h 2122526"/>
              <a:gd name="connsiteX10" fmla="*/ 6549454 w 12192002"/>
              <a:gd name="connsiteY10" fmla="*/ 75412 h 2122526"/>
              <a:gd name="connsiteX11" fmla="*/ 6708221 w 12192002"/>
              <a:gd name="connsiteY11" fmla="*/ 104188 h 2122526"/>
              <a:gd name="connsiteX12" fmla="*/ 6904145 w 12192002"/>
              <a:gd name="connsiteY12" fmla="*/ 132143 h 2122526"/>
              <a:gd name="connsiteX13" fmla="*/ 7018495 w 12192002"/>
              <a:gd name="connsiteY13" fmla="*/ 161649 h 2122526"/>
              <a:gd name="connsiteX14" fmla="*/ 7096987 w 12192002"/>
              <a:gd name="connsiteY14" fmla="*/ 161275 h 2122526"/>
              <a:gd name="connsiteX15" fmla="*/ 7170807 w 12192002"/>
              <a:gd name="connsiteY15" fmla="*/ 173503 h 2122526"/>
              <a:gd name="connsiteX16" fmla="*/ 7197003 w 12192002"/>
              <a:gd name="connsiteY16" fmla="*/ 178151 h 2122526"/>
              <a:gd name="connsiteX17" fmla="*/ 7201101 w 12192002"/>
              <a:gd name="connsiteY17" fmla="*/ 183509 h 2122526"/>
              <a:gd name="connsiteX18" fmla="*/ 7218559 w 12192002"/>
              <a:gd name="connsiteY18" fmla="*/ 188059 h 2122526"/>
              <a:gd name="connsiteX19" fmla="*/ 7310852 w 12192002"/>
              <a:gd name="connsiteY19" fmla="*/ 213308 h 2122526"/>
              <a:gd name="connsiteX20" fmla="*/ 7312179 w 12192002"/>
              <a:gd name="connsiteY20" fmla="*/ 211866 h 2122526"/>
              <a:gd name="connsiteX21" fmla="*/ 7405390 w 12192002"/>
              <a:gd name="connsiteY21" fmla="*/ 202271 h 2122526"/>
              <a:gd name="connsiteX22" fmla="*/ 7495794 w 12192002"/>
              <a:gd name="connsiteY22" fmla="*/ 194166 h 2122526"/>
              <a:gd name="connsiteX23" fmla="*/ 7507039 w 12192002"/>
              <a:gd name="connsiteY23" fmla="*/ 196118 h 2122526"/>
              <a:gd name="connsiteX24" fmla="*/ 7507411 w 12192002"/>
              <a:gd name="connsiteY24" fmla="*/ 195791 h 2122526"/>
              <a:gd name="connsiteX25" fmla="*/ 7519570 w 12192002"/>
              <a:gd name="connsiteY25" fmla="*/ 197126 h 2122526"/>
              <a:gd name="connsiteX26" fmla="*/ 7527542 w 12192002"/>
              <a:gd name="connsiteY26" fmla="*/ 199679 h 2122526"/>
              <a:gd name="connsiteX27" fmla="*/ 7614346 w 12192002"/>
              <a:gd name="connsiteY27" fmla="*/ 205507 h 2122526"/>
              <a:gd name="connsiteX28" fmla="*/ 7718744 w 12192002"/>
              <a:gd name="connsiteY28" fmla="*/ 202036 h 2122526"/>
              <a:gd name="connsiteX29" fmla="*/ 7905407 w 12192002"/>
              <a:gd name="connsiteY29" fmla="*/ 227751 h 2122526"/>
              <a:gd name="connsiteX30" fmla="*/ 8090271 w 12192002"/>
              <a:gd name="connsiteY30" fmla="*/ 269724 h 2122526"/>
              <a:gd name="connsiteX31" fmla="*/ 8245834 w 12192002"/>
              <a:gd name="connsiteY31" fmla="*/ 315885 h 2122526"/>
              <a:gd name="connsiteX32" fmla="*/ 8252033 w 12192002"/>
              <a:gd name="connsiteY32" fmla="*/ 328877 h 2122526"/>
              <a:gd name="connsiteX33" fmla="*/ 8263376 w 12192002"/>
              <a:gd name="connsiteY33" fmla="*/ 338720 h 2122526"/>
              <a:gd name="connsiteX34" fmla="*/ 8266075 w 12192002"/>
              <a:gd name="connsiteY34" fmla="*/ 338490 h 2122526"/>
              <a:gd name="connsiteX35" fmla="*/ 8283149 w 12192002"/>
              <a:gd name="connsiteY35" fmla="*/ 345665 h 2122526"/>
              <a:gd name="connsiteX36" fmla="*/ 8284276 w 12192002"/>
              <a:gd name="connsiteY36" fmla="*/ 350108 h 2122526"/>
              <a:gd name="connsiteX37" fmla="*/ 8295173 w 12192002"/>
              <a:gd name="connsiteY37" fmla="*/ 355931 h 2122526"/>
              <a:gd name="connsiteX38" fmla="*/ 8314432 w 12192002"/>
              <a:gd name="connsiteY38" fmla="*/ 369826 h 2122526"/>
              <a:gd name="connsiteX39" fmla="*/ 8320104 w 12192002"/>
              <a:gd name="connsiteY39" fmla="*/ 370152 h 2122526"/>
              <a:gd name="connsiteX40" fmla="*/ 8352372 w 12192002"/>
              <a:gd name="connsiteY40" fmla="*/ 387570 h 2122526"/>
              <a:gd name="connsiteX41" fmla="*/ 8353799 w 12192002"/>
              <a:gd name="connsiteY41" fmla="*/ 386730 h 2122526"/>
              <a:gd name="connsiteX42" fmla="*/ 8367182 w 12192002"/>
              <a:gd name="connsiteY42" fmla="*/ 386924 h 2122526"/>
              <a:gd name="connsiteX43" fmla="*/ 8490249 w 12192002"/>
              <a:gd name="connsiteY43" fmla="*/ 400966 h 2122526"/>
              <a:gd name="connsiteX44" fmla="*/ 8497594 w 12192002"/>
              <a:gd name="connsiteY44" fmla="*/ 404016 h 2122526"/>
              <a:gd name="connsiteX45" fmla="*/ 8497968 w 12192002"/>
              <a:gd name="connsiteY45" fmla="*/ 403837 h 2122526"/>
              <a:gd name="connsiteX46" fmla="*/ 8506167 w 12192002"/>
              <a:gd name="connsiteY46" fmla="*/ 406575 h 2122526"/>
              <a:gd name="connsiteX47" fmla="*/ 8510983 w 12192002"/>
              <a:gd name="connsiteY47" fmla="*/ 409576 h 2122526"/>
              <a:gd name="connsiteX48" fmla="*/ 8525230 w 12192002"/>
              <a:gd name="connsiteY48" fmla="*/ 415491 h 2122526"/>
              <a:gd name="connsiteX49" fmla="*/ 8596071 w 12192002"/>
              <a:gd name="connsiteY49" fmla="*/ 400649 h 2122526"/>
              <a:gd name="connsiteX50" fmla="*/ 8707847 w 12192002"/>
              <a:gd name="connsiteY50" fmla="*/ 409221 h 2122526"/>
              <a:gd name="connsiteX51" fmla="*/ 8752444 w 12192002"/>
              <a:gd name="connsiteY51" fmla="*/ 411322 h 2122526"/>
              <a:gd name="connsiteX52" fmla="*/ 8928988 w 12192002"/>
              <a:gd name="connsiteY52" fmla="*/ 430554 h 2122526"/>
              <a:gd name="connsiteX53" fmla="*/ 8963048 w 12192002"/>
              <a:gd name="connsiteY53" fmla="*/ 427366 h 2122526"/>
              <a:gd name="connsiteX54" fmla="*/ 8968011 w 12192002"/>
              <a:gd name="connsiteY54" fmla="*/ 425141 h 2122526"/>
              <a:gd name="connsiteX55" fmla="*/ 8974337 w 12192002"/>
              <a:gd name="connsiteY55" fmla="*/ 424441 h 2122526"/>
              <a:gd name="connsiteX56" fmla="*/ 8990394 w 12192002"/>
              <a:gd name="connsiteY56" fmla="*/ 427667 h 2122526"/>
              <a:gd name="connsiteX57" fmla="*/ 8996232 w 12192002"/>
              <a:gd name="connsiteY57" fmla="*/ 429728 h 2122526"/>
              <a:gd name="connsiteX58" fmla="*/ 9005201 w 12192002"/>
              <a:gd name="connsiteY58" fmla="*/ 430939 h 2122526"/>
              <a:gd name="connsiteX59" fmla="*/ 9005486 w 12192002"/>
              <a:gd name="connsiteY59" fmla="*/ 430699 h 2122526"/>
              <a:gd name="connsiteX60" fmla="*/ 9053453 w 12192002"/>
              <a:gd name="connsiteY60" fmla="*/ 433984 h 2122526"/>
              <a:gd name="connsiteX61" fmla="*/ 9113812 w 12192002"/>
              <a:gd name="connsiteY61" fmla="*/ 425670 h 2122526"/>
              <a:gd name="connsiteX62" fmla="*/ 9137318 w 12192002"/>
              <a:gd name="connsiteY62" fmla="*/ 424304 h 2122526"/>
              <a:gd name="connsiteX63" fmla="*/ 9150210 w 12192002"/>
              <a:gd name="connsiteY63" fmla="*/ 422135 h 2122526"/>
              <a:gd name="connsiteX64" fmla="*/ 9151232 w 12192002"/>
              <a:gd name="connsiteY64" fmla="*/ 421070 h 2122526"/>
              <a:gd name="connsiteX65" fmla="*/ 9189246 w 12192002"/>
              <a:gd name="connsiteY65" fmla="*/ 432272 h 2122526"/>
              <a:gd name="connsiteX66" fmla="*/ 9194810 w 12192002"/>
              <a:gd name="connsiteY66" fmla="*/ 441511 h 2122526"/>
              <a:gd name="connsiteX67" fmla="*/ 9231370 w 12192002"/>
              <a:gd name="connsiteY67" fmla="*/ 451590 h 2122526"/>
              <a:gd name="connsiteX68" fmla="*/ 9343052 w 12192002"/>
              <a:gd name="connsiteY68" fmla="*/ 503495 h 2122526"/>
              <a:gd name="connsiteX69" fmla="*/ 9584507 w 12192002"/>
              <a:gd name="connsiteY69" fmla="*/ 549197 h 2122526"/>
              <a:gd name="connsiteX70" fmla="*/ 9728309 w 12192002"/>
              <a:gd name="connsiteY70" fmla="*/ 560617 h 2122526"/>
              <a:gd name="connsiteX71" fmla="*/ 9847792 w 12192002"/>
              <a:gd name="connsiteY71" fmla="*/ 580824 h 2122526"/>
              <a:gd name="connsiteX72" fmla="*/ 9960019 w 12192002"/>
              <a:gd name="connsiteY72" fmla="*/ 587592 h 2122526"/>
              <a:gd name="connsiteX73" fmla="*/ 10039240 w 12192002"/>
              <a:gd name="connsiteY73" fmla="*/ 603107 h 2122526"/>
              <a:gd name="connsiteX74" fmla="*/ 10082169 w 12192002"/>
              <a:gd name="connsiteY74" fmla="*/ 601443 h 2122526"/>
              <a:gd name="connsiteX75" fmla="*/ 10126500 w 12192002"/>
              <a:gd name="connsiteY75" fmla="*/ 603538 h 2122526"/>
              <a:gd name="connsiteX76" fmla="*/ 10261101 w 12192002"/>
              <a:gd name="connsiteY76" fmla="*/ 615053 h 2122526"/>
              <a:gd name="connsiteX77" fmla="*/ 10336855 w 12192002"/>
              <a:gd name="connsiteY77" fmla="*/ 624804 h 2122526"/>
              <a:gd name="connsiteX78" fmla="*/ 10383868 w 12192002"/>
              <a:gd name="connsiteY78" fmla="*/ 625415 h 2122526"/>
              <a:gd name="connsiteX79" fmla="*/ 10445984 w 12192002"/>
              <a:gd name="connsiteY79" fmla="*/ 629262 h 2122526"/>
              <a:gd name="connsiteX80" fmla="*/ 10519280 w 12192002"/>
              <a:gd name="connsiteY80" fmla="*/ 631320 h 2122526"/>
              <a:gd name="connsiteX81" fmla="*/ 10644619 w 12192002"/>
              <a:gd name="connsiteY81" fmla="*/ 651566 h 2122526"/>
              <a:gd name="connsiteX82" fmla="*/ 10857724 w 12192002"/>
              <a:gd name="connsiteY82" fmla="*/ 712684 h 2122526"/>
              <a:gd name="connsiteX83" fmla="*/ 10951063 w 12192002"/>
              <a:gd name="connsiteY83" fmla="*/ 725767 h 2122526"/>
              <a:gd name="connsiteX84" fmla="*/ 11030956 w 12192002"/>
              <a:gd name="connsiteY84" fmla="*/ 721011 h 2122526"/>
              <a:gd name="connsiteX85" fmla="*/ 11085938 w 12192002"/>
              <a:gd name="connsiteY85" fmla="*/ 723892 h 2122526"/>
              <a:gd name="connsiteX86" fmla="*/ 11143411 w 12192002"/>
              <a:gd name="connsiteY86" fmla="*/ 733141 h 2122526"/>
              <a:gd name="connsiteX87" fmla="*/ 11195087 w 12192002"/>
              <a:gd name="connsiteY87" fmla="*/ 732494 h 2122526"/>
              <a:gd name="connsiteX88" fmla="*/ 11273972 w 12192002"/>
              <a:gd name="connsiteY88" fmla="*/ 729660 h 2122526"/>
              <a:gd name="connsiteX89" fmla="*/ 11369715 w 12192002"/>
              <a:gd name="connsiteY89" fmla="*/ 813181 h 2122526"/>
              <a:gd name="connsiteX90" fmla="*/ 11462695 w 12192002"/>
              <a:gd name="connsiteY90" fmla="*/ 874654 h 2122526"/>
              <a:gd name="connsiteX91" fmla="*/ 11564181 w 12192002"/>
              <a:gd name="connsiteY91" fmla="*/ 888450 h 2122526"/>
              <a:gd name="connsiteX92" fmla="*/ 11684760 w 12192002"/>
              <a:gd name="connsiteY92" fmla="*/ 929360 h 2122526"/>
              <a:gd name="connsiteX93" fmla="*/ 11744187 w 12192002"/>
              <a:gd name="connsiteY93" fmla="*/ 984253 h 2122526"/>
              <a:gd name="connsiteX94" fmla="*/ 11854857 w 12192002"/>
              <a:gd name="connsiteY94" fmla="*/ 1112485 h 2122526"/>
              <a:gd name="connsiteX95" fmla="*/ 11925839 w 12192002"/>
              <a:gd name="connsiteY95" fmla="*/ 1110203 h 2122526"/>
              <a:gd name="connsiteX96" fmla="*/ 12080164 w 12192002"/>
              <a:gd name="connsiteY96" fmla="*/ 1090885 h 2122526"/>
              <a:gd name="connsiteX97" fmla="*/ 12140863 w 12192002"/>
              <a:gd name="connsiteY97" fmla="*/ 1035036 h 2122526"/>
              <a:gd name="connsiteX98" fmla="*/ 12192002 w 12192002"/>
              <a:gd name="connsiteY98" fmla="*/ 1015838 h 2122526"/>
              <a:gd name="connsiteX99" fmla="*/ 12192002 w 12192002"/>
              <a:gd name="connsiteY99" fmla="*/ 1955549 h 2122526"/>
              <a:gd name="connsiteX100" fmla="*/ 12192000 w 12192002"/>
              <a:gd name="connsiteY100" fmla="*/ 1955549 h 2122526"/>
              <a:gd name="connsiteX101" fmla="*/ 12192000 w 12192002"/>
              <a:gd name="connsiteY101" fmla="*/ 2122526 h 2122526"/>
              <a:gd name="connsiteX102" fmla="*/ 0 w 12192002"/>
              <a:gd name="connsiteY102" fmla="*/ 2122526 h 2122526"/>
              <a:gd name="connsiteX103" fmla="*/ 0 w 12192002"/>
              <a:gd name="connsiteY103" fmla="*/ 1348327 h 2122526"/>
              <a:gd name="connsiteX104" fmla="*/ 2 w 12192002"/>
              <a:gd name="connsiteY104" fmla="*/ 1348327 h 2122526"/>
              <a:gd name="connsiteX105" fmla="*/ 2 w 12192002"/>
              <a:gd name="connsiteY105" fmla="*/ 592017 h 2122526"/>
              <a:gd name="connsiteX106" fmla="*/ 15526 w 12192002"/>
              <a:gd name="connsiteY106" fmla="*/ 586548 h 2122526"/>
              <a:gd name="connsiteX107" fmla="*/ 118381 w 12192002"/>
              <a:gd name="connsiteY107" fmla="*/ 583692 h 2122526"/>
              <a:gd name="connsiteX108" fmla="*/ 292435 w 12192002"/>
              <a:gd name="connsiteY108" fmla="*/ 531887 h 2122526"/>
              <a:gd name="connsiteX109" fmla="*/ 404015 w 12192002"/>
              <a:gd name="connsiteY109" fmla="*/ 511191 h 2122526"/>
              <a:gd name="connsiteX110" fmla="*/ 445099 w 12192002"/>
              <a:gd name="connsiteY110" fmla="*/ 505368 h 2122526"/>
              <a:gd name="connsiteX111" fmla="*/ 571717 w 12192002"/>
              <a:gd name="connsiteY111" fmla="*/ 467338 h 2122526"/>
              <a:gd name="connsiteX112" fmla="*/ 578535 w 12192002"/>
              <a:gd name="connsiteY112" fmla="*/ 467527 h 2122526"/>
              <a:gd name="connsiteX113" fmla="*/ 596792 w 12192002"/>
              <a:gd name="connsiteY113" fmla="*/ 464875 h 2122526"/>
              <a:gd name="connsiteX114" fmla="*/ 708875 w 12192002"/>
              <a:gd name="connsiteY114" fmla="*/ 422017 h 2122526"/>
              <a:gd name="connsiteX115" fmla="*/ 719742 w 12192002"/>
              <a:gd name="connsiteY115" fmla="*/ 416340 h 2122526"/>
              <a:gd name="connsiteX116" fmla="*/ 720047 w 12192002"/>
              <a:gd name="connsiteY116" fmla="*/ 415078 h 2122526"/>
              <a:gd name="connsiteX117" fmla="*/ 763053 w 12192002"/>
              <a:gd name="connsiteY117" fmla="*/ 414307 h 2122526"/>
              <a:gd name="connsiteX118" fmla="*/ 767901 w 12192002"/>
              <a:gd name="connsiteY118" fmla="*/ 412086 h 2122526"/>
              <a:gd name="connsiteX119" fmla="*/ 797041 w 12192002"/>
              <a:gd name="connsiteY119" fmla="*/ 414293 h 2122526"/>
              <a:gd name="connsiteX120" fmla="*/ 811506 w 12192002"/>
              <a:gd name="connsiteY120" fmla="*/ 413988 h 2122526"/>
              <a:gd name="connsiteX121" fmla="*/ 816809 w 12192002"/>
              <a:gd name="connsiteY121" fmla="*/ 416882 h 2122526"/>
              <a:gd name="connsiteX122" fmla="*/ 837540 w 12192002"/>
              <a:gd name="connsiteY122" fmla="*/ 414918 h 2122526"/>
              <a:gd name="connsiteX123" fmla="*/ 858269 w 12192002"/>
              <a:gd name="connsiteY123" fmla="*/ 416131 h 2122526"/>
              <a:gd name="connsiteX124" fmla="*/ 948732 w 12192002"/>
              <a:gd name="connsiteY124" fmla="*/ 404293 h 2122526"/>
              <a:gd name="connsiteX125" fmla="*/ 1149979 w 12192002"/>
              <a:gd name="connsiteY125" fmla="*/ 406698 h 2122526"/>
              <a:gd name="connsiteX126" fmla="*/ 1496110 w 12192002"/>
              <a:gd name="connsiteY126" fmla="*/ 357263 h 2122526"/>
              <a:gd name="connsiteX127" fmla="*/ 1608669 w 12192002"/>
              <a:gd name="connsiteY127" fmla="*/ 331673 h 2122526"/>
              <a:gd name="connsiteX128" fmla="*/ 1675071 w 12192002"/>
              <a:gd name="connsiteY128" fmla="*/ 324776 h 2122526"/>
              <a:gd name="connsiteX129" fmla="*/ 1738204 w 12192002"/>
              <a:gd name="connsiteY129" fmla="*/ 308427 h 2122526"/>
              <a:gd name="connsiteX130" fmla="*/ 1786655 w 12192002"/>
              <a:gd name="connsiteY130" fmla="*/ 303376 h 2122526"/>
              <a:gd name="connsiteX131" fmla="*/ 1873080 w 12192002"/>
              <a:gd name="connsiteY131" fmla="*/ 330998 h 2122526"/>
              <a:gd name="connsiteX132" fmla="*/ 1921650 w 12192002"/>
              <a:gd name="connsiteY132" fmla="*/ 332593 h 2122526"/>
              <a:gd name="connsiteX133" fmla="*/ 1928172 w 12192002"/>
              <a:gd name="connsiteY133" fmla="*/ 327762 h 2122526"/>
              <a:gd name="connsiteX134" fmla="*/ 1997356 w 12192002"/>
              <a:gd name="connsiteY134" fmla="*/ 349707 h 2122526"/>
              <a:gd name="connsiteX135" fmla="*/ 2094665 w 12192002"/>
              <a:gd name="connsiteY135" fmla="*/ 341687 h 2122526"/>
              <a:gd name="connsiteX136" fmla="*/ 2208578 w 12192002"/>
              <a:gd name="connsiteY136" fmla="*/ 324976 h 2122526"/>
              <a:gd name="connsiteX137" fmla="*/ 2315112 w 12192002"/>
              <a:gd name="connsiteY137" fmla="*/ 319743 h 2122526"/>
              <a:gd name="connsiteX138" fmla="*/ 2443255 w 12192002"/>
              <a:gd name="connsiteY138" fmla="*/ 328210 h 2122526"/>
              <a:gd name="connsiteX139" fmla="*/ 2568028 w 12192002"/>
              <a:gd name="connsiteY139" fmla="*/ 342111 h 2122526"/>
              <a:gd name="connsiteX140" fmla="*/ 2646527 w 12192002"/>
              <a:gd name="connsiteY140" fmla="*/ 315870 h 2122526"/>
              <a:gd name="connsiteX141" fmla="*/ 2781569 w 12192002"/>
              <a:gd name="connsiteY141" fmla="*/ 326406 h 2122526"/>
              <a:gd name="connsiteX142" fmla="*/ 3030291 w 12192002"/>
              <a:gd name="connsiteY142" fmla="*/ 348227 h 2122526"/>
              <a:gd name="connsiteX143" fmla="*/ 3142556 w 12192002"/>
              <a:gd name="connsiteY143" fmla="*/ 350870 h 2122526"/>
              <a:gd name="connsiteX144" fmla="*/ 3262356 w 12192002"/>
              <a:gd name="connsiteY144" fmla="*/ 358645 h 2122526"/>
              <a:gd name="connsiteX145" fmla="*/ 3341698 w 12192002"/>
              <a:gd name="connsiteY145" fmla="*/ 364522 h 2122526"/>
              <a:gd name="connsiteX146" fmla="*/ 3344026 w 12192002"/>
              <a:gd name="connsiteY146" fmla="*/ 363547 h 2122526"/>
              <a:gd name="connsiteX147" fmla="*/ 3363888 w 12192002"/>
              <a:gd name="connsiteY147" fmla="*/ 365229 h 2122526"/>
              <a:gd name="connsiteX148" fmla="*/ 3400728 w 12192002"/>
              <a:gd name="connsiteY148" fmla="*/ 382181 h 2122526"/>
              <a:gd name="connsiteX149" fmla="*/ 3473223 w 12192002"/>
              <a:gd name="connsiteY149" fmla="*/ 370133 h 2122526"/>
              <a:gd name="connsiteX150" fmla="*/ 3536135 w 12192002"/>
              <a:gd name="connsiteY150" fmla="*/ 366472 h 2122526"/>
              <a:gd name="connsiteX151" fmla="*/ 3585978 w 12192002"/>
              <a:gd name="connsiteY151" fmla="*/ 356773 h 2122526"/>
              <a:gd name="connsiteX152" fmla="*/ 3594501 w 12192002"/>
              <a:gd name="connsiteY152" fmla="*/ 357463 h 2122526"/>
              <a:gd name="connsiteX153" fmla="*/ 3594736 w 12192002"/>
              <a:gd name="connsiteY153" fmla="*/ 357194 h 2122526"/>
              <a:gd name="connsiteX154" fmla="*/ 3603855 w 12192002"/>
              <a:gd name="connsiteY154" fmla="*/ 357358 h 2122526"/>
              <a:gd name="connsiteX155" fmla="*/ 3610035 w 12192002"/>
              <a:gd name="connsiteY155" fmla="*/ 358720 h 2122526"/>
              <a:gd name="connsiteX156" fmla="*/ 3682513 w 12192002"/>
              <a:gd name="connsiteY156" fmla="*/ 326449 h 2122526"/>
              <a:gd name="connsiteX157" fmla="*/ 3789760 w 12192002"/>
              <a:gd name="connsiteY157" fmla="*/ 302526 h 2122526"/>
              <a:gd name="connsiteX158" fmla="*/ 3897275 w 12192002"/>
              <a:gd name="connsiteY158" fmla="*/ 282288 h 2122526"/>
              <a:gd name="connsiteX159" fmla="*/ 3936846 w 12192002"/>
              <a:gd name="connsiteY159" fmla="*/ 276633 h 2122526"/>
              <a:gd name="connsiteX160" fmla="*/ 4004538 w 12192002"/>
              <a:gd name="connsiteY160" fmla="*/ 259176 h 2122526"/>
              <a:gd name="connsiteX161" fmla="*/ 4033778 w 12192002"/>
              <a:gd name="connsiteY161" fmla="*/ 246608 h 2122526"/>
              <a:gd name="connsiteX162" fmla="*/ 4035363 w 12192002"/>
              <a:gd name="connsiteY162" fmla="*/ 246843 h 2122526"/>
              <a:gd name="connsiteX163" fmla="*/ 4036996 w 12192002"/>
              <a:gd name="connsiteY163" fmla="*/ 243176 h 2122526"/>
              <a:gd name="connsiteX164" fmla="*/ 4042364 w 12192002"/>
              <a:gd name="connsiteY164" fmla="*/ 240742 h 2122526"/>
              <a:gd name="connsiteX165" fmla="*/ 4058954 w 12192002"/>
              <a:gd name="connsiteY165" fmla="*/ 239121 h 2122526"/>
              <a:gd name="connsiteX166" fmla="*/ 4065510 w 12192002"/>
              <a:gd name="connsiteY166" fmla="*/ 239339 h 2122526"/>
              <a:gd name="connsiteX167" fmla="*/ 4074427 w 12192002"/>
              <a:gd name="connsiteY167" fmla="*/ 237895 h 2122526"/>
              <a:gd name="connsiteX168" fmla="*/ 4074546 w 12192002"/>
              <a:gd name="connsiteY168" fmla="*/ 237596 h 2122526"/>
              <a:gd name="connsiteX169" fmla="*/ 4083097 w 12192002"/>
              <a:gd name="connsiteY169" fmla="*/ 236761 h 2122526"/>
              <a:gd name="connsiteX170" fmla="*/ 4142745 w 12192002"/>
              <a:gd name="connsiteY170" fmla="*/ 210228 h 2122526"/>
              <a:gd name="connsiteX171" fmla="*/ 4191248 w 12192002"/>
              <a:gd name="connsiteY171" fmla="*/ 194363 h 2122526"/>
              <a:gd name="connsiteX172" fmla="*/ 4201744 w 12192002"/>
              <a:gd name="connsiteY172" fmla="*/ 188729 h 2122526"/>
              <a:gd name="connsiteX173" fmla="*/ 4202048 w 12192002"/>
              <a:gd name="connsiteY173" fmla="*/ 187470 h 2122526"/>
              <a:gd name="connsiteX174" fmla="*/ 4248116 w 12192002"/>
              <a:gd name="connsiteY174" fmla="*/ 184675 h 2122526"/>
              <a:gd name="connsiteX175" fmla="*/ 4276141 w 12192002"/>
              <a:gd name="connsiteY175" fmla="*/ 186999 h 2122526"/>
              <a:gd name="connsiteX176" fmla="*/ 4290062 w 12192002"/>
              <a:gd name="connsiteY176" fmla="*/ 186753 h 2122526"/>
              <a:gd name="connsiteX177" fmla="*/ 4295143 w 12192002"/>
              <a:gd name="connsiteY177" fmla="*/ 189670 h 2122526"/>
              <a:gd name="connsiteX178" fmla="*/ 4315108 w 12192002"/>
              <a:gd name="connsiteY178" fmla="*/ 187791 h 2122526"/>
              <a:gd name="connsiteX179" fmla="*/ 4316965 w 12192002"/>
              <a:gd name="connsiteY179" fmla="*/ 186450 h 2122526"/>
              <a:gd name="connsiteX180" fmla="*/ 4362875 w 12192002"/>
              <a:gd name="connsiteY180" fmla="*/ 193065 h 2122526"/>
              <a:gd name="connsiteX181" fmla="*/ 4428542 w 12192002"/>
              <a:gd name="connsiteY181" fmla="*/ 191719 h 2122526"/>
              <a:gd name="connsiteX182" fmla="*/ 4515813 w 12192002"/>
              <a:gd name="connsiteY182" fmla="*/ 181068 h 2122526"/>
              <a:gd name="connsiteX183" fmla="*/ 4715526 w 12192002"/>
              <a:gd name="connsiteY183" fmla="*/ 171166 h 2122526"/>
              <a:gd name="connsiteX184" fmla="*/ 4762447 w 12192002"/>
              <a:gd name="connsiteY184" fmla="*/ 162678 h 2122526"/>
              <a:gd name="connsiteX185" fmla="*/ 4840439 w 12192002"/>
              <a:gd name="connsiteY185" fmla="*/ 134910 h 2122526"/>
              <a:gd name="connsiteX186" fmla="*/ 5011513 w 12192002"/>
              <a:gd name="connsiteY186" fmla="*/ 110893 h 2122526"/>
              <a:gd name="connsiteX187" fmla="*/ 5065790 w 12192002"/>
              <a:gd name="connsiteY187" fmla="*/ 94512 h 2122526"/>
              <a:gd name="connsiteX188" fmla="*/ 5121659 w 12192002"/>
              <a:gd name="connsiteY188" fmla="*/ 101083 h 2122526"/>
              <a:gd name="connsiteX189" fmla="*/ 5139595 w 12192002"/>
              <a:gd name="connsiteY189" fmla="*/ 90230 h 2122526"/>
              <a:gd name="connsiteX190" fmla="*/ 5142598 w 12192002"/>
              <a:gd name="connsiteY190" fmla="*/ 88129 h 2122526"/>
              <a:gd name="connsiteX191" fmla="*/ 5156554 w 12192002"/>
              <a:gd name="connsiteY191" fmla="*/ 84729 h 2122526"/>
              <a:gd name="connsiteX192" fmla="*/ 5174660 w 12192002"/>
              <a:gd name="connsiteY192" fmla="*/ 77506 h 2122526"/>
              <a:gd name="connsiteX193" fmla="*/ 5222961 w 12192002"/>
              <a:gd name="connsiteY193" fmla="*/ 74516 h 2122526"/>
              <a:gd name="connsiteX194" fmla="*/ 5261763 w 12192002"/>
              <a:gd name="connsiteY194" fmla="*/ 63392 h 2122526"/>
              <a:gd name="connsiteX195" fmla="*/ 5381667 w 12192002"/>
              <a:gd name="connsiteY195" fmla="*/ 42975 h 2122526"/>
              <a:gd name="connsiteX196" fmla="*/ 5432760 w 12192002"/>
              <a:gd name="connsiteY196" fmla="*/ 25273 h 2122526"/>
              <a:gd name="connsiteX197" fmla="*/ 5470905 w 12192002"/>
              <a:gd name="connsiteY197" fmla="*/ 14020 h 2122526"/>
              <a:gd name="connsiteX198" fmla="*/ 5626960 w 12192002"/>
              <a:gd name="connsiteY198" fmla="*/ 0 h 2122526"/>
              <a:gd name="connsiteX0" fmla="*/ 5626960 w 12192002"/>
              <a:gd name="connsiteY0" fmla="*/ 0 h 2122526"/>
              <a:gd name="connsiteX1" fmla="*/ 5758918 w 12192002"/>
              <a:gd name="connsiteY1" fmla="*/ 1023 h 2122526"/>
              <a:gd name="connsiteX2" fmla="*/ 5957375 w 12192002"/>
              <a:gd name="connsiteY2" fmla="*/ 16715 h 2122526"/>
              <a:gd name="connsiteX3" fmla="*/ 6010090 w 12192002"/>
              <a:gd name="connsiteY3" fmla="*/ 20359 h 2122526"/>
              <a:gd name="connsiteX4" fmla="*/ 6041282 w 12192002"/>
              <a:gd name="connsiteY4" fmla="*/ 15266 h 2122526"/>
              <a:gd name="connsiteX5" fmla="*/ 6048637 w 12192002"/>
              <a:gd name="connsiteY5" fmla="*/ 6917 h 2122526"/>
              <a:gd name="connsiteX6" fmla="*/ 6068529 w 12192002"/>
              <a:gd name="connsiteY6" fmla="*/ 7600 h 2122526"/>
              <a:gd name="connsiteX7" fmla="*/ 6073847 w 12192002"/>
              <a:gd name="connsiteY7" fmla="*/ 6063 h 2122526"/>
              <a:gd name="connsiteX8" fmla="*/ 6168673 w 12192002"/>
              <a:gd name="connsiteY8" fmla="*/ 26525 h 2122526"/>
              <a:gd name="connsiteX9" fmla="*/ 6317559 w 12192002"/>
              <a:gd name="connsiteY9" fmla="*/ 28612 h 2122526"/>
              <a:gd name="connsiteX10" fmla="*/ 6549454 w 12192002"/>
              <a:gd name="connsiteY10" fmla="*/ 75412 h 2122526"/>
              <a:gd name="connsiteX11" fmla="*/ 6708221 w 12192002"/>
              <a:gd name="connsiteY11" fmla="*/ 104188 h 2122526"/>
              <a:gd name="connsiteX12" fmla="*/ 6904145 w 12192002"/>
              <a:gd name="connsiteY12" fmla="*/ 132143 h 2122526"/>
              <a:gd name="connsiteX13" fmla="*/ 7018495 w 12192002"/>
              <a:gd name="connsiteY13" fmla="*/ 161649 h 2122526"/>
              <a:gd name="connsiteX14" fmla="*/ 7096987 w 12192002"/>
              <a:gd name="connsiteY14" fmla="*/ 161275 h 2122526"/>
              <a:gd name="connsiteX15" fmla="*/ 7170807 w 12192002"/>
              <a:gd name="connsiteY15" fmla="*/ 173503 h 2122526"/>
              <a:gd name="connsiteX16" fmla="*/ 7197003 w 12192002"/>
              <a:gd name="connsiteY16" fmla="*/ 178151 h 2122526"/>
              <a:gd name="connsiteX17" fmla="*/ 7201101 w 12192002"/>
              <a:gd name="connsiteY17" fmla="*/ 183509 h 2122526"/>
              <a:gd name="connsiteX18" fmla="*/ 7218559 w 12192002"/>
              <a:gd name="connsiteY18" fmla="*/ 188059 h 2122526"/>
              <a:gd name="connsiteX19" fmla="*/ 7310852 w 12192002"/>
              <a:gd name="connsiteY19" fmla="*/ 213308 h 2122526"/>
              <a:gd name="connsiteX20" fmla="*/ 7312179 w 12192002"/>
              <a:gd name="connsiteY20" fmla="*/ 211866 h 2122526"/>
              <a:gd name="connsiteX21" fmla="*/ 7405390 w 12192002"/>
              <a:gd name="connsiteY21" fmla="*/ 202271 h 2122526"/>
              <a:gd name="connsiteX22" fmla="*/ 7495794 w 12192002"/>
              <a:gd name="connsiteY22" fmla="*/ 194166 h 2122526"/>
              <a:gd name="connsiteX23" fmla="*/ 7507039 w 12192002"/>
              <a:gd name="connsiteY23" fmla="*/ 196118 h 2122526"/>
              <a:gd name="connsiteX24" fmla="*/ 7507411 w 12192002"/>
              <a:gd name="connsiteY24" fmla="*/ 195791 h 2122526"/>
              <a:gd name="connsiteX25" fmla="*/ 7519570 w 12192002"/>
              <a:gd name="connsiteY25" fmla="*/ 197126 h 2122526"/>
              <a:gd name="connsiteX26" fmla="*/ 7527542 w 12192002"/>
              <a:gd name="connsiteY26" fmla="*/ 199679 h 2122526"/>
              <a:gd name="connsiteX27" fmla="*/ 7614346 w 12192002"/>
              <a:gd name="connsiteY27" fmla="*/ 205507 h 2122526"/>
              <a:gd name="connsiteX28" fmla="*/ 7718744 w 12192002"/>
              <a:gd name="connsiteY28" fmla="*/ 202036 h 2122526"/>
              <a:gd name="connsiteX29" fmla="*/ 7905407 w 12192002"/>
              <a:gd name="connsiteY29" fmla="*/ 227751 h 2122526"/>
              <a:gd name="connsiteX30" fmla="*/ 8090271 w 12192002"/>
              <a:gd name="connsiteY30" fmla="*/ 269724 h 2122526"/>
              <a:gd name="connsiteX31" fmla="*/ 8245834 w 12192002"/>
              <a:gd name="connsiteY31" fmla="*/ 315885 h 2122526"/>
              <a:gd name="connsiteX32" fmla="*/ 8252033 w 12192002"/>
              <a:gd name="connsiteY32" fmla="*/ 328877 h 2122526"/>
              <a:gd name="connsiteX33" fmla="*/ 8263376 w 12192002"/>
              <a:gd name="connsiteY33" fmla="*/ 338720 h 2122526"/>
              <a:gd name="connsiteX34" fmla="*/ 8266075 w 12192002"/>
              <a:gd name="connsiteY34" fmla="*/ 338490 h 2122526"/>
              <a:gd name="connsiteX35" fmla="*/ 8283149 w 12192002"/>
              <a:gd name="connsiteY35" fmla="*/ 345665 h 2122526"/>
              <a:gd name="connsiteX36" fmla="*/ 8284276 w 12192002"/>
              <a:gd name="connsiteY36" fmla="*/ 350108 h 2122526"/>
              <a:gd name="connsiteX37" fmla="*/ 8295173 w 12192002"/>
              <a:gd name="connsiteY37" fmla="*/ 355931 h 2122526"/>
              <a:gd name="connsiteX38" fmla="*/ 8314432 w 12192002"/>
              <a:gd name="connsiteY38" fmla="*/ 369826 h 2122526"/>
              <a:gd name="connsiteX39" fmla="*/ 8320104 w 12192002"/>
              <a:gd name="connsiteY39" fmla="*/ 370152 h 2122526"/>
              <a:gd name="connsiteX40" fmla="*/ 8352372 w 12192002"/>
              <a:gd name="connsiteY40" fmla="*/ 387570 h 2122526"/>
              <a:gd name="connsiteX41" fmla="*/ 8353799 w 12192002"/>
              <a:gd name="connsiteY41" fmla="*/ 386730 h 2122526"/>
              <a:gd name="connsiteX42" fmla="*/ 8367182 w 12192002"/>
              <a:gd name="connsiteY42" fmla="*/ 386924 h 2122526"/>
              <a:gd name="connsiteX43" fmla="*/ 8490249 w 12192002"/>
              <a:gd name="connsiteY43" fmla="*/ 400966 h 2122526"/>
              <a:gd name="connsiteX44" fmla="*/ 8497594 w 12192002"/>
              <a:gd name="connsiteY44" fmla="*/ 404016 h 2122526"/>
              <a:gd name="connsiteX45" fmla="*/ 8497968 w 12192002"/>
              <a:gd name="connsiteY45" fmla="*/ 403837 h 2122526"/>
              <a:gd name="connsiteX46" fmla="*/ 8506167 w 12192002"/>
              <a:gd name="connsiteY46" fmla="*/ 406575 h 2122526"/>
              <a:gd name="connsiteX47" fmla="*/ 8510983 w 12192002"/>
              <a:gd name="connsiteY47" fmla="*/ 409576 h 2122526"/>
              <a:gd name="connsiteX48" fmla="*/ 8525230 w 12192002"/>
              <a:gd name="connsiteY48" fmla="*/ 415491 h 2122526"/>
              <a:gd name="connsiteX49" fmla="*/ 8596071 w 12192002"/>
              <a:gd name="connsiteY49" fmla="*/ 400649 h 2122526"/>
              <a:gd name="connsiteX50" fmla="*/ 8707847 w 12192002"/>
              <a:gd name="connsiteY50" fmla="*/ 409221 h 2122526"/>
              <a:gd name="connsiteX51" fmla="*/ 8752444 w 12192002"/>
              <a:gd name="connsiteY51" fmla="*/ 411322 h 2122526"/>
              <a:gd name="connsiteX52" fmla="*/ 8928988 w 12192002"/>
              <a:gd name="connsiteY52" fmla="*/ 430554 h 2122526"/>
              <a:gd name="connsiteX53" fmla="*/ 8963048 w 12192002"/>
              <a:gd name="connsiteY53" fmla="*/ 427366 h 2122526"/>
              <a:gd name="connsiteX54" fmla="*/ 8968011 w 12192002"/>
              <a:gd name="connsiteY54" fmla="*/ 425141 h 2122526"/>
              <a:gd name="connsiteX55" fmla="*/ 8974337 w 12192002"/>
              <a:gd name="connsiteY55" fmla="*/ 424441 h 2122526"/>
              <a:gd name="connsiteX56" fmla="*/ 8990394 w 12192002"/>
              <a:gd name="connsiteY56" fmla="*/ 427667 h 2122526"/>
              <a:gd name="connsiteX57" fmla="*/ 8996232 w 12192002"/>
              <a:gd name="connsiteY57" fmla="*/ 429728 h 2122526"/>
              <a:gd name="connsiteX58" fmla="*/ 9005201 w 12192002"/>
              <a:gd name="connsiteY58" fmla="*/ 430939 h 2122526"/>
              <a:gd name="connsiteX59" fmla="*/ 9005486 w 12192002"/>
              <a:gd name="connsiteY59" fmla="*/ 430699 h 2122526"/>
              <a:gd name="connsiteX60" fmla="*/ 9053453 w 12192002"/>
              <a:gd name="connsiteY60" fmla="*/ 433984 h 2122526"/>
              <a:gd name="connsiteX61" fmla="*/ 9113812 w 12192002"/>
              <a:gd name="connsiteY61" fmla="*/ 425670 h 2122526"/>
              <a:gd name="connsiteX62" fmla="*/ 9137318 w 12192002"/>
              <a:gd name="connsiteY62" fmla="*/ 424304 h 2122526"/>
              <a:gd name="connsiteX63" fmla="*/ 9150210 w 12192002"/>
              <a:gd name="connsiteY63" fmla="*/ 422135 h 2122526"/>
              <a:gd name="connsiteX64" fmla="*/ 9151232 w 12192002"/>
              <a:gd name="connsiteY64" fmla="*/ 421070 h 2122526"/>
              <a:gd name="connsiteX65" fmla="*/ 9189246 w 12192002"/>
              <a:gd name="connsiteY65" fmla="*/ 432272 h 2122526"/>
              <a:gd name="connsiteX66" fmla="*/ 9194810 w 12192002"/>
              <a:gd name="connsiteY66" fmla="*/ 441511 h 2122526"/>
              <a:gd name="connsiteX67" fmla="*/ 9231370 w 12192002"/>
              <a:gd name="connsiteY67" fmla="*/ 451590 h 2122526"/>
              <a:gd name="connsiteX68" fmla="*/ 9343052 w 12192002"/>
              <a:gd name="connsiteY68" fmla="*/ 503495 h 2122526"/>
              <a:gd name="connsiteX69" fmla="*/ 9584507 w 12192002"/>
              <a:gd name="connsiteY69" fmla="*/ 549197 h 2122526"/>
              <a:gd name="connsiteX70" fmla="*/ 9728309 w 12192002"/>
              <a:gd name="connsiteY70" fmla="*/ 560617 h 2122526"/>
              <a:gd name="connsiteX71" fmla="*/ 9847792 w 12192002"/>
              <a:gd name="connsiteY71" fmla="*/ 580824 h 2122526"/>
              <a:gd name="connsiteX72" fmla="*/ 9960019 w 12192002"/>
              <a:gd name="connsiteY72" fmla="*/ 587592 h 2122526"/>
              <a:gd name="connsiteX73" fmla="*/ 10039240 w 12192002"/>
              <a:gd name="connsiteY73" fmla="*/ 603107 h 2122526"/>
              <a:gd name="connsiteX74" fmla="*/ 10082169 w 12192002"/>
              <a:gd name="connsiteY74" fmla="*/ 601443 h 2122526"/>
              <a:gd name="connsiteX75" fmla="*/ 10126500 w 12192002"/>
              <a:gd name="connsiteY75" fmla="*/ 603538 h 2122526"/>
              <a:gd name="connsiteX76" fmla="*/ 10261101 w 12192002"/>
              <a:gd name="connsiteY76" fmla="*/ 615053 h 2122526"/>
              <a:gd name="connsiteX77" fmla="*/ 10336855 w 12192002"/>
              <a:gd name="connsiteY77" fmla="*/ 624804 h 2122526"/>
              <a:gd name="connsiteX78" fmla="*/ 10383868 w 12192002"/>
              <a:gd name="connsiteY78" fmla="*/ 625415 h 2122526"/>
              <a:gd name="connsiteX79" fmla="*/ 10445984 w 12192002"/>
              <a:gd name="connsiteY79" fmla="*/ 629262 h 2122526"/>
              <a:gd name="connsiteX80" fmla="*/ 10519280 w 12192002"/>
              <a:gd name="connsiteY80" fmla="*/ 631320 h 2122526"/>
              <a:gd name="connsiteX81" fmla="*/ 10644619 w 12192002"/>
              <a:gd name="connsiteY81" fmla="*/ 651566 h 2122526"/>
              <a:gd name="connsiteX82" fmla="*/ 10857724 w 12192002"/>
              <a:gd name="connsiteY82" fmla="*/ 712684 h 2122526"/>
              <a:gd name="connsiteX83" fmla="*/ 10951063 w 12192002"/>
              <a:gd name="connsiteY83" fmla="*/ 725767 h 2122526"/>
              <a:gd name="connsiteX84" fmla="*/ 11030956 w 12192002"/>
              <a:gd name="connsiteY84" fmla="*/ 721011 h 2122526"/>
              <a:gd name="connsiteX85" fmla="*/ 11085938 w 12192002"/>
              <a:gd name="connsiteY85" fmla="*/ 723892 h 2122526"/>
              <a:gd name="connsiteX86" fmla="*/ 11143411 w 12192002"/>
              <a:gd name="connsiteY86" fmla="*/ 733141 h 2122526"/>
              <a:gd name="connsiteX87" fmla="*/ 11195087 w 12192002"/>
              <a:gd name="connsiteY87" fmla="*/ 732494 h 2122526"/>
              <a:gd name="connsiteX88" fmla="*/ 11273972 w 12192002"/>
              <a:gd name="connsiteY88" fmla="*/ 729660 h 2122526"/>
              <a:gd name="connsiteX89" fmla="*/ 11369715 w 12192002"/>
              <a:gd name="connsiteY89" fmla="*/ 813181 h 2122526"/>
              <a:gd name="connsiteX90" fmla="*/ 11462695 w 12192002"/>
              <a:gd name="connsiteY90" fmla="*/ 874654 h 2122526"/>
              <a:gd name="connsiteX91" fmla="*/ 11564181 w 12192002"/>
              <a:gd name="connsiteY91" fmla="*/ 888450 h 2122526"/>
              <a:gd name="connsiteX92" fmla="*/ 11684760 w 12192002"/>
              <a:gd name="connsiteY92" fmla="*/ 929360 h 2122526"/>
              <a:gd name="connsiteX93" fmla="*/ 11744187 w 12192002"/>
              <a:gd name="connsiteY93" fmla="*/ 1047864 h 2122526"/>
              <a:gd name="connsiteX94" fmla="*/ 11854857 w 12192002"/>
              <a:gd name="connsiteY94" fmla="*/ 1112485 h 2122526"/>
              <a:gd name="connsiteX95" fmla="*/ 11925839 w 12192002"/>
              <a:gd name="connsiteY95" fmla="*/ 1110203 h 2122526"/>
              <a:gd name="connsiteX96" fmla="*/ 12080164 w 12192002"/>
              <a:gd name="connsiteY96" fmla="*/ 1090885 h 2122526"/>
              <a:gd name="connsiteX97" fmla="*/ 12140863 w 12192002"/>
              <a:gd name="connsiteY97" fmla="*/ 1035036 h 2122526"/>
              <a:gd name="connsiteX98" fmla="*/ 12192002 w 12192002"/>
              <a:gd name="connsiteY98" fmla="*/ 1015838 h 2122526"/>
              <a:gd name="connsiteX99" fmla="*/ 12192002 w 12192002"/>
              <a:gd name="connsiteY99" fmla="*/ 1955549 h 2122526"/>
              <a:gd name="connsiteX100" fmla="*/ 12192000 w 12192002"/>
              <a:gd name="connsiteY100" fmla="*/ 1955549 h 2122526"/>
              <a:gd name="connsiteX101" fmla="*/ 12192000 w 12192002"/>
              <a:gd name="connsiteY101" fmla="*/ 2122526 h 2122526"/>
              <a:gd name="connsiteX102" fmla="*/ 0 w 12192002"/>
              <a:gd name="connsiteY102" fmla="*/ 2122526 h 2122526"/>
              <a:gd name="connsiteX103" fmla="*/ 0 w 12192002"/>
              <a:gd name="connsiteY103" fmla="*/ 1348327 h 2122526"/>
              <a:gd name="connsiteX104" fmla="*/ 2 w 12192002"/>
              <a:gd name="connsiteY104" fmla="*/ 1348327 h 2122526"/>
              <a:gd name="connsiteX105" fmla="*/ 2 w 12192002"/>
              <a:gd name="connsiteY105" fmla="*/ 592017 h 2122526"/>
              <a:gd name="connsiteX106" fmla="*/ 15526 w 12192002"/>
              <a:gd name="connsiteY106" fmla="*/ 586548 h 2122526"/>
              <a:gd name="connsiteX107" fmla="*/ 118381 w 12192002"/>
              <a:gd name="connsiteY107" fmla="*/ 583692 h 2122526"/>
              <a:gd name="connsiteX108" fmla="*/ 292435 w 12192002"/>
              <a:gd name="connsiteY108" fmla="*/ 531887 h 2122526"/>
              <a:gd name="connsiteX109" fmla="*/ 404015 w 12192002"/>
              <a:gd name="connsiteY109" fmla="*/ 511191 h 2122526"/>
              <a:gd name="connsiteX110" fmla="*/ 445099 w 12192002"/>
              <a:gd name="connsiteY110" fmla="*/ 505368 h 2122526"/>
              <a:gd name="connsiteX111" fmla="*/ 571717 w 12192002"/>
              <a:gd name="connsiteY111" fmla="*/ 467338 h 2122526"/>
              <a:gd name="connsiteX112" fmla="*/ 578535 w 12192002"/>
              <a:gd name="connsiteY112" fmla="*/ 467527 h 2122526"/>
              <a:gd name="connsiteX113" fmla="*/ 596792 w 12192002"/>
              <a:gd name="connsiteY113" fmla="*/ 464875 h 2122526"/>
              <a:gd name="connsiteX114" fmla="*/ 708875 w 12192002"/>
              <a:gd name="connsiteY114" fmla="*/ 422017 h 2122526"/>
              <a:gd name="connsiteX115" fmla="*/ 719742 w 12192002"/>
              <a:gd name="connsiteY115" fmla="*/ 416340 h 2122526"/>
              <a:gd name="connsiteX116" fmla="*/ 720047 w 12192002"/>
              <a:gd name="connsiteY116" fmla="*/ 415078 h 2122526"/>
              <a:gd name="connsiteX117" fmla="*/ 763053 w 12192002"/>
              <a:gd name="connsiteY117" fmla="*/ 414307 h 2122526"/>
              <a:gd name="connsiteX118" fmla="*/ 767901 w 12192002"/>
              <a:gd name="connsiteY118" fmla="*/ 412086 h 2122526"/>
              <a:gd name="connsiteX119" fmla="*/ 797041 w 12192002"/>
              <a:gd name="connsiteY119" fmla="*/ 414293 h 2122526"/>
              <a:gd name="connsiteX120" fmla="*/ 811506 w 12192002"/>
              <a:gd name="connsiteY120" fmla="*/ 413988 h 2122526"/>
              <a:gd name="connsiteX121" fmla="*/ 816809 w 12192002"/>
              <a:gd name="connsiteY121" fmla="*/ 416882 h 2122526"/>
              <a:gd name="connsiteX122" fmla="*/ 837540 w 12192002"/>
              <a:gd name="connsiteY122" fmla="*/ 414918 h 2122526"/>
              <a:gd name="connsiteX123" fmla="*/ 858269 w 12192002"/>
              <a:gd name="connsiteY123" fmla="*/ 416131 h 2122526"/>
              <a:gd name="connsiteX124" fmla="*/ 948732 w 12192002"/>
              <a:gd name="connsiteY124" fmla="*/ 404293 h 2122526"/>
              <a:gd name="connsiteX125" fmla="*/ 1149979 w 12192002"/>
              <a:gd name="connsiteY125" fmla="*/ 406698 h 2122526"/>
              <a:gd name="connsiteX126" fmla="*/ 1496110 w 12192002"/>
              <a:gd name="connsiteY126" fmla="*/ 357263 h 2122526"/>
              <a:gd name="connsiteX127" fmla="*/ 1608669 w 12192002"/>
              <a:gd name="connsiteY127" fmla="*/ 331673 h 2122526"/>
              <a:gd name="connsiteX128" fmla="*/ 1675071 w 12192002"/>
              <a:gd name="connsiteY128" fmla="*/ 324776 h 2122526"/>
              <a:gd name="connsiteX129" fmla="*/ 1738204 w 12192002"/>
              <a:gd name="connsiteY129" fmla="*/ 308427 h 2122526"/>
              <a:gd name="connsiteX130" fmla="*/ 1786655 w 12192002"/>
              <a:gd name="connsiteY130" fmla="*/ 303376 h 2122526"/>
              <a:gd name="connsiteX131" fmla="*/ 1873080 w 12192002"/>
              <a:gd name="connsiteY131" fmla="*/ 330998 h 2122526"/>
              <a:gd name="connsiteX132" fmla="*/ 1921650 w 12192002"/>
              <a:gd name="connsiteY132" fmla="*/ 332593 h 2122526"/>
              <a:gd name="connsiteX133" fmla="*/ 1928172 w 12192002"/>
              <a:gd name="connsiteY133" fmla="*/ 327762 h 2122526"/>
              <a:gd name="connsiteX134" fmla="*/ 1997356 w 12192002"/>
              <a:gd name="connsiteY134" fmla="*/ 349707 h 2122526"/>
              <a:gd name="connsiteX135" fmla="*/ 2094665 w 12192002"/>
              <a:gd name="connsiteY135" fmla="*/ 341687 h 2122526"/>
              <a:gd name="connsiteX136" fmla="*/ 2208578 w 12192002"/>
              <a:gd name="connsiteY136" fmla="*/ 324976 h 2122526"/>
              <a:gd name="connsiteX137" fmla="*/ 2315112 w 12192002"/>
              <a:gd name="connsiteY137" fmla="*/ 319743 h 2122526"/>
              <a:gd name="connsiteX138" fmla="*/ 2443255 w 12192002"/>
              <a:gd name="connsiteY138" fmla="*/ 328210 h 2122526"/>
              <a:gd name="connsiteX139" fmla="*/ 2568028 w 12192002"/>
              <a:gd name="connsiteY139" fmla="*/ 342111 h 2122526"/>
              <a:gd name="connsiteX140" fmla="*/ 2646527 w 12192002"/>
              <a:gd name="connsiteY140" fmla="*/ 315870 h 2122526"/>
              <a:gd name="connsiteX141" fmla="*/ 2781569 w 12192002"/>
              <a:gd name="connsiteY141" fmla="*/ 326406 h 2122526"/>
              <a:gd name="connsiteX142" fmla="*/ 3030291 w 12192002"/>
              <a:gd name="connsiteY142" fmla="*/ 348227 h 2122526"/>
              <a:gd name="connsiteX143" fmla="*/ 3142556 w 12192002"/>
              <a:gd name="connsiteY143" fmla="*/ 350870 h 2122526"/>
              <a:gd name="connsiteX144" fmla="*/ 3262356 w 12192002"/>
              <a:gd name="connsiteY144" fmla="*/ 358645 h 2122526"/>
              <a:gd name="connsiteX145" fmla="*/ 3341698 w 12192002"/>
              <a:gd name="connsiteY145" fmla="*/ 364522 h 2122526"/>
              <a:gd name="connsiteX146" fmla="*/ 3344026 w 12192002"/>
              <a:gd name="connsiteY146" fmla="*/ 363547 h 2122526"/>
              <a:gd name="connsiteX147" fmla="*/ 3363888 w 12192002"/>
              <a:gd name="connsiteY147" fmla="*/ 365229 h 2122526"/>
              <a:gd name="connsiteX148" fmla="*/ 3400728 w 12192002"/>
              <a:gd name="connsiteY148" fmla="*/ 382181 h 2122526"/>
              <a:gd name="connsiteX149" fmla="*/ 3473223 w 12192002"/>
              <a:gd name="connsiteY149" fmla="*/ 370133 h 2122526"/>
              <a:gd name="connsiteX150" fmla="*/ 3536135 w 12192002"/>
              <a:gd name="connsiteY150" fmla="*/ 366472 h 2122526"/>
              <a:gd name="connsiteX151" fmla="*/ 3585978 w 12192002"/>
              <a:gd name="connsiteY151" fmla="*/ 356773 h 2122526"/>
              <a:gd name="connsiteX152" fmla="*/ 3594501 w 12192002"/>
              <a:gd name="connsiteY152" fmla="*/ 357463 h 2122526"/>
              <a:gd name="connsiteX153" fmla="*/ 3594736 w 12192002"/>
              <a:gd name="connsiteY153" fmla="*/ 357194 h 2122526"/>
              <a:gd name="connsiteX154" fmla="*/ 3603855 w 12192002"/>
              <a:gd name="connsiteY154" fmla="*/ 357358 h 2122526"/>
              <a:gd name="connsiteX155" fmla="*/ 3610035 w 12192002"/>
              <a:gd name="connsiteY155" fmla="*/ 358720 h 2122526"/>
              <a:gd name="connsiteX156" fmla="*/ 3682513 w 12192002"/>
              <a:gd name="connsiteY156" fmla="*/ 326449 h 2122526"/>
              <a:gd name="connsiteX157" fmla="*/ 3789760 w 12192002"/>
              <a:gd name="connsiteY157" fmla="*/ 302526 h 2122526"/>
              <a:gd name="connsiteX158" fmla="*/ 3897275 w 12192002"/>
              <a:gd name="connsiteY158" fmla="*/ 282288 h 2122526"/>
              <a:gd name="connsiteX159" fmla="*/ 3936846 w 12192002"/>
              <a:gd name="connsiteY159" fmla="*/ 276633 h 2122526"/>
              <a:gd name="connsiteX160" fmla="*/ 4004538 w 12192002"/>
              <a:gd name="connsiteY160" fmla="*/ 259176 h 2122526"/>
              <a:gd name="connsiteX161" fmla="*/ 4033778 w 12192002"/>
              <a:gd name="connsiteY161" fmla="*/ 246608 h 2122526"/>
              <a:gd name="connsiteX162" fmla="*/ 4035363 w 12192002"/>
              <a:gd name="connsiteY162" fmla="*/ 246843 h 2122526"/>
              <a:gd name="connsiteX163" fmla="*/ 4036996 w 12192002"/>
              <a:gd name="connsiteY163" fmla="*/ 243176 h 2122526"/>
              <a:gd name="connsiteX164" fmla="*/ 4042364 w 12192002"/>
              <a:gd name="connsiteY164" fmla="*/ 240742 h 2122526"/>
              <a:gd name="connsiteX165" fmla="*/ 4058954 w 12192002"/>
              <a:gd name="connsiteY165" fmla="*/ 239121 h 2122526"/>
              <a:gd name="connsiteX166" fmla="*/ 4065510 w 12192002"/>
              <a:gd name="connsiteY166" fmla="*/ 239339 h 2122526"/>
              <a:gd name="connsiteX167" fmla="*/ 4074427 w 12192002"/>
              <a:gd name="connsiteY167" fmla="*/ 237895 h 2122526"/>
              <a:gd name="connsiteX168" fmla="*/ 4074546 w 12192002"/>
              <a:gd name="connsiteY168" fmla="*/ 237596 h 2122526"/>
              <a:gd name="connsiteX169" fmla="*/ 4083097 w 12192002"/>
              <a:gd name="connsiteY169" fmla="*/ 236761 h 2122526"/>
              <a:gd name="connsiteX170" fmla="*/ 4142745 w 12192002"/>
              <a:gd name="connsiteY170" fmla="*/ 210228 h 2122526"/>
              <a:gd name="connsiteX171" fmla="*/ 4191248 w 12192002"/>
              <a:gd name="connsiteY171" fmla="*/ 194363 h 2122526"/>
              <a:gd name="connsiteX172" fmla="*/ 4201744 w 12192002"/>
              <a:gd name="connsiteY172" fmla="*/ 188729 h 2122526"/>
              <a:gd name="connsiteX173" fmla="*/ 4202048 w 12192002"/>
              <a:gd name="connsiteY173" fmla="*/ 187470 h 2122526"/>
              <a:gd name="connsiteX174" fmla="*/ 4248116 w 12192002"/>
              <a:gd name="connsiteY174" fmla="*/ 184675 h 2122526"/>
              <a:gd name="connsiteX175" fmla="*/ 4276141 w 12192002"/>
              <a:gd name="connsiteY175" fmla="*/ 186999 h 2122526"/>
              <a:gd name="connsiteX176" fmla="*/ 4290062 w 12192002"/>
              <a:gd name="connsiteY176" fmla="*/ 186753 h 2122526"/>
              <a:gd name="connsiteX177" fmla="*/ 4295143 w 12192002"/>
              <a:gd name="connsiteY177" fmla="*/ 189670 h 2122526"/>
              <a:gd name="connsiteX178" fmla="*/ 4315108 w 12192002"/>
              <a:gd name="connsiteY178" fmla="*/ 187791 h 2122526"/>
              <a:gd name="connsiteX179" fmla="*/ 4316965 w 12192002"/>
              <a:gd name="connsiteY179" fmla="*/ 186450 h 2122526"/>
              <a:gd name="connsiteX180" fmla="*/ 4362875 w 12192002"/>
              <a:gd name="connsiteY180" fmla="*/ 193065 h 2122526"/>
              <a:gd name="connsiteX181" fmla="*/ 4428542 w 12192002"/>
              <a:gd name="connsiteY181" fmla="*/ 191719 h 2122526"/>
              <a:gd name="connsiteX182" fmla="*/ 4515813 w 12192002"/>
              <a:gd name="connsiteY182" fmla="*/ 181068 h 2122526"/>
              <a:gd name="connsiteX183" fmla="*/ 4715526 w 12192002"/>
              <a:gd name="connsiteY183" fmla="*/ 171166 h 2122526"/>
              <a:gd name="connsiteX184" fmla="*/ 4762447 w 12192002"/>
              <a:gd name="connsiteY184" fmla="*/ 162678 h 2122526"/>
              <a:gd name="connsiteX185" fmla="*/ 4840439 w 12192002"/>
              <a:gd name="connsiteY185" fmla="*/ 134910 h 2122526"/>
              <a:gd name="connsiteX186" fmla="*/ 5011513 w 12192002"/>
              <a:gd name="connsiteY186" fmla="*/ 110893 h 2122526"/>
              <a:gd name="connsiteX187" fmla="*/ 5065790 w 12192002"/>
              <a:gd name="connsiteY187" fmla="*/ 94512 h 2122526"/>
              <a:gd name="connsiteX188" fmla="*/ 5121659 w 12192002"/>
              <a:gd name="connsiteY188" fmla="*/ 101083 h 2122526"/>
              <a:gd name="connsiteX189" fmla="*/ 5139595 w 12192002"/>
              <a:gd name="connsiteY189" fmla="*/ 90230 h 2122526"/>
              <a:gd name="connsiteX190" fmla="*/ 5142598 w 12192002"/>
              <a:gd name="connsiteY190" fmla="*/ 88129 h 2122526"/>
              <a:gd name="connsiteX191" fmla="*/ 5156554 w 12192002"/>
              <a:gd name="connsiteY191" fmla="*/ 84729 h 2122526"/>
              <a:gd name="connsiteX192" fmla="*/ 5174660 w 12192002"/>
              <a:gd name="connsiteY192" fmla="*/ 77506 h 2122526"/>
              <a:gd name="connsiteX193" fmla="*/ 5222961 w 12192002"/>
              <a:gd name="connsiteY193" fmla="*/ 74516 h 2122526"/>
              <a:gd name="connsiteX194" fmla="*/ 5261763 w 12192002"/>
              <a:gd name="connsiteY194" fmla="*/ 63392 h 2122526"/>
              <a:gd name="connsiteX195" fmla="*/ 5381667 w 12192002"/>
              <a:gd name="connsiteY195" fmla="*/ 42975 h 2122526"/>
              <a:gd name="connsiteX196" fmla="*/ 5432760 w 12192002"/>
              <a:gd name="connsiteY196" fmla="*/ 25273 h 2122526"/>
              <a:gd name="connsiteX197" fmla="*/ 5470905 w 12192002"/>
              <a:gd name="connsiteY197" fmla="*/ 14020 h 2122526"/>
              <a:gd name="connsiteX198" fmla="*/ 5626960 w 12192002"/>
              <a:gd name="connsiteY198" fmla="*/ 0 h 2122526"/>
              <a:gd name="connsiteX0" fmla="*/ 5626960 w 12192002"/>
              <a:gd name="connsiteY0" fmla="*/ 0 h 2122526"/>
              <a:gd name="connsiteX1" fmla="*/ 5758918 w 12192002"/>
              <a:gd name="connsiteY1" fmla="*/ 1023 h 2122526"/>
              <a:gd name="connsiteX2" fmla="*/ 5957375 w 12192002"/>
              <a:gd name="connsiteY2" fmla="*/ 16715 h 2122526"/>
              <a:gd name="connsiteX3" fmla="*/ 6010090 w 12192002"/>
              <a:gd name="connsiteY3" fmla="*/ 20359 h 2122526"/>
              <a:gd name="connsiteX4" fmla="*/ 6041282 w 12192002"/>
              <a:gd name="connsiteY4" fmla="*/ 15266 h 2122526"/>
              <a:gd name="connsiteX5" fmla="*/ 6048637 w 12192002"/>
              <a:gd name="connsiteY5" fmla="*/ 6917 h 2122526"/>
              <a:gd name="connsiteX6" fmla="*/ 6068529 w 12192002"/>
              <a:gd name="connsiteY6" fmla="*/ 7600 h 2122526"/>
              <a:gd name="connsiteX7" fmla="*/ 6073847 w 12192002"/>
              <a:gd name="connsiteY7" fmla="*/ 6063 h 2122526"/>
              <a:gd name="connsiteX8" fmla="*/ 6168673 w 12192002"/>
              <a:gd name="connsiteY8" fmla="*/ 26525 h 2122526"/>
              <a:gd name="connsiteX9" fmla="*/ 6317559 w 12192002"/>
              <a:gd name="connsiteY9" fmla="*/ 28612 h 2122526"/>
              <a:gd name="connsiteX10" fmla="*/ 6549454 w 12192002"/>
              <a:gd name="connsiteY10" fmla="*/ 75412 h 2122526"/>
              <a:gd name="connsiteX11" fmla="*/ 6708221 w 12192002"/>
              <a:gd name="connsiteY11" fmla="*/ 104188 h 2122526"/>
              <a:gd name="connsiteX12" fmla="*/ 6904145 w 12192002"/>
              <a:gd name="connsiteY12" fmla="*/ 132143 h 2122526"/>
              <a:gd name="connsiteX13" fmla="*/ 7018495 w 12192002"/>
              <a:gd name="connsiteY13" fmla="*/ 161649 h 2122526"/>
              <a:gd name="connsiteX14" fmla="*/ 7096987 w 12192002"/>
              <a:gd name="connsiteY14" fmla="*/ 161275 h 2122526"/>
              <a:gd name="connsiteX15" fmla="*/ 7170807 w 12192002"/>
              <a:gd name="connsiteY15" fmla="*/ 173503 h 2122526"/>
              <a:gd name="connsiteX16" fmla="*/ 7197003 w 12192002"/>
              <a:gd name="connsiteY16" fmla="*/ 178151 h 2122526"/>
              <a:gd name="connsiteX17" fmla="*/ 7201101 w 12192002"/>
              <a:gd name="connsiteY17" fmla="*/ 183509 h 2122526"/>
              <a:gd name="connsiteX18" fmla="*/ 7218559 w 12192002"/>
              <a:gd name="connsiteY18" fmla="*/ 188059 h 2122526"/>
              <a:gd name="connsiteX19" fmla="*/ 7310852 w 12192002"/>
              <a:gd name="connsiteY19" fmla="*/ 213308 h 2122526"/>
              <a:gd name="connsiteX20" fmla="*/ 7312179 w 12192002"/>
              <a:gd name="connsiteY20" fmla="*/ 211866 h 2122526"/>
              <a:gd name="connsiteX21" fmla="*/ 7405390 w 12192002"/>
              <a:gd name="connsiteY21" fmla="*/ 202271 h 2122526"/>
              <a:gd name="connsiteX22" fmla="*/ 7495794 w 12192002"/>
              <a:gd name="connsiteY22" fmla="*/ 194166 h 2122526"/>
              <a:gd name="connsiteX23" fmla="*/ 7507039 w 12192002"/>
              <a:gd name="connsiteY23" fmla="*/ 196118 h 2122526"/>
              <a:gd name="connsiteX24" fmla="*/ 7507411 w 12192002"/>
              <a:gd name="connsiteY24" fmla="*/ 195791 h 2122526"/>
              <a:gd name="connsiteX25" fmla="*/ 7519570 w 12192002"/>
              <a:gd name="connsiteY25" fmla="*/ 197126 h 2122526"/>
              <a:gd name="connsiteX26" fmla="*/ 7527542 w 12192002"/>
              <a:gd name="connsiteY26" fmla="*/ 199679 h 2122526"/>
              <a:gd name="connsiteX27" fmla="*/ 7614346 w 12192002"/>
              <a:gd name="connsiteY27" fmla="*/ 205507 h 2122526"/>
              <a:gd name="connsiteX28" fmla="*/ 7718744 w 12192002"/>
              <a:gd name="connsiteY28" fmla="*/ 202036 h 2122526"/>
              <a:gd name="connsiteX29" fmla="*/ 7905407 w 12192002"/>
              <a:gd name="connsiteY29" fmla="*/ 227751 h 2122526"/>
              <a:gd name="connsiteX30" fmla="*/ 8090271 w 12192002"/>
              <a:gd name="connsiteY30" fmla="*/ 269724 h 2122526"/>
              <a:gd name="connsiteX31" fmla="*/ 8245834 w 12192002"/>
              <a:gd name="connsiteY31" fmla="*/ 315885 h 2122526"/>
              <a:gd name="connsiteX32" fmla="*/ 8252033 w 12192002"/>
              <a:gd name="connsiteY32" fmla="*/ 328877 h 2122526"/>
              <a:gd name="connsiteX33" fmla="*/ 8263376 w 12192002"/>
              <a:gd name="connsiteY33" fmla="*/ 338720 h 2122526"/>
              <a:gd name="connsiteX34" fmla="*/ 8266075 w 12192002"/>
              <a:gd name="connsiteY34" fmla="*/ 338490 h 2122526"/>
              <a:gd name="connsiteX35" fmla="*/ 8283149 w 12192002"/>
              <a:gd name="connsiteY35" fmla="*/ 345665 h 2122526"/>
              <a:gd name="connsiteX36" fmla="*/ 8284276 w 12192002"/>
              <a:gd name="connsiteY36" fmla="*/ 350108 h 2122526"/>
              <a:gd name="connsiteX37" fmla="*/ 8295173 w 12192002"/>
              <a:gd name="connsiteY37" fmla="*/ 355931 h 2122526"/>
              <a:gd name="connsiteX38" fmla="*/ 8314432 w 12192002"/>
              <a:gd name="connsiteY38" fmla="*/ 369826 h 2122526"/>
              <a:gd name="connsiteX39" fmla="*/ 8320104 w 12192002"/>
              <a:gd name="connsiteY39" fmla="*/ 370152 h 2122526"/>
              <a:gd name="connsiteX40" fmla="*/ 8352372 w 12192002"/>
              <a:gd name="connsiteY40" fmla="*/ 387570 h 2122526"/>
              <a:gd name="connsiteX41" fmla="*/ 8353799 w 12192002"/>
              <a:gd name="connsiteY41" fmla="*/ 386730 h 2122526"/>
              <a:gd name="connsiteX42" fmla="*/ 8367182 w 12192002"/>
              <a:gd name="connsiteY42" fmla="*/ 386924 h 2122526"/>
              <a:gd name="connsiteX43" fmla="*/ 8490249 w 12192002"/>
              <a:gd name="connsiteY43" fmla="*/ 400966 h 2122526"/>
              <a:gd name="connsiteX44" fmla="*/ 8497594 w 12192002"/>
              <a:gd name="connsiteY44" fmla="*/ 404016 h 2122526"/>
              <a:gd name="connsiteX45" fmla="*/ 8497968 w 12192002"/>
              <a:gd name="connsiteY45" fmla="*/ 403837 h 2122526"/>
              <a:gd name="connsiteX46" fmla="*/ 8506167 w 12192002"/>
              <a:gd name="connsiteY46" fmla="*/ 406575 h 2122526"/>
              <a:gd name="connsiteX47" fmla="*/ 8510983 w 12192002"/>
              <a:gd name="connsiteY47" fmla="*/ 409576 h 2122526"/>
              <a:gd name="connsiteX48" fmla="*/ 8525230 w 12192002"/>
              <a:gd name="connsiteY48" fmla="*/ 415491 h 2122526"/>
              <a:gd name="connsiteX49" fmla="*/ 8596071 w 12192002"/>
              <a:gd name="connsiteY49" fmla="*/ 400649 h 2122526"/>
              <a:gd name="connsiteX50" fmla="*/ 8707847 w 12192002"/>
              <a:gd name="connsiteY50" fmla="*/ 409221 h 2122526"/>
              <a:gd name="connsiteX51" fmla="*/ 8752444 w 12192002"/>
              <a:gd name="connsiteY51" fmla="*/ 411322 h 2122526"/>
              <a:gd name="connsiteX52" fmla="*/ 8928988 w 12192002"/>
              <a:gd name="connsiteY52" fmla="*/ 430554 h 2122526"/>
              <a:gd name="connsiteX53" fmla="*/ 8963048 w 12192002"/>
              <a:gd name="connsiteY53" fmla="*/ 427366 h 2122526"/>
              <a:gd name="connsiteX54" fmla="*/ 8968011 w 12192002"/>
              <a:gd name="connsiteY54" fmla="*/ 425141 h 2122526"/>
              <a:gd name="connsiteX55" fmla="*/ 8974337 w 12192002"/>
              <a:gd name="connsiteY55" fmla="*/ 424441 h 2122526"/>
              <a:gd name="connsiteX56" fmla="*/ 8990394 w 12192002"/>
              <a:gd name="connsiteY56" fmla="*/ 427667 h 2122526"/>
              <a:gd name="connsiteX57" fmla="*/ 8996232 w 12192002"/>
              <a:gd name="connsiteY57" fmla="*/ 429728 h 2122526"/>
              <a:gd name="connsiteX58" fmla="*/ 9005201 w 12192002"/>
              <a:gd name="connsiteY58" fmla="*/ 430939 h 2122526"/>
              <a:gd name="connsiteX59" fmla="*/ 9005486 w 12192002"/>
              <a:gd name="connsiteY59" fmla="*/ 430699 h 2122526"/>
              <a:gd name="connsiteX60" fmla="*/ 9053453 w 12192002"/>
              <a:gd name="connsiteY60" fmla="*/ 433984 h 2122526"/>
              <a:gd name="connsiteX61" fmla="*/ 9113812 w 12192002"/>
              <a:gd name="connsiteY61" fmla="*/ 425670 h 2122526"/>
              <a:gd name="connsiteX62" fmla="*/ 9137318 w 12192002"/>
              <a:gd name="connsiteY62" fmla="*/ 424304 h 2122526"/>
              <a:gd name="connsiteX63" fmla="*/ 9150210 w 12192002"/>
              <a:gd name="connsiteY63" fmla="*/ 422135 h 2122526"/>
              <a:gd name="connsiteX64" fmla="*/ 9151232 w 12192002"/>
              <a:gd name="connsiteY64" fmla="*/ 421070 h 2122526"/>
              <a:gd name="connsiteX65" fmla="*/ 9189246 w 12192002"/>
              <a:gd name="connsiteY65" fmla="*/ 432272 h 2122526"/>
              <a:gd name="connsiteX66" fmla="*/ 9194810 w 12192002"/>
              <a:gd name="connsiteY66" fmla="*/ 441511 h 2122526"/>
              <a:gd name="connsiteX67" fmla="*/ 9231370 w 12192002"/>
              <a:gd name="connsiteY67" fmla="*/ 451590 h 2122526"/>
              <a:gd name="connsiteX68" fmla="*/ 9343052 w 12192002"/>
              <a:gd name="connsiteY68" fmla="*/ 503495 h 2122526"/>
              <a:gd name="connsiteX69" fmla="*/ 9584507 w 12192002"/>
              <a:gd name="connsiteY69" fmla="*/ 549197 h 2122526"/>
              <a:gd name="connsiteX70" fmla="*/ 9728309 w 12192002"/>
              <a:gd name="connsiteY70" fmla="*/ 560617 h 2122526"/>
              <a:gd name="connsiteX71" fmla="*/ 9847792 w 12192002"/>
              <a:gd name="connsiteY71" fmla="*/ 580824 h 2122526"/>
              <a:gd name="connsiteX72" fmla="*/ 9960019 w 12192002"/>
              <a:gd name="connsiteY72" fmla="*/ 587592 h 2122526"/>
              <a:gd name="connsiteX73" fmla="*/ 10039240 w 12192002"/>
              <a:gd name="connsiteY73" fmla="*/ 603107 h 2122526"/>
              <a:gd name="connsiteX74" fmla="*/ 10082169 w 12192002"/>
              <a:gd name="connsiteY74" fmla="*/ 601443 h 2122526"/>
              <a:gd name="connsiteX75" fmla="*/ 10126500 w 12192002"/>
              <a:gd name="connsiteY75" fmla="*/ 603538 h 2122526"/>
              <a:gd name="connsiteX76" fmla="*/ 10261101 w 12192002"/>
              <a:gd name="connsiteY76" fmla="*/ 615053 h 2122526"/>
              <a:gd name="connsiteX77" fmla="*/ 10336855 w 12192002"/>
              <a:gd name="connsiteY77" fmla="*/ 624804 h 2122526"/>
              <a:gd name="connsiteX78" fmla="*/ 10383868 w 12192002"/>
              <a:gd name="connsiteY78" fmla="*/ 625415 h 2122526"/>
              <a:gd name="connsiteX79" fmla="*/ 10445984 w 12192002"/>
              <a:gd name="connsiteY79" fmla="*/ 629262 h 2122526"/>
              <a:gd name="connsiteX80" fmla="*/ 10519280 w 12192002"/>
              <a:gd name="connsiteY80" fmla="*/ 631320 h 2122526"/>
              <a:gd name="connsiteX81" fmla="*/ 10644619 w 12192002"/>
              <a:gd name="connsiteY81" fmla="*/ 651566 h 2122526"/>
              <a:gd name="connsiteX82" fmla="*/ 10857724 w 12192002"/>
              <a:gd name="connsiteY82" fmla="*/ 712684 h 2122526"/>
              <a:gd name="connsiteX83" fmla="*/ 10951063 w 12192002"/>
              <a:gd name="connsiteY83" fmla="*/ 725767 h 2122526"/>
              <a:gd name="connsiteX84" fmla="*/ 11030956 w 12192002"/>
              <a:gd name="connsiteY84" fmla="*/ 721011 h 2122526"/>
              <a:gd name="connsiteX85" fmla="*/ 11085938 w 12192002"/>
              <a:gd name="connsiteY85" fmla="*/ 723892 h 2122526"/>
              <a:gd name="connsiteX86" fmla="*/ 11143411 w 12192002"/>
              <a:gd name="connsiteY86" fmla="*/ 733141 h 2122526"/>
              <a:gd name="connsiteX87" fmla="*/ 11195087 w 12192002"/>
              <a:gd name="connsiteY87" fmla="*/ 732494 h 2122526"/>
              <a:gd name="connsiteX88" fmla="*/ 11273972 w 12192002"/>
              <a:gd name="connsiteY88" fmla="*/ 729660 h 2122526"/>
              <a:gd name="connsiteX89" fmla="*/ 11369715 w 12192002"/>
              <a:gd name="connsiteY89" fmla="*/ 813181 h 2122526"/>
              <a:gd name="connsiteX90" fmla="*/ 11462695 w 12192002"/>
              <a:gd name="connsiteY90" fmla="*/ 874654 h 2122526"/>
              <a:gd name="connsiteX91" fmla="*/ 11564181 w 12192002"/>
              <a:gd name="connsiteY91" fmla="*/ 888450 h 2122526"/>
              <a:gd name="connsiteX92" fmla="*/ 11585369 w 12192002"/>
              <a:gd name="connsiteY92" fmla="*/ 1004898 h 2122526"/>
              <a:gd name="connsiteX93" fmla="*/ 11744187 w 12192002"/>
              <a:gd name="connsiteY93" fmla="*/ 1047864 h 2122526"/>
              <a:gd name="connsiteX94" fmla="*/ 11854857 w 12192002"/>
              <a:gd name="connsiteY94" fmla="*/ 1112485 h 2122526"/>
              <a:gd name="connsiteX95" fmla="*/ 11925839 w 12192002"/>
              <a:gd name="connsiteY95" fmla="*/ 1110203 h 2122526"/>
              <a:gd name="connsiteX96" fmla="*/ 12080164 w 12192002"/>
              <a:gd name="connsiteY96" fmla="*/ 1090885 h 2122526"/>
              <a:gd name="connsiteX97" fmla="*/ 12140863 w 12192002"/>
              <a:gd name="connsiteY97" fmla="*/ 1035036 h 2122526"/>
              <a:gd name="connsiteX98" fmla="*/ 12192002 w 12192002"/>
              <a:gd name="connsiteY98" fmla="*/ 1015838 h 2122526"/>
              <a:gd name="connsiteX99" fmla="*/ 12192002 w 12192002"/>
              <a:gd name="connsiteY99" fmla="*/ 1955549 h 2122526"/>
              <a:gd name="connsiteX100" fmla="*/ 12192000 w 12192002"/>
              <a:gd name="connsiteY100" fmla="*/ 1955549 h 2122526"/>
              <a:gd name="connsiteX101" fmla="*/ 12192000 w 12192002"/>
              <a:gd name="connsiteY101" fmla="*/ 2122526 h 2122526"/>
              <a:gd name="connsiteX102" fmla="*/ 0 w 12192002"/>
              <a:gd name="connsiteY102" fmla="*/ 2122526 h 2122526"/>
              <a:gd name="connsiteX103" fmla="*/ 0 w 12192002"/>
              <a:gd name="connsiteY103" fmla="*/ 1348327 h 2122526"/>
              <a:gd name="connsiteX104" fmla="*/ 2 w 12192002"/>
              <a:gd name="connsiteY104" fmla="*/ 1348327 h 2122526"/>
              <a:gd name="connsiteX105" fmla="*/ 2 w 12192002"/>
              <a:gd name="connsiteY105" fmla="*/ 592017 h 2122526"/>
              <a:gd name="connsiteX106" fmla="*/ 15526 w 12192002"/>
              <a:gd name="connsiteY106" fmla="*/ 586548 h 2122526"/>
              <a:gd name="connsiteX107" fmla="*/ 118381 w 12192002"/>
              <a:gd name="connsiteY107" fmla="*/ 583692 h 2122526"/>
              <a:gd name="connsiteX108" fmla="*/ 292435 w 12192002"/>
              <a:gd name="connsiteY108" fmla="*/ 531887 h 2122526"/>
              <a:gd name="connsiteX109" fmla="*/ 404015 w 12192002"/>
              <a:gd name="connsiteY109" fmla="*/ 511191 h 2122526"/>
              <a:gd name="connsiteX110" fmla="*/ 445099 w 12192002"/>
              <a:gd name="connsiteY110" fmla="*/ 505368 h 2122526"/>
              <a:gd name="connsiteX111" fmla="*/ 571717 w 12192002"/>
              <a:gd name="connsiteY111" fmla="*/ 467338 h 2122526"/>
              <a:gd name="connsiteX112" fmla="*/ 578535 w 12192002"/>
              <a:gd name="connsiteY112" fmla="*/ 467527 h 2122526"/>
              <a:gd name="connsiteX113" fmla="*/ 596792 w 12192002"/>
              <a:gd name="connsiteY113" fmla="*/ 464875 h 2122526"/>
              <a:gd name="connsiteX114" fmla="*/ 708875 w 12192002"/>
              <a:gd name="connsiteY114" fmla="*/ 422017 h 2122526"/>
              <a:gd name="connsiteX115" fmla="*/ 719742 w 12192002"/>
              <a:gd name="connsiteY115" fmla="*/ 416340 h 2122526"/>
              <a:gd name="connsiteX116" fmla="*/ 720047 w 12192002"/>
              <a:gd name="connsiteY116" fmla="*/ 415078 h 2122526"/>
              <a:gd name="connsiteX117" fmla="*/ 763053 w 12192002"/>
              <a:gd name="connsiteY117" fmla="*/ 414307 h 2122526"/>
              <a:gd name="connsiteX118" fmla="*/ 767901 w 12192002"/>
              <a:gd name="connsiteY118" fmla="*/ 412086 h 2122526"/>
              <a:gd name="connsiteX119" fmla="*/ 797041 w 12192002"/>
              <a:gd name="connsiteY119" fmla="*/ 414293 h 2122526"/>
              <a:gd name="connsiteX120" fmla="*/ 811506 w 12192002"/>
              <a:gd name="connsiteY120" fmla="*/ 413988 h 2122526"/>
              <a:gd name="connsiteX121" fmla="*/ 816809 w 12192002"/>
              <a:gd name="connsiteY121" fmla="*/ 416882 h 2122526"/>
              <a:gd name="connsiteX122" fmla="*/ 837540 w 12192002"/>
              <a:gd name="connsiteY122" fmla="*/ 414918 h 2122526"/>
              <a:gd name="connsiteX123" fmla="*/ 858269 w 12192002"/>
              <a:gd name="connsiteY123" fmla="*/ 416131 h 2122526"/>
              <a:gd name="connsiteX124" fmla="*/ 948732 w 12192002"/>
              <a:gd name="connsiteY124" fmla="*/ 404293 h 2122526"/>
              <a:gd name="connsiteX125" fmla="*/ 1149979 w 12192002"/>
              <a:gd name="connsiteY125" fmla="*/ 406698 h 2122526"/>
              <a:gd name="connsiteX126" fmla="*/ 1496110 w 12192002"/>
              <a:gd name="connsiteY126" fmla="*/ 357263 h 2122526"/>
              <a:gd name="connsiteX127" fmla="*/ 1608669 w 12192002"/>
              <a:gd name="connsiteY127" fmla="*/ 331673 h 2122526"/>
              <a:gd name="connsiteX128" fmla="*/ 1675071 w 12192002"/>
              <a:gd name="connsiteY128" fmla="*/ 324776 h 2122526"/>
              <a:gd name="connsiteX129" fmla="*/ 1738204 w 12192002"/>
              <a:gd name="connsiteY129" fmla="*/ 308427 h 2122526"/>
              <a:gd name="connsiteX130" fmla="*/ 1786655 w 12192002"/>
              <a:gd name="connsiteY130" fmla="*/ 303376 h 2122526"/>
              <a:gd name="connsiteX131" fmla="*/ 1873080 w 12192002"/>
              <a:gd name="connsiteY131" fmla="*/ 330998 h 2122526"/>
              <a:gd name="connsiteX132" fmla="*/ 1921650 w 12192002"/>
              <a:gd name="connsiteY132" fmla="*/ 332593 h 2122526"/>
              <a:gd name="connsiteX133" fmla="*/ 1928172 w 12192002"/>
              <a:gd name="connsiteY133" fmla="*/ 327762 h 2122526"/>
              <a:gd name="connsiteX134" fmla="*/ 1997356 w 12192002"/>
              <a:gd name="connsiteY134" fmla="*/ 349707 h 2122526"/>
              <a:gd name="connsiteX135" fmla="*/ 2094665 w 12192002"/>
              <a:gd name="connsiteY135" fmla="*/ 341687 h 2122526"/>
              <a:gd name="connsiteX136" fmla="*/ 2208578 w 12192002"/>
              <a:gd name="connsiteY136" fmla="*/ 324976 h 2122526"/>
              <a:gd name="connsiteX137" fmla="*/ 2315112 w 12192002"/>
              <a:gd name="connsiteY137" fmla="*/ 319743 h 2122526"/>
              <a:gd name="connsiteX138" fmla="*/ 2443255 w 12192002"/>
              <a:gd name="connsiteY138" fmla="*/ 328210 h 2122526"/>
              <a:gd name="connsiteX139" fmla="*/ 2568028 w 12192002"/>
              <a:gd name="connsiteY139" fmla="*/ 342111 h 2122526"/>
              <a:gd name="connsiteX140" fmla="*/ 2646527 w 12192002"/>
              <a:gd name="connsiteY140" fmla="*/ 315870 h 2122526"/>
              <a:gd name="connsiteX141" fmla="*/ 2781569 w 12192002"/>
              <a:gd name="connsiteY141" fmla="*/ 326406 h 2122526"/>
              <a:gd name="connsiteX142" fmla="*/ 3030291 w 12192002"/>
              <a:gd name="connsiteY142" fmla="*/ 348227 h 2122526"/>
              <a:gd name="connsiteX143" fmla="*/ 3142556 w 12192002"/>
              <a:gd name="connsiteY143" fmla="*/ 350870 h 2122526"/>
              <a:gd name="connsiteX144" fmla="*/ 3262356 w 12192002"/>
              <a:gd name="connsiteY144" fmla="*/ 358645 h 2122526"/>
              <a:gd name="connsiteX145" fmla="*/ 3341698 w 12192002"/>
              <a:gd name="connsiteY145" fmla="*/ 364522 h 2122526"/>
              <a:gd name="connsiteX146" fmla="*/ 3344026 w 12192002"/>
              <a:gd name="connsiteY146" fmla="*/ 363547 h 2122526"/>
              <a:gd name="connsiteX147" fmla="*/ 3363888 w 12192002"/>
              <a:gd name="connsiteY147" fmla="*/ 365229 h 2122526"/>
              <a:gd name="connsiteX148" fmla="*/ 3400728 w 12192002"/>
              <a:gd name="connsiteY148" fmla="*/ 382181 h 2122526"/>
              <a:gd name="connsiteX149" fmla="*/ 3473223 w 12192002"/>
              <a:gd name="connsiteY149" fmla="*/ 370133 h 2122526"/>
              <a:gd name="connsiteX150" fmla="*/ 3536135 w 12192002"/>
              <a:gd name="connsiteY150" fmla="*/ 366472 h 2122526"/>
              <a:gd name="connsiteX151" fmla="*/ 3585978 w 12192002"/>
              <a:gd name="connsiteY151" fmla="*/ 356773 h 2122526"/>
              <a:gd name="connsiteX152" fmla="*/ 3594501 w 12192002"/>
              <a:gd name="connsiteY152" fmla="*/ 357463 h 2122526"/>
              <a:gd name="connsiteX153" fmla="*/ 3594736 w 12192002"/>
              <a:gd name="connsiteY153" fmla="*/ 357194 h 2122526"/>
              <a:gd name="connsiteX154" fmla="*/ 3603855 w 12192002"/>
              <a:gd name="connsiteY154" fmla="*/ 357358 h 2122526"/>
              <a:gd name="connsiteX155" fmla="*/ 3610035 w 12192002"/>
              <a:gd name="connsiteY155" fmla="*/ 358720 h 2122526"/>
              <a:gd name="connsiteX156" fmla="*/ 3682513 w 12192002"/>
              <a:gd name="connsiteY156" fmla="*/ 326449 h 2122526"/>
              <a:gd name="connsiteX157" fmla="*/ 3789760 w 12192002"/>
              <a:gd name="connsiteY157" fmla="*/ 302526 h 2122526"/>
              <a:gd name="connsiteX158" fmla="*/ 3897275 w 12192002"/>
              <a:gd name="connsiteY158" fmla="*/ 282288 h 2122526"/>
              <a:gd name="connsiteX159" fmla="*/ 3936846 w 12192002"/>
              <a:gd name="connsiteY159" fmla="*/ 276633 h 2122526"/>
              <a:gd name="connsiteX160" fmla="*/ 4004538 w 12192002"/>
              <a:gd name="connsiteY160" fmla="*/ 259176 h 2122526"/>
              <a:gd name="connsiteX161" fmla="*/ 4033778 w 12192002"/>
              <a:gd name="connsiteY161" fmla="*/ 246608 h 2122526"/>
              <a:gd name="connsiteX162" fmla="*/ 4035363 w 12192002"/>
              <a:gd name="connsiteY162" fmla="*/ 246843 h 2122526"/>
              <a:gd name="connsiteX163" fmla="*/ 4036996 w 12192002"/>
              <a:gd name="connsiteY163" fmla="*/ 243176 h 2122526"/>
              <a:gd name="connsiteX164" fmla="*/ 4042364 w 12192002"/>
              <a:gd name="connsiteY164" fmla="*/ 240742 h 2122526"/>
              <a:gd name="connsiteX165" fmla="*/ 4058954 w 12192002"/>
              <a:gd name="connsiteY165" fmla="*/ 239121 h 2122526"/>
              <a:gd name="connsiteX166" fmla="*/ 4065510 w 12192002"/>
              <a:gd name="connsiteY166" fmla="*/ 239339 h 2122526"/>
              <a:gd name="connsiteX167" fmla="*/ 4074427 w 12192002"/>
              <a:gd name="connsiteY167" fmla="*/ 237895 h 2122526"/>
              <a:gd name="connsiteX168" fmla="*/ 4074546 w 12192002"/>
              <a:gd name="connsiteY168" fmla="*/ 237596 h 2122526"/>
              <a:gd name="connsiteX169" fmla="*/ 4083097 w 12192002"/>
              <a:gd name="connsiteY169" fmla="*/ 236761 h 2122526"/>
              <a:gd name="connsiteX170" fmla="*/ 4142745 w 12192002"/>
              <a:gd name="connsiteY170" fmla="*/ 210228 h 2122526"/>
              <a:gd name="connsiteX171" fmla="*/ 4191248 w 12192002"/>
              <a:gd name="connsiteY171" fmla="*/ 194363 h 2122526"/>
              <a:gd name="connsiteX172" fmla="*/ 4201744 w 12192002"/>
              <a:gd name="connsiteY172" fmla="*/ 188729 h 2122526"/>
              <a:gd name="connsiteX173" fmla="*/ 4202048 w 12192002"/>
              <a:gd name="connsiteY173" fmla="*/ 187470 h 2122526"/>
              <a:gd name="connsiteX174" fmla="*/ 4248116 w 12192002"/>
              <a:gd name="connsiteY174" fmla="*/ 184675 h 2122526"/>
              <a:gd name="connsiteX175" fmla="*/ 4276141 w 12192002"/>
              <a:gd name="connsiteY175" fmla="*/ 186999 h 2122526"/>
              <a:gd name="connsiteX176" fmla="*/ 4290062 w 12192002"/>
              <a:gd name="connsiteY176" fmla="*/ 186753 h 2122526"/>
              <a:gd name="connsiteX177" fmla="*/ 4295143 w 12192002"/>
              <a:gd name="connsiteY177" fmla="*/ 189670 h 2122526"/>
              <a:gd name="connsiteX178" fmla="*/ 4315108 w 12192002"/>
              <a:gd name="connsiteY178" fmla="*/ 187791 h 2122526"/>
              <a:gd name="connsiteX179" fmla="*/ 4316965 w 12192002"/>
              <a:gd name="connsiteY179" fmla="*/ 186450 h 2122526"/>
              <a:gd name="connsiteX180" fmla="*/ 4362875 w 12192002"/>
              <a:gd name="connsiteY180" fmla="*/ 193065 h 2122526"/>
              <a:gd name="connsiteX181" fmla="*/ 4428542 w 12192002"/>
              <a:gd name="connsiteY181" fmla="*/ 191719 h 2122526"/>
              <a:gd name="connsiteX182" fmla="*/ 4515813 w 12192002"/>
              <a:gd name="connsiteY182" fmla="*/ 181068 h 2122526"/>
              <a:gd name="connsiteX183" fmla="*/ 4715526 w 12192002"/>
              <a:gd name="connsiteY183" fmla="*/ 171166 h 2122526"/>
              <a:gd name="connsiteX184" fmla="*/ 4762447 w 12192002"/>
              <a:gd name="connsiteY184" fmla="*/ 162678 h 2122526"/>
              <a:gd name="connsiteX185" fmla="*/ 4840439 w 12192002"/>
              <a:gd name="connsiteY185" fmla="*/ 134910 h 2122526"/>
              <a:gd name="connsiteX186" fmla="*/ 5011513 w 12192002"/>
              <a:gd name="connsiteY186" fmla="*/ 110893 h 2122526"/>
              <a:gd name="connsiteX187" fmla="*/ 5065790 w 12192002"/>
              <a:gd name="connsiteY187" fmla="*/ 94512 h 2122526"/>
              <a:gd name="connsiteX188" fmla="*/ 5121659 w 12192002"/>
              <a:gd name="connsiteY188" fmla="*/ 101083 h 2122526"/>
              <a:gd name="connsiteX189" fmla="*/ 5139595 w 12192002"/>
              <a:gd name="connsiteY189" fmla="*/ 90230 h 2122526"/>
              <a:gd name="connsiteX190" fmla="*/ 5142598 w 12192002"/>
              <a:gd name="connsiteY190" fmla="*/ 88129 h 2122526"/>
              <a:gd name="connsiteX191" fmla="*/ 5156554 w 12192002"/>
              <a:gd name="connsiteY191" fmla="*/ 84729 h 2122526"/>
              <a:gd name="connsiteX192" fmla="*/ 5174660 w 12192002"/>
              <a:gd name="connsiteY192" fmla="*/ 77506 h 2122526"/>
              <a:gd name="connsiteX193" fmla="*/ 5222961 w 12192002"/>
              <a:gd name="connsiteY193" fmla="*/ 74516 h 2122526"/>
              <a:gd name="connsiteX194" fmla="*/ 5261763 w 12192002"/>
              <a:gd name="connsiteY194" fmla="*/ 63392 h 2122526"/>
              <a:gd name="connsiteX195" fmla="*/ 5381667 w 12192002"/>
              <a:gd name="connsiteY195" fmla="*/ 42975 h 2122526"/>
              <a:gd name="connsiteX196" fmla="*/ 5432760 w 12192002"/>
              <a:gd name="connsiteY196" fmla="*/ 25273 h 2122526"/>
              <a:gd name="connsiteX197" fmla="*/ 5470905 w 12192002"/>
              <a:gd name="connsiteY197" fmla="*/ 14020 h 2122526"/>
              <a:gd name="connsiteX198" fmla="*/ 5626960 w 12192002"/>
              <a:gd name="connsiteY198" fmla="*/ 0 h 2122526"/>
              <a:gd name="connsiteX0" fmla="*/ 5626960 w 12192002"/>
              <a:gd name="connsiteY0" fmla="*/ 0 h 2122526"/>
              <a:gd name="connsiteX1" fmla="*/ 5758918 w 12192002"/>
              <a:gd name="connsiteY1" fmla="*/ 1023 h 2122526"/>
              <a:gd name="connsiteX2" fmla="*/ 5957375 w 12192002"/>
              <a:gd name="connsiteY2" fmla="*/ 16715 h 2122526"/>
              <a:gd name="connsiteX3" fmla="*/ 6010090 w 12192002"/>
              <a:gd name="connsiteY3" fmla="*/ 20359 h 2122526"/>
              <a:gd name="connsiteX4" fmla="*/ 6041282 w 12192002"/>
              <a:gd name="connsiteY4" fmla="*/ 15266 h 2122526"/>
              <a:gd name="connsiteX5" fmla="*/ 6048637 w 12192002"/>
              <a:gd name="connsiteY5" fmla="*/ 6917 h 2122526"/>
              <a:gd name="connsiteX6" fmla="*/ 6068529 w 12192002"/>
              <a:gd name="connsiteY6" fmla="*/ 7600 h 2122526"/>
              <a:gd name="connsiteX7" fmla="*/ 6073847 w 12192002"/>
              <a:gd name="connsiteY7" fmla="*/ 6063 h 2122526"/>
              <a:gd name="connsiteX8" fmla="*/ 6168673 w 12192002"/>
              <a:gd name="connsiteY8" fmla="*/ 26525 h 2122526"/>
              <a:gd name="connsiteX9" fmla="*/ 6317559 w 12192002"/>
              <a:gd name="connsiteY9" fmla="*/ 28612 h 2122526"/>
              <a:gd name="connsiteX10" fmla="*/ 6549454 w 12192002"/>
              <a:gd name="connsiteY10" fmla="*/ 75412 h 2122526"/>
              <a:gd name="connsiteX11" fmla="*/ 6708221 w 12192002"/>
              <a:gd name="connsiteY11" fmla="*/ 104188 h 2122526"/>
              <a:gd name="connsiteX12" fmla="*/ 6904145 w 12192002"/>
              <a:gd name="connsiteY12" fmla="*/ 132143 h 2122526"/>
              <a:gd name="connsiteX13" fmla="*/ 7018495 w 12192002"/>
              <a:gd name="connsiteY13" fmla="*/ 161649 h 2122526"/>
              <a:gd name="connsiteX14" fmla="*/ 7096987 w 12192002"/>
              <a:gd name="connsiteY14" fmla="*/ 161275 h 2122526"/>
              <a:gd name="connsiteX15" fmla="*/ 7170807 w 12192002"/>
              <a:gd name="connsiteY15" fmla="*/ 173503 h 2122526"/>
              <a:gd name="connsiteX16" fmla="*/ 7197003 w 12192002"/>
              <a:gd name="connsiteY16" fmla="*/ 178151 h 2122526"/>
              <a:gd name="connsiteX17" fmla="*/ 7201101 w 12192002"/>
              <a:gd name="connsiteY17" fmla="*/ 183509 h 2122526"/>
              <a:gd name="connsiteX18" fmla="*/ 7218559 w 12192002"/>
              <a:gd name="connsiteY18" fmla="*/ 188059 h 2122526"/>
              <a:gd name="connsiteX19" fmla="*/ 7310852 w 12192002"/>
              <a:gd name="connsiteY19" fmla="*/ 213308 h 2122526"/>
              <a:gd name="connsiteX20" fmla="*/ 7312179 w 12192002"/>
              <a:gd name="connsiteY20" fmla="*/ 211866 h 2122526"/>
              <a:gd name="connsiteX21" fmla="*/ 7405390 w 12192002"/>
              <a:gd name="connsiteY21" fmla="*/ 202271 h 2122526"/>
              <a:gd name="connsiteX22" fmla="*/ 7495794 w 12192002"/>
              <a:gd name="connsiteY22" fmla="*/ 194166 h 2122526"/>
              <a:gd name="connsiteX23" fmla="*/ 7507039 w 12192002"/>
              <a:gd name="connsiteY23" fmla="*/ 196118 h 2122526"/>
              <a:gd name="connsiteX24" fmla="*/ 7507411 w 12192002"/>
              <a:gd name="connsiteY24" fmla="*/ 195791 h 2122526"/>
              <a:gd name="connsiteX25" fmla="*/ 7519570 w 12192002"/>
              <a:gd name="connsiteY25" fmla="*/ 197126 h 2122526"/>
              <a:gd name="connsiteX26" fmla="*/ 7527542 w 12192002"/>
              <a:gd name="connsiteY26" fmla="*/ 199679 h 2122526"/>
              <a:gd name="connsiteX27" fmla="*/ 7614346 w 12192002"/>
              <a:gd name="connsiteY27" fmla="*/ 205507 h 2122526"/>
              <a:gd name="connsiteX28" fmla="*/ 7718744 w 12192002"/>
              <a:gd name="connsiteY28" fmla="*/ 202036 h 2122526"/>
              <a:gd name="connsiteX29" fmla="*/ 7905407 w 12192002"/>
              <a:gd name="connsiteY29" fmla="*/ 227751 h 2122526"/>
              <a:gd name="connsiteX30" fmla="*/ 8090271 w 12192002"/>
              <a:gd name="connsiteY30" fmla="*/ 269724 h 2122526"/>
              <a:gd name="connsiteX31" fmla="*/ 8245834 w 12192002"/>
              <a:gd name="connsiteY31" fmla="*/ 315885 h 2122526"/>
              <a:gd name="connsiteX32" fmla="*/ 8252033 w 12192002"/>
              <a:gd name="connsiteY32" fmla="*/ 328877 h 2122526"/>
              <a:gd name="connsiteX33" fmla="*/ 8263376 w 12192002"/>
              <a:gd name="connsiteY33" fmla="*/ 338720 h 2122526"/>
              <a:gd name="connsiteX34" fmla="*/ 8266075 w 12192002"/>
              <a:gd name="connsiteY34" fmla="*/ 338490 h 2122526"/>
              <a:gd name="connsiteX35" fmla="*/ 8283149 w 12192002"/>
              <a:gd name="connsiteY35" fmla="*/ 345665 h 2122526"/>
              <a:gd name="connsiteX36" fmla="*/ 8284276 w 12192002"/>
              <a:gd name="connsiteY36" fmla="*/ 350108 h 2122526"/>
              <a:gd name="connsiteX37" fmla="*/ 8295173 w 12192002"/>
              <a:gd name="connsiteY37" fmla="*/ 355931 h 2122526"/>
              <a:gd name="connsiteX38" fmla="*/ 8314432 w 12192002"/>
              <a:gd name="connsiteY38" fmla="*/ 369826 h 2122526"/>
              <a:gd name="connsiteX39" fmla="*/ 8320104 w 12192002"/>
              <a:gd name="connsiteY39" fmla="*/ 370152 h 2122526"/>
              <a:gd name="connsiteX40" fmla="*/ 8352372 w 12192002"/>
              <a:gd name="connsiteY40" fmla="*/ 387570 h 2122526"/>
              <a:gd name="connsiteX41" fmla="*/ 8353799 w 12192002"/>
              <a:gd name="connsiteY41" fmla="*/ 386730 h 2122526"/>
              <a:gd name="connsiteX42" fmla="*/ 8367182 w 12192002"/>
              <a:gd name="connsiteY42" fmla="*/ 386924 h 2122526"/>
              <a:gd name="connsiteX43" fmla="*/ 8490249 w 12192002"/>
              <a:gd name="connsiteY43" fmla="*/ 400966 h 2122526"/>
              <a:gd name="connsiteX44" fmla="*/ 8497594 w 12192002"/>
              <a:gd name="connsiteY44" fmla="*/ 404016 h 2122526"/>
              <a:gd name="connsiteX45" fmla="*/ 8497968 w 12192002"/>
              <a:gd name="connsiteY45" fmla="*/ 403837 h 2122526"/>
              <a:gd name="connsiteX46" fmla="*/ 8506167 w 12192002"/>
              <a:gd name="connsiteY46" fmla="*/ 406575 h 2122526"/>
              <a:gd name="connsiteX47" fmla="*/ 8510983 w 12192002"/>
              <a:gd name="connsiteY47" fmla="*/ 409576 h 2122526"/>
              <a:gd name="connsiteX48" fmla="*/ 8525230 w 12192002"/>
              <a:gd name="connsiteY48" fmla="*/ 415491 h 2122526"/>
              <a:gd name="connsiteX49" fmla="*/ 8596071 w 12192002"/>
              <a:gd name="connsiteY49" fmla="*/ 400649 h 2122526"/>
              <a:gd name="connsiteX50" fmla="*/ 8707847 w 12192002"/>
              <a:gd name="connsiteY50" fmla="*/ 409221 h 2122526"/>
              <a:gd name="connsiteX51" fmla="*/ 8752444 w 12192002"/>
              <a:gd name="connsiteY51" fmla="*/ 411322 h 2122526"/>
              <a:gd name="connsiteX52" fmla="*/ 8928988 w 12192002"/>
              <a:gd name="connsiteY52" fmla="*/ 430554 h 2122526"/>
              <a:gd name="connsiteX53" fmla="*/ 8963048 w 12192002"/>
              <a:gd name="connsiteY53" fmla="*/ 427366 h 2122526"/>
              <a:gd name="connsiteX54" fmla="*/ 8968011 w 12192002"/>
              <a:gd name="connsiteY54" fmla="*/ 425141 h 2122526"/>
              <a:gd name="connsiteX55" fmla="*/ 8974337 w 12192002"/>
              <a:gd name="connsiteY55" fmla="*/ 424441 h 2122526"/>
              <a:gd name="connsiteX56" fmla="*/ 8990394 w 12192002"/>
              <a:gd name="connsiteY56" fmla="*/ 427667 h 2122526"/>
              <a:gd name="connsiteX57" fmla="*/ 8996232 w 12192002"/>
              <a:gd name="connsiteY57" fmla="*/ 429728 h 2122526"/>
              <a:gd name="connsiteX58" fmla="*/ 9005201 w 12192002"/>
              <a:gd name="connsiteY58" fmla="*/ 430939 h 2122526"/>
              <a:gd name="connsiteX59" fmla="*/ 9005486 w 12192002"/>
              <a:gd name="connsiteY59" fmla="*/ 430699 h 2122526"/>
              <a:gd name="connsiteX60" fmla="*/ 9053453 w 12192002"/>
              <a:gd name="connsiteY60" fmla="*/ 433984 h 2122526"/>
              <a:gd name="connsiteX61" fmla="*/ 9113812 w 12192002"/>
              <a:gd name="connsiteY61" fmla="*/ 425670 h 2122526"/>
              <a:gd name="connsiteX62" fmla="*/ 9137318 w 12192002"/>
              <a:gd name="connsiteY62" fmla="*/ 424304 h 2122526"/>
              <a:gd name="connsiteX63" fmla="*/ 9150210 w 12192002"/>
              <a:gd name="connsiteY63" fmla="*/ 422135 h 2122526"/>
              <a:gd name="connsiteX64" fmla="*/ 9151232 w 12192002"/>
              <a:gd name="connsiteY64" fmla="*/ 421070 h 2122526"/>
              <a:gd name="connsiteX65" fmla="*/ 9189246 w 12192002"/>
              <a:gd name="connsiteY65" fmla="*/ 432272 h 2122526"/>
              <a:gd name="connsiteX66" fmla="*/ 9194810 w 12192002"/>
              <a:gd name="connsiteY66" fmla="*/ 441511 h 2122526"/>
              <a:gd name="connsiteX67" fmla="*/ 9231370 w 12192002"/>
              <a:gd name="connsiteY67" fmla="*/ 451590 h 2122526"/>
              <a:gd name="connsiteX68" fmla="*/ 9343052 w 12192002"/>
              <a:gd name="connsiteY68" fmla="*/ 503495 h 2122526"/>
              <a:gd name="connsiteX69" fmla="*/ 9584507 w 12192002"/>
              <a:gd name="connsiteY69" fmla="*/ 549197 h 2122526"/>
              <a:gd name="connsiteX70" fmla="*/ 9728309 w 12192002"/>
              <a:gd name="connsiteY70" fmla="*/ 560617 h 2122526"/>
              <a:gd name="connsiteX71" fmla="*/ 9847792 w 12192002"/>
              <a:gd name="connsiteY71" fmla="*/ 580824 h 2122526"/>
              <a:gd name="connsiteX72" fmla="*/ 9960019 w 12192002"/>
              <a:gd name="connsiteY72" fmla="*/ 587592 h 2122526"/>
              <a:gd name="connsiteX73" fmla="*/ 10039240 w 12192002"/>
              <a:gd name="connsiteY73" fmla="*/ 603107 h 2122526"/>
              <a:gd name="connsiteX74" fmla="*/ 10082169 w 12192002"/>
              <a:gd name="connsiteY74" fmla="*/ 601443 h 2122526"/>
              <a:gd name="connsiteX75" fmla="*/ 10126500 w 12192002"/>
              <a:gd name="connsiteY75" fmla="*/ 603538 h 2122526"/>
              <a:gd name="connsiteX76" fmla="*/ 10261101 w 12192002"/>
              <a:gd name="connsiteY76" fmla="*/ 615053 h 2122526"/>
              <a:gd name="connsiteX77" fmla="*/ 10336855 w 12192002"/>
              <a:gd name="connsiteY77" fmla="*/ 624804 h 2122526"/>
              <a:gd name="connsiteX78" fmla="*/ 10383868 w 12192002"/>
              <a:gd name="connsiteY78" fmla="*/ 625415 h 2122526"/>
              <a:gd name="connsiteX79" fmla="*/ 10445984 w 12192002"/>
              <a:gd name="connsiteY79" fmla="*/ 629262 h 2122526"/>
              <a:gd name="connsiteX80" fmla="*/ 10519280 w 12192002"/>
              <a:gd name="connsiteY80" fmla="*/ 631320 h 2122526"/>
              <a:gd name="connsiteX81" fmla="*/ 10644619 w 12192002"/>
              <a:gd name="connsiteY81" fmla="*/ 651566 h 2122526"/>
              <a:gd name="connsiteX82" fmla="*/ 10857724 w 12192002"/>
              <a:gd name="connsiteY82" fmla="*/ 712684 h 2122526"/>
              <a:gd name="connsiteX83" fmla="*/ 10951063 w 12192002"/>
              <a:gd name="connsiteY83" fmla="*/ 725767 h 2122526"/>
              <a:gd name="connsiteX84" fmla="*/ 11030956 w 12192002"/>
              <a:gd name="connsiteY84" fmla="*/ 721011 h 2122526"/>
              <a:gd name="connsiteX85" fmla="*/ 11085938 w 12192002"/>
              <a:gd name="connsiteY85" fmla="*/ 723892 h 2122526"/>
              <a:gd name="connsiteX86" fmla="*/ 11143411 w 12192002"/>
              <a:gd name="connsiteY86" fmla="*/ 733141 h 2122526"/>
              <a:gd name="connsiteX87" fmla="*/ 11195087 w 12192002"/>
              <a:gd name="connsiteY87" fmla="*/ 732494 h 2122526"/>
              <a:gd name="connsiteX88" fmla="*/ 11273972 w 12192002"/>
              <a:gd name="connsiteY88" fmla="*/ 729660 h 2122526"/>
              <a:gd name="connsiteX89" fmla="*/ 11369715 w 12192002"/>
              <a:gd name="connsiteY89" fmla="*/ 813181 h 2122526"/>
              <a:gd name="connsiteX90" fmla="*/ 11462695 w 12192002"/>
              <a:gd name="connsiteY90" fmla="*/ 874654 h 2122526"/>
              <a:gd name="connsiteX91" fmla="*/ 11564181 w 12192002"/>
              <a:gd name="connsiteY91" fmla="*/ 888450 h 2122526"/>
              <a:gd name="connsiteX92" fmla="*/ 11585369 w 12192002"/>
              <a:gd name="connsiteY92" fmla="*/ 1004898 h 2122526"/>
              <a:gd name="connsiteX93" fmla="*/ 11744187 w 12192002"/>
              <a:gd name="connsiteY93" fmla="*/ 1047864 h 2122526"/>
              <a:gd name="connsiteX94" fmla="*/ 11854857 w 12192002"/>
              <a:gd name="connsiteY94" fmla="*/ 1112485 h 2122526"/>
              <a:gd name="connsiteX95" fmla="*/ 11925839 w 12192002"/>
              <a:gd name="connsiteY95" fmla="*/ 1110203 h 2122526"/>
              <a:gd name="connsiteX96" fmla="*/ 12080164 w 12192002"/>
              <a:gd name="connsiteY96" fmla="*/ 1090885 h 2122526"/>
              <a:gd name="connsiteX97" fmla="*/ 12140863 w 12192002"/>
              <a:gd name="connsiteY97" fmla="*/ 1035036 h 2122526"/>
              <a:gd name="connsiteX98" fmla="*/ 12192002 w 12192002"/>
              <a:gd name="connsiteY98" fmla="*/ 1015838 h 2122526"/>
              <a:gd name="connsiteX99" fmla="*/ 12192002 w 12192002"/>
              <a:gd name="connsiteY99" fmla="*/ 1955549 h 2122526"/>
              <a:gd name="connsiteX100" fmla="*/ 12192000 w 12192002"/>
              <a:gd name="connsiteY100" fmla="*/ 1955549 h 2122526"/>
              <a:gd name="connsiteX101" fmla="*/ 12192000 w 12192002"/>
              <a:gd name="connsiteY101" fmla="*/ 2122526 h 2122526"/>
              <a:gd name="connsiteX102" fmla="*/ 0 w 12192002"/>
              <a:gd name="connsiteY102" fmla="*/ 2122526 h 2122526"/>
              <a:gd name="connsiteX103" fmla="*/ 0 w 12192002"/>
              <a:gd name="connsiteY103" fmla="*/ 1348327 h 2122526"/>
              <a:gd name="connsiteX104" fmla="*/ 2 w 12192002"/>
              <a:gd name="connsiteY104" fmla="*/ 1348327 h 2122526"/>
              <a:gd name="connsiteX105" fmla="*/ 2 w 12192002"/>
              <a:gd name="connsiteY105" fmla="*/ 592017 h 2122526"/>
              <a:gd name="connsiteX106" fmla="*/ 15526 w 12192002"/>
              <a:gd name="connsiteY106" fmla="*/ 586548 h 2122526"/>
              <a:gd name="connsiteX107" fmla="*/ 118381 w 12192002"/>
              <a:gd name="connsiteY107" fmla="*/ 583692 h 2122526"/>
              <a:gd name="connsiteX108" fmla="*/ 292435 w 12192002"/>
              <a:gd name="connsiteY108" fmla="*/ 531887 h 2122526"/>
              <a:gd name="connsiteX109" fmla="*/ 404015 w 12192002"/>
              <a:gd name="connsiteY109" fmla="*/ 511191 h 2122526"/>
              <a:gd name="connsiteX110" fmla="*/ 445099 w 12192002"/>
              <a:gd name="connsiteY110" fmla="*/ 505368 h 2122526"/>
              <a:gd name="connsiteX111" fmla="*/ 571717 w 12192002"/>
              <a:gd name="connsiteY111" fmla="*/ 467338 h 2122526"/>
              <a:gd name="connsiteX112" fmla="*/ 578535 w 12192002"/>
              <a:gd name="connsiteY112" fmla="*/ 467527 h 2122526"/>
              <a:gd name="connsiteX113" fmla="*/ 596792 w 12192002"/>
              <a:gd name="connsiteY113" fmla="*/ 464875 h 2122526"/>
              <a:gd name="connsiteX114" fmla="*/ 708875 w 12192002"/>
              <a:gd name="connsiteY114" fmla="*/ 422017 h 2122526"/>
              <a:gd name="connsiteX115" fmla="*/ 719742 w 12192002"/>
              <a:gd name="connsiteY115" fmla="*/ 416340 h 2122526"/>
              <a:gd name="connsiteX116" fmla="*/ 720047 w 12192002"/>
              <a:gd name="connsiteY116" fmla="*/ 415078 h 2122526"/>
              <a:gd name="connsiteX117" fmla="*/ 763053 w 12192002"/>
              <a:gd name="connsiteY117" fmla="*/ 414307 h 2122526"/>
              <a:gd name="connsiteX118" fmla="*/ 767901 w 12192002"/>
              <a:gd name="connsiteY118" fmla="*/ 412086 h 2122526"/>
              <a:gd name="connsiteX119" fmla="*/ 797041 w 12192002"/>
              <a:gd name="connsiteY119" fmla="*/ 414293 h 2122526"/>
              <a:gd name="connsiteX120" fmla="*/ 811506 w 12192002"/>
              <a:gd name="connsiteY120" fmla="*/ 413988 h 2122526"/>
              <a:gd name="connsiteX121" fmla="*/ 816809 w 12192002"/>
              <a:gd name="connsiteY121" fmla="*/ 416882 h 2122526"/>
              <a:gd name="connsiteX122" fmla="*/ 837540 w 12192002"/>
              <a:gd name="connsiteY122" fmla="*/ 414918 h 2122526"/>
              <a:gd name="connsiteX123" fmla="*/ 858269 w 12192002"/>
              <a:gd name="connsiteY123" fmla="*/ 416131 h 2122526"/>
              <a:gd name="connsiteX124" fmla="*/ 948732 w 12192002"/>
              <a:gd name="connsiteY124" fmla="*/ 404293 h 2122526"/>
              <a:gd name="connsiteX125" fmla="*/ 1149979 w 12192002"/>
              <a:gd name="connsiteY125" fmla="*/ 406698 h 2122526"/>
              <a:gd name="connsiteX126" fmla="*/ 1496110 w 12192002"/>
              <a:gd name="connsiteY126" fmla="*/ 357263 h 2122526"/>
              <a:gd name="connsiteX127" fmla="*/ 1608669 w 12192002"/>
              <a:gd name="connsiteY127" fmla="*/ 331673 h 2122526"/>
              <a:gd name="connsiteX128" fmla="*/ 1675071 w 12192002"/>
              <a:gd name="connsiteY128" fmla="*/ 324776 h 2122526"/>
              <a:gd name="connsiteX129" fmla="*/ 1738204 w 12192002"/>
              <a:gd name="connsiteY129" fmla="*/ 308427 h 2122526"/>
              <a:gd name="connsiteX130" fmla="*/ 1786655 w 12192002"/>
              <a:gd name="connsiteY130" fmla="*/ 303376 h 2122526"/>
              <a:gd name="connsiteX131" fmla="*/ 1873080 w 12192002"/>
              <a:gd name="connsiteY131" fmla="*/ 330998 h 2122526"/>
              <a:gd name="connsiteX132" fmla="*/ 1921650 w 12192002"/>
              <a:gd name="connsiteY132" fmla="*/ 332593 h 2122526"/>
              <a:gd name="connsiteX133" fmla="*/ 1928172 w 12192002"/>
              <a:gd name="connsiteY133" fmla="*/ 327762 h 2122526"/>
              <a:gd name="connsiteX134" fmla="*/ 1997356 w 12192002"/>
              <a:gd name="connsiteY134" fmla="*/ 349707 h 2122526"/>
              <a:gd name="connsiteX135" fmla="*/ 2094665 w 12192002"/>
              <a:gd name="connsiteY135" fmla="*/ 341687 h 2122526"/>
              <a:gd name="connsiteX136" fmla="*/ 2208578 w 12192002"/>
              <a:gd name="connsiteY136" fmla="*/ 324976 h 2122526"/>
              <a:gd name="connsiteX137" fmla="*/ 2315112 w 12192002"/>
              <a:gd name="connsiteY137" fmla="*/ 319743 h 2122526"/>
              <a:gd name="connsiteX138" fmla="*/ 2443255 w 12192002"/>
              <a:gd name="connsiteY138" fmla="*/ 328210 h 2122526"/>
              <a:gd name="connsiteX139" fmla="*/ 2568028 w 12192002"/>
              <a:gd name="connsiteY139" fmla="*/ 342111 h 2122526"/>
              <a:gd name="connsiteX140" fmla="*/ 2646527 w 12192002"/>
              <a:gd name="connsiteY140" fmla="*/ 315870 h 2122526"/>
              <a:gd name="connsiteX141" fmla="*/ 2781569 w 12192002"/>
              <a:gd name="connsiteY141" fmla="*/ 326406 h 2122526"/>
              <a:gd name="connsiteX142" fmla="*/ 3030291 w 12192002"/>
              <a:gd name="connsiteY142" fmla="*/ 348227 h 2122526"/>
              <a:gd name="connsiteX143" fmla="*/ 3142556 w 12192002"/>
              <a:gd name="connsiteY143" fmla="*/ 350870 h 2122526"/>
              <a:gd name="connsiteX144" fmla="*/ 3262356 w 12192002"/>
              <a:gd name="connsiteY144" fmla="*/ 358645 h 2122526"/>
              <a:gd name="connsiteX145" fmla="*/ 3341698 w 12192002"/>
              <a:gd name="connsiteY145" fmla="*/ 364522 h 2122526"/>
              <a:gd name="connsiteX146" fmla="*/ 3344026 w 12192002"/>
              <a:gd name="connsiteY146" fmla="*/ 363547 h 2122526"/>
              <a:gd name="connsiteX147" fmla="*/ 3363888 w 12192002"/>
              <a:gd name="connsiteY147" fmla="*/ 365229 h 2122526"/>
              <a:gd name="connsiteX148" fmla="*/ 3400728 w 12192002"/>
              <a:gd name="connsiteY148" fmla="*/ 382181 h 2122526"/>
              <a:gd name="connsiteX149" fmla="*/ 3473223 w 12192002"/>
              <a:gd name="connsiteY149" fmla="*/ 370133 h 2122526"/>
              <a:gd name="connsiteX150" fmla="*/ 3536135 w 12192002"/>
              <a:gd name="connsiteY150" fmla="*/ 366472 h 2122526"/>
              <a:gd name="connsiteX151" fmla="*/ 3585978 w 12192002"/>
              <a:gd name="connsiteY151" fmla="*/ 356773 h 2122526"/>
              <a:gd name="connsiteX152" fmla="*/ 3594501 w 12192002"/>
              <a:gd name="connsiteY152" fmla="*/ 357463 h 2122526"/>
              <a:gd name="connsiteX153" fmla="*/ 3594736 w 12192002"/>
              <a:gd name="connsiteY153" fmla="*/ 357194 h 2122526"/>
              <a:gd name="connsiteX154" fmla="*/ 3603855 w 12192002"/>
              <a:gd name="connsiteY154" fmla="*/ 357358 h 2122526"/>
              <a:gd name="connsiteX155" fmla="*/ 3610035 w 12192002"/>
              <a:gd name="connsiteY155" fmla="*/ 358720 h 2122526"/>
              <a:gd name="connsiteX156" fmla="*/ 3682513 w 12192002"/>
              <a:gd name="connsiteY156" fmla="*/ 326449 h 2122526"/>
              <a:gd name="connsiteX157" fmla="*/ 3789760 w 12192002"/>
              <a:gd name="connsiteY157" fmla="*/ 302526 h 2122526"/>
              <a:gd name="connsiteX158" fmla="*/ 3897275 w 12192002"/>
              <a:gd name="connsiteY158" fmla="*/ 282288 h 2122526"/>
              <a:gd name="connsiteX159" fmla="*/ 3936846 w 12192002"/>
              <a:gd name="connsiteY159" fmla="*/ 276633 h 2122526"/>
              <a:gd name="connsiteX160" fmla="*/ 4004538 w 12192002"/>
              <a:gd name="connsiteY160" fmla="*/ 259176 h 2122526"/>
              <a:gd name="connsiteX161" fmla="*/ 4033778 w 12192002"/>
              <a:gd name="connsiteY161" fmla="*/ 246608 h 2122526"/>
              <a:gd name="connsiteX162" fmla="*/ 4035363 w 12192002"/>
              <a:gd name="connsiteY162" fmla="*/ 246843 h 2122526"/>
              <a:gd name="connsiteX163" fmla="*/ 4036996 w 12192002"/>
              <a:gd name="connsiteY163" fmla="*/ 243176 h 2122526"/>
              <a:gd name="connsiteX164" fmla="*/ 4042364 w 12192002"/>
              <a:gd name="connsiteY164" fmla="*/ 240742 h 2122526"/>
              <a:gd name="connsiteX165" fmla="*/ 4058954 w 12192002"/>
              <a:gd name="connsiteY165" fmla="*/ 239121 h 2122526"/>
              <a:gd name="connsiteX166" fmla="*/ 4065510 w 12192002"/>
              <a:gd name="connsiteY166" fmla="*/ 239339 h 2122526"/>
              <a:gd name="connsiteX167" fmla="*/ 4074427 w 12192002"/>
              <a:gd name="connsiteY167" fmla="*/ 237895 h 2122526"/>
              <a:gd name="connsiteX168" fmla="*/ 4074546 w 12192002"/>
              <a:gd name="connsiteY168" fmla="*/ 237596 h 2122526"/>
              <a:gd name="connsiteX169" fmla="*/ 4083097 w 12192002"/>
              <a:gd name="connsiteY169" fmla="*/ 236761 h 2122526"/>
              <a:gd name="connsiteX170" fmla="*/ 4142745 w 12192002"/>
              <a:gd name="connsiteY170" fmla="*/ 210228 h 2122526"/>
              <a:gd name="connsiteX171" fmla="*/ 4191248 w 12192002"/>
              <a:gd name="connsiteY171" fmla="*/ 194363 h 2122526"/>
              <a:gd name="connsiteX172" fmla="*/ 4201744 w 12192002"/>
              <a:gd name="connsiteY172" fmla="*/ 188729 h 2122526"/>
              <a:gd name="connsiteX173" fmla="*/ 4202048 w 12192002"/>
              <a:gd name="connsiteY173" fmla="*/ 187470 h 2122526"/>
              <a:gd name="connsiteX174" fmla="*/ 4248116 w 12192002"/>
              <a:gd name="connsiteY174" fmla="*/ 184675 h 2122526"/>
              <a:gd name="connsiteX175" fmla="*/ 4276141 w 12192002"/>
              <a:gd name="connsiteY175" fmla="*/ 186999 h 2122526"/>
              <a:gd name="connsiteX176" fmla="*/ 4290062 w 12192002"/>
              <a:gd name="connsiteY176" fmla="*/ 186753 h 2122526"/>
              <a:gd name="connsiteX177" fmla="*/ 4295143 w 12192002"/>
              <a:gd name="connsiteY177" fmla="*/ 189670 h 2122526"/>
              <a:gd name="connsiteX178" fmla="*/ 4315108 w 12192002"/>
              <a:gd name="connsiteY178" fmla="*/ 187791 h 2122526"/>
              <a:gd name="connsiteX179" fmla="*/ 4316965 w 12192002"/>
              <a:gd name="connsiteY179" fmla="*/ 186450 h 2122526"/>
              <a:gd name="connsiteX180" fmla="*/ 4362875 w 12192002"/>
              <a:gd name="connsiteY180" fmla="*/ 193065 h 2122526"/>
              <a:gd name="connsiteX181" fmla="*/ 4428542 w 12192002"/>
              <a:gd name="connsiteY181" fmla="*/ 191719 h 2122526"/>
              <a:gd name="connsiteX182" fmla="*/ 4515813 w 12192002"/>
              <a:gd name="connsiteY182" fmla="*/ 181068 h 2122526"/>
              <a:gd name="connsiteX183" fmla="*/ 4715526 w 12192002"/>
              <a:gd name="connsiteY183" fmla="*/ 171166 h 2122526"/>
              <a:gd name="connsiteX184" fmla="*/ 4762447 w 12192002"/>
              <a:gd name="connsiteY184" fmla="*/ 162678 h 2122526"/>
              <a:gd name="connsiteX185" fmla="*/ 4840439 w 12192002"/>
              <a:gd name="connsiteY185" fmla="*/ 134910 h 2122526"/>
              <a:gd name="connsiteX186" fmla="*/ 5011513 w 12192002"/>
              <a:gd name="connsiteY186" fmla="*/ 110893 h 2122526"/>
              <a:gd name="connsiteX187" fmla="*/ 5065790 w 12192002"/>
              <a:gd name="connsiteY187" fmla="*/ 94512 h 2122526"/>
              <a:gd name="connsiteX188" fmla="*/ 5121659 w 12192002"/>
              <a:gd name="connsiteY188" fmla="*/ 101083 h 2122526"/>
              <a:gd name="connsiteX189" fmla="*/ 5139595 w 12192002"/>
              <a:gd name="connsiteY189" fmla="*/ 90230 h 2122526"/>
              <a:gd name="connsiteX190" fmla="*/ 5142598 w 12192002"/>
              <a:gd name="connsiteY190" fmla="*/ 88129 h 2122526"/>
              <a:gd name="connsiteX191" fmla="*/ 5156554 w 12192002"/>
              <a:gd name="connsiteY191" fmla="*/ 84729 h 2122526"/>
              <a:gd name="connsiteX192" fmla="*/ 5174660 w 12192002"/>
              <a:gd name="connsiteY192" fmla="*/ 77506 h 2122526"/>
              <a:gd name="connsiteX193" fmla="*/ 5222961 w 12192002"/>
              <a:gd name="connsiteY193" fmla="*/ 74516 h 2122526"/>
              <a:gd name="connsiteX194" fmla="*/ 5261763 w 12192002"/>
              <a:gd name="connsiteY194" fmla="*/ 63392 h 2122526"/>
              <a:gd name="connsiteX195" fmla="*/ 5381667 w 12192002"/>
              <a:gd name="connsiteY195" fmla="*/ 42975 h 2122526"/>
              <a:gd name="connsiteX196" fmla="*/ 5432760 w 12192002"/>
              <a:gd name="connsiteY196" fmla="*/ 25273 h 2122526"/>
              <a:gd name="connsiteX197" fmla="*/ 5470905 w 12192002"/>
              <a:gd name="connsiteY197" fmla="*/ 14020 h 2122526"/>
              <a:gd name="connsiteX198" fmla="*/ 5626960 w 12192002"/>
              <a:gd name="connsiteY198" fmla="*/ 0 h 2122526"/>
              <a:gd name="connsiteX0" fmla="*/ 5626960 w 12192002"/>
              <a:gd name="connsiteY0" fmla="*/ 0 h 2122526"/>
              <a:gd name="connsiteX1" fmla="*/ 5758918 w 12192002"/>
              <a:gd name="connsiteY1" fmla="*/ 1023 h 2122526"/>
              <a:gd name="connsiteX2" fmla="*/ 5957375 w 12192002"/>
              <a:gd name="connsiteY2" fmla="*/ 16715 h 2122526"/>
              <a:gd name="connsiteX3" fmla="*/ 6010090 w 12192002"/>
              <a:gd name="connsiteY3" fmla="*/ 20359 h 2122526"/>
              <a:gd name="connsiteX4" fmla="*/ 6041282 w 12192002"/>
              <a:gd name="connsiteY4" fmla="*/ 15266 h 2122526"/>
              <a:gd name="connsiteX5" fmla="*/ 6048637 w 12192002"/>
              <a:gd name="connsiteY5" fmla="*/ 6917 h 2122526"/>
              <a:gd name="connsiteX6" fmla="*/ 6068529 w 12192002"/>
              <a:gd name="connsiteY6" fmla="*/ 7600 h 2122526"/>
              <a:gd name="connsiteX7" fmla="*/ 6073847 w 12192002"/>
              <a:gd name="connsiteY7" fmla="*/ 6063 h 2122526"/>
              <a:gd name="connsiteX8" fmla="*/ 6168673 w 12192002"/>
              <a:gd name="connsiteY8" fmla="*/ 26525 h 2122526"/>
              <a:gd name="connsiteX9" fmla="*/ 6317559 w 12192002"/>
              <a:gd name="connsiteY9" fmla="*/ 28612 h 2122526"/>
              <a:gd name="connsiteX10" fmla="*/ 6549454 w 12192002"/>
              <a:gd name="connsiteY10" fmla="*/ 75412 h 2122526"/>
              <a:gd name="connsiteX11" fmla="*/ 6708221 w 12192002"/>
              <a:gd name="connsiteY11" fmla="*/ 104188 h 2122526"/>
              <a:gd name="connsiteX12" fmla="*/ 6904145 w 12192002"/>
              <a:gd name="connsiteY12" fmla="*/ 132143 h 2122526"/>
              <a:gd name="connsiteX13" fmla="*/ 7018495 w 12192002"/>
              <a:gd name="connsiteY13" fmla="*/ 161649 h 2122526"/>
              <a:gd name="connsiteX14" fmla="*/ 7096987 w 12192002"/>
              <a:gd name="connsiteY14" fmla="*/ 161275 h 2122526"/>
              <a:gd name="connsiteX15" fmla="*/ 7170807 w 12192002"/>
              <a:gd name="connsiteY15" fmla="*/ 173503 h 2122526"/>
              <a:gd name="connsiteX16" fmla="*/ 7197003 w 12192002"/>
              <a:gd name="connsiteY16" fmla="*/ 178151 h 2122526"/>
              <a:gd name="connsiteX17" fmla="*/ 7201101 w 12192002"/>
              <a:gd name="connsiteY17" fmla="*/ 183509 h 2122526"/>
              <a:gd name="connsiteX18" fmla="*/ 7218559 w 12192002"/>
              <a:gd name="connsiteY18" fmla="*/ 188059 h 2122526"/>
              <a:gd name="connsiteX19" fmla="*/ 7310852 w 12192002"/>
              <a:gd name="connsiteY19" fmla="*/ 213308 h 2122526"/>
              <a:gd name="connsiteX20" fmla="*/ 7312179 w 12192002"/>
              <a:gd name="connsiteY20" fmla="*/ 211866 h 2122526"/>
              <a:gd name="connsiteX21" fmla="*/ 7405390 w 12192002"/>
              <a:gd name="connsiteY21" fmla="*/ 202271 h 2122526"/>
              <a:gd name="connsiteX22" fmla="*/ 7495794 w 12192002"/>
              <a:gd name="connsiteY22" fmla="*/ 194166 h 2122526"/>
              <a:gd name="connsiteX23" fmla="*/ 7507039 w 12192002"/>
              <a:gd name="connsiteY23" fmla="*/ 196118 h 2122526"/>
              <a:gd name="connsiteX24" fmla="*/ 7507411 w 12192002"/>
              <a:gd name="connsiteY24" fmla="*/ 195791 h 2122526"/>
              <a:gd name="connsiteX25" fmla="*/ 7519570 w 12192002"/>
              <a:gd name="connsiteY25" fmla="*/ 197126 h 2122526"/>
              <a:gd name="connsiteX26" fmla="*/ 7527542 w 12192002"/>
              <a:gd name="connsiteY26" fmla="*/ 199679 h 2122526"/>
              <a:gd name="connsiteX27" fmla="*/ 7614346 w 12192002"/>
              <a:gd name="connsiteY27" fmla="*/ 205507 h 2122526"/>
              <a:gd name="connsiteX28" fmla="*/ 7718744 w 12192002"/>
              <a:gd name="connsiteY28" fmla="*/ 202036 h 2122526"/>
              <a:gd name="connsiteX29" fmla="*/ 7905407 w 12192002"/>
              <a:gd name="connsiteY29" fmla="*/ 227751 h 2122526"/>
              <a:gd name="connsiteX30" fmla="*/ 8090271 w 12192002"/>
              <a:gd name="connsiteY30" fmla="*/ 269724 h 2122526"/>
              <a:gd name="connsiteX31" fmla="*/ 8245834 w 12192002"/>
              <a:gd name="connsiteY31" fmla="*/ 315885 h 2122526"/>
              <a:gd name="connsiteX32" fmla="*/ 8252033 w 12192002"/>
              <a:gd name="connsiteY32" fmla="*/ 328877 h 2122526"/>
              <a:gd name="connsiteX33" fmla="*/ 8263376 w 12192002"/>
              <a:gd name="connsiteY33" fmla="*/ 338720 h 2122526"/>
              <a:gd name="connsiteX34" fmla="*/ 8266075 w 12192002"/>
              <a:gd name="connsiteY34" fmla="*/ 338490 h 2122526"/>
              <a:gd name="connsiteX35" fmla="*/ 8283149 w 12192002"/>
              <a:gd name="connsiteY35" fmla="*/ 345665 h 2122526"/>
              <a:gd name="connsiteX36" fmla="*/ 8284276 w 12192002"/>
              <a:gd name="connsiteY36" fmla="*/ 350108 h 2122526"/>
              <a:gd name="connsiteX37" fmla="*/ 8295173 w 12192002"/>
              <a:gd name="connsiteY37" fmla="*/ 355931 h 2122526"/>
              <a:gd name="connsiteX38" fmla="*/ 8314432 w 12192002"/>
              <a:gd name="connsiteY38" fmla="*/ 369826 h 2122526"/>
              <a:gd name="connsiteX39" fmla="*/ 8320104 w 12192002"/>
              <a:gd name="connsiteY39" fmla="*/ 370152 h 2122526"/>
              <a:gd name="connsiteX40" fmla="*/ 8352372 w 12192002"/>
              <a:gd name="connsiteY40" fmla="*/ 387570 h 2122526"/>
              <a:gd name="connsiteX41" fmla="*/ 8353799 w 12192002"/>
              <a:gd name="connsiteY41" fmla="*/ 386730 h 2122526"/>
              <a:gd name="connsiteX42" fmla="*/ 8367182 w 12192002"/>
              <a:gd name="connsiteY42" fmla="*/ 386924 h 2122526"/>
              <a:gd name="connsiteX43" fmla="*/ 8490249 w 12192002"/>
              <a:gd name="connsiteY43" fmla="*/ 400966 h 2122526"/>
              <a:gd name="connsiteX44" fmla="*/ 8497594 w 12192002"/>
              <a:gd name="connsiteY44" fmla="*/ 404016 h 2122526"/>
              <a:gd name="connsiteX45" fmla="*/ 8497968 w 12192002"/>
              <a:gd name="connsiteY45" fmla="*/ 403837 h 2122526"/>
              <a:gd name="connsiteX46" fmla="*/ 8506167 w 12192002"/>
              <a:gd name="connsiteY46" fmla="*/ 406575 h 2122526"/>
              <a:gd name="connsiteX47" fmla="*/ 8510983 w 12192002"/>
              <a:gd name="connsiteY47" fmla="*/ 409576 h 2122526"/>
              <a:gd name="connsiteX48" fmla="*/ 8525230 w 12192002"/>
              <a:gd name="connsiteY48" fmla="*/ 415491 h 2122526"/>
              <a:gd name="connsiteX49" fmla="*/ 8596071 w 12192002"/>
              <a:gd name="connsiteY49" fmla="*/ 400649 h 2122526"/>
              <a:gd name="connsiteX50" fmla="*/ 8707847 w 12192002"/>
              <a:gd name="connsiteY50" fmla="*/ 409221 h 2122526"/>
              <a:gd name="connsiteX51" fmla="*/ 8752444 w 12192002"/>
              <a:gd name="connsiteY51" fmla="*/ 411322 h 2122526"/>
              <a:gd name="connsiteX52" fmla="*/ 8928988 w 12192002"/>
              <a:gd name="connsiteY52" fmla="*/ 430554 h 2122526"/>
              <a:gd name="connsiteX53" fmla="*/ 8963048 w 12192002"/>
              <a:gd name="connsiteY53" fmla="*/ 427366 h 2122526"/>
              <a:gd name="connsiteX54" fmla="*/ 8968011 w 12192002"/>
              <a:gd name="connsiteY54" fmla="*/ 425141 h 2122526"/>
              <a:gd name="connsiteX55" fmla="*/ 8974337 w 12192002"/>
              <a:gd name="connsiteY55" fmla="*/ 424441 h 2122526"/>
              <a:gd name="connsiteX56" fmla="*/ 8990394 w 12192002"/>
              <a:gd name="connsiteY56" fmla="*/ 427667 h 2122526"/>
              <a:gd name="connsiteX57" fmla="*/ 8996232 w 12192002"/>
              <a:gd name="connsiteY57" fmla="*/ 429728 h 2122526"/>
              <a:gd name="connsiteX58" fmla="*/ 9005201 w 12192002"/>
              <a:gd name="connsiteY58" fmla="*/ 430939 h 2122526"/>
              <a:gd name="connsiteX59" fmla="*/ 9005486 w 12192002"/>
              <a:gd name="connsiteY59" fmla="*/ 430699 h 2122526"/>
              <a:gd name="connsiteX60" fmla="*/ 9053453 w 12192002"/>
              <a:gd name="connsiteY60" fmla="*/ 433984 h 2122526"/>
              <a:gd name="connsiteX61" fmla="*/ 9113812 w 12192002"/>
              <a:gd name="connsiteY61" fmla="*/ 425670 h 2122526"/>
              <a:gd name="connsiteX62" fmla="*/ 9137318 w 12192002"/>
              <a:gd name="connsiteY62" fmla="*/ 424304 h 2122526"/>
              <a:gd name="connsiteX63" fmla="*/ 9150210 w 12192002"/>
              <a:gd name="connsiteY63" fmla="*/ 422135 h 2122526"/>
              <a:gd name="connsiteX64" fmla="*/ 9151232 w 12192002"/>
              <a:gd name="connsiteY64" fmla="*/ 421070 h 2122526"/>
              <a:gd name="connsiteX65" fmla="*/ 9189246 w 12192002"/>
              <a:gd name="connsiteY65" fmla="*/ 432272 h 2122526"/>
              <a:gd name="connsiteX66" fmla="*/ 9194810 w 12192002"/>
              <a:gd name="connsiteY66" fmla="*/ 441511 h 2122526"/>
              <a:gd name="connsiteX67" fmla="*/ 9231370 w 12192002"/>
              <a:gd name="connsiteY67" fmla="*/ 451590 h 2122526"/>
              <a:gd name="connsiteX68" fmla="*/ 9343052 w 12192002"/>
              <a:gd name="connsiteY68" fmla="*/ 503495 h 2122526"/>
              <a:gd name="connsiteX69" fmla="*/ 9584507 w 12192002"/>
              <a:gd name="connsiteY69" fmla="*/ 549197 h 2122526"/>
              <a:gd name="connsiteX70" fmla="*/ 9728309 w 12192002"/>
              <a:gd name="connsiteY70" fmla="*/ 560617 h 2122526"/>
              <a:gd name="connsiteX71" fmla="*/ 9847792 w 12192002"/>
              <a:gd name="connsiteY71" fmla="*/ 580824 h 2122526"/>
              <a:gd name="connsiteX72" fmla="*/ 9960019 w 12192002"/>
              <a:gd name="connsiteY72" fmla="*/ 587592 h 2122526"/>
              <a:gd name="connsiteX73" fmla="*/ 10039240 w 12192002"/>
              <a:gd name="connsiteY73" fmla="*/ 603107 h 2122526"/>
              <a:gd name="connsiteX74" fmla="*/ 10082169 w 12192002"/>
              <a:gd name="connsiteY74" fmla="*/ 601443 h 2122526"/>
              <a:gd name="connsiteX75" fmla="*/ 10126500 w 12192002"/>
              <a:gd name="connsiteY75" fmla="*/ 603538 h 2122526"/>
              <a:gd name="connsiteX76" fmla="*/ 10261101 w 12192002"/>
              <a:gd name="connsiteY76" fmla="*/ 615053 h 2122526"/>
              <a:gd name="connsiteX77" fmla="*/ 10336855 w 12192002"/>
              <a:gd name="connsiteY77" fmla="*/ 624804 h 2122526"/>
              <a:gd name="connsiteX78" fmla="*/ 10383868 w 12192002"/>
              <a:gd name="connsiteY78" fmla="*/ 625415 h 2122526"/>
              <a:gd name="connsiteX79" fmla="*/ 10445984 w 12192002"/>
              <a:gd name="connsiteY79" fmla="*/ 629262 h 2122526"/>
              <a:gd name="connsiteX80" fmla="*/ 10519280 w 12192002"/>
              <a:gd name="connsiteY80" fmla="*/ 631320 h 2122526"/>
              <a:gd name="connsiteX81" fmla="*/ 10644619 w 12192002"/>
              <a:gd name="connsiteY81" fmla="*/ 651566 h 2122526"/>
              <a:gd name="connsiteX82" fmla="*/ 10857724 w 12192002"/>
              <a:gd name="connsiteY82" fmla="*/ 712684 h 2122526"/>
              <a:gd name="connsiteX83" fmla="*/ 10951063 w 12192002"/>
              <a:gd name="connsiteY83" fmla="*/ 725767 h 2122526"/>
              <a:gd name="connsiteX84" fmla="*/ 11030956 w 12192002"/>
              <a:gd name="connsiteY84" fmla="*/ 721011 h 2122526"/>
              <a:gd name="connsiteX85" fmla="*/ 11085938 w 12192002"/>
              <a:gd name="connsiteY85" fmla="*/ 723892 h 2122526"/>
              <a:gd name="connsiteX86" fmla="*/ 11143411 w 12192002"/>
              <a:gd name="connsiteY86" fmla="*/ 733141 h 2122526"/>
              <a:gd name="connsiteX87" fmla="*/ 11195087 w 12192002"/>
              <a:gd name="connsiteY87" fmla="*/ 732494 h 2122526"/>
              <a:gd name="connsiteX88" fmla="*/ 11273972 w 12192002"/>
              <a:gd name="connsiteY88" fmla="*/ 729660 h 2122526"/>
              <a:gd name="connsiteX89" fmla="*/ 11369715 w 12192002"/>
              <a:gd name="connsiteY89" fmla="*/ 813181 h 2122526"/>
              <a:gd name="connsiteX90" fmla="*/ 11462695 w 12192002"/>
              <a:gd name="connsiteY90" fmla="*/ 874654 h 2122526"/>
              <a:gd name="connsiteX91" fmla="*/ 11516473 w 12192002"/>
              <a:gd name="connsiteY91" fmla="*/ 928206 h 2122526"/>
              <a:gd name="connsiteX92" fmla="*/ 11585369 w 12192002"/>
              <a:gd name="connsiteY92" fmla="*/ 1004898 h 2122526"/>
              <a:gd name="connsiteX93" fmla="*/ 11744187 w 12192002"/>
              <a:gd name="connsiteY93" fmla="*/ 1047864 h 2122526"/>
              <a:gd name="connsiteX94" fmla="*/ 11854857 w 12192002"/>
              <a:gd name="connsiteY94" fmla="*/ 1112485 h 2122526"/>
              <a:gd name="connsiteX95" fmla="*/ 11925839 w 12192002"/>
              <a:gd name="connsiteY95" fmla="*/ 1110203 h 2122526"/>
              <a:gd name="connsiteX96" fmla="*/ 12080164 w 12192002"/>
              <a:gd name="connsiteY96" fmla="*/ 1090885 h 2122526"/>
              <a:gd name="connsiteX97" fmla="*/ 12140863 w 12192002"/>
              <a:gd name="connsiteY97" fmla="*/ 1035036 h 2122526"/>
              <a:gd name="connsiteX98" fmla="*/ 12192002 w 12192002"/>
              <a:gd name="connsiteY98" fmla="*/ 1015838 h 2122526"/>
              <a:gd name="connsiteX99" fmla="*/ 12192002 w 12192002"/>
              <a:gd name="connsiteY99" fmla="*/ 1955549 h 2122526"/>
              <a:gd name="connsiteX100" fmla="*/ 12192000 w 12192002"/>
              <a:gd name="connsiteY100" fmla="*/ 1955549 h 2122526"/>
              <a:gd name="connsiteX101" fmla="*/ 12192000 w 12192002"/>
              <a:gd name="connsiteY101" fmla="*/ 2122526 h 2122526"/>
              <a:gd name="connsiteX102" fmla="*/ 0 w 12192002"/>
              <a:gd name="connsiteY102" fmla="*/ 2122526 h 2122526"/>
              <a:gd name="connsiteX103" fmla="*/ 0 w 12192002"/>
              <a:gd name="connsiteY103" fmla="*/ 1348327 h 2122526"/>
              <a:gd name="connsiteX104" fmla="*/ 2 w 12192002"/>
              <a:gd name="connsiteY104" fmla="*/ 1348327 h 2122526"/>
              <a:gd name="connsiteX105" fmla="*/ 2 w 12192002"/>
              <a:gd name="connsiteY105" fmla="*/ 592017 h 2122526"/>
              <a:gd name="connsiteX106" fmla="*/ 15526 w 12192002"/>
              <a:gd name="connsiteY106" fmla="*/ 586548 h 2122526"/>
              <a:gd name="connsiteX107" fmla="*/ 118381 w 12192002"/>
              <a:gd name="connsiteY107" fmla="*/ 583692 h 2122526"/>
              <a:gd name="connsiteX108" fmla="*/ 292435 w 12192002"/>
              <a:gd name="connsiteY108" fmla="*/ 531887 h 2122526"/>
              <a:gd name="connsiteX109" fmla="*/ 404015 w 12192002"/>
              <a:gd name="connsiteY109" fmla="*/ 511191 h 2122526"/>
              <a:gd name="connsiteX110" fmla="*/ 445099 w 12192002"/>
              <a:gd name="connsiteY110" fmla="*/ 505368 h 2122526"/>
              <a:gd name="connsiteX111" fmla="*/ 571717 w 12192002"/>
              <a:gd name="connsiteY111" fmla="*/ 467338 h 2122526"/>
              <a:gd name="connsiteX112" fmla="*/ 578535 w 12192002"/>
              <a:gd name="connsiteY112" fmla="*/ 467527 h 2122526"/>
              <a:gd name="connsiteX113" fmla="*/ 596792 w 12192002"/>
              <a:gd name="connsiteY113" fmla="*/ 464875 h 2122526"/>
              <a:gd name="connsiteX114" fmla="*/ 708875 w 12192002"/>
              <a:gd name="connsiteY114" fmla="*/ 422017 h 2122526"/>
              <a:gd name="connsiteX115" fmla="*/ 719742 w 12192002"/>
              <a:gd name="connsiteY115" fmla="*/ 416340 h 2122526"/>
              <a:gd name="connsiteX116" fmla="*/ 720047 w 12192002"/>
              <a:gd name="connsiteY116" fmla="*/ 415078 h 2122526"/>
              <a:gd name="connsiteX117" fmla="*/ 763053 w 12192002"/>
              <a:gd name="connsiteY117" fmla="*/ 414307 h 2122526"/>
              <a:gd name="connsiteX118" fmla="*/ 767901 w 12192002"/>
              <a:gd name="connsiteY118" fmla="*/ 412086 h 2122526"/>
              <a:gd name="connsiteX119" fmla="*/ 797041 w 12192002"/>
              <a:gd name="connsiteY119" fmla="*/ 414293 h 2122526"/>
              <a:gd name="connsiteX120" fmla="*/ 811506 w 12192002"/>
              <a:gd name="connsiteY120" fmla="*/ 413988 h 2122526"/>
              <a:gd name="connsiteX121" fmla="*/ 816809 w 12192002"/>
              <a:gd name="connsiteY121" fmla="*/ 416882 h 2122526"/>
              <a:gd name="connsiteX122" fmla="*/ 837540 w 12192002"/>
              <a:gd name="connsiteY122" fmla="*/ 414918 h 2122526"/>
              <a:gd name="connsiteX123" fmla="*/ 858269 w 12192002"/>
              <a:gd name="connsiteY123" fmla="*/ 416131 h 2122526"/>
              <a:gd name="connsiteX124" fmla="*/ 948732 w 12192002"/>
              <a:gd name="connsiteY124" fmla="*/ 404293 h 2122526"/>
              <a:gd name="connsiteX125" fmla="*/ 1149979 w 12192002"/>
              <a:gd name="connsiteY125" fmla="*/ 406698 h 2122526"/>
              <a:gd name="connsiteX126" fmla="*/ 1496110 w 12192002"/>
              <a:gd name="connsiteY126" fmla="*/ 357263 h 2122526"/>
              <a:gd name="connsiteX127" fmla="*/ 1608669 w 12192002"/>
              <a:gd name="connsiteY127" fmla="*/ 331673 h 2122526"/>
              <a:gd name="connsiteX128" fmla="*/ 1675071 w 12192002"/>
              <a:gd name="connsiteY128" fmla="*/ 324776 h 2122526"/>
              <a:gd name="connsiteX129" fmla="*/ 1738204 w 12192002"/>
              <a:gd name="connsiteY129" fmla="*/ 308427 h 2122526"/>
              <a:gd name="connsiteX130" fmla="*/ 1786655 w 12192002"/>
              <a:gd name="connsiteY130" fmla="*/ 303376 h 2122526"/>
              <a:gd name="connsiteX131" fmla="*/ 1873080 w 12192002"/>
              <a:gd name="connsiteY131" fmla="*/ 330998 h 2122526"/>
              <a:gd name="connsiteX132" fmla="*/ 1921650 w 12192002"/>
              <a:gd name="connsiteY132" fmla="*/ 332593 h 2122526"/>
              <a:gd name="connsiteX133" fmla="*/ 1928172 w 12192002"/>
              <a:gd name="connsiteY133" fmla="*/ 327762 h 2122526"/>
              <a:gd name="connsiteX134" fmla="*/ 1997356 w 12192002"/>
              <a:gd name="connsiteY134" fmla="*/ 349707 h 2122526"/>
              <a:gd name="connsiteX135" fmla="*/ 2094665 w 12192002"/>
              <a:gd name="connsiteY135" fmla="*/ 341687 h 2122526"/>
              <a:gd name="connsiteX136" fmla="*/ 2208578 w 12192002"/>
              <a:gd name="connsiteY136" fmla="*/ 324976 h 2122526"/>
              <a:gd name="connsiteX137" fmla="*/ 2315112 w 12192002"/>
              <a:gd name="connsiteY137" fmla="*/ 319743 h 2122526"/>
              <a:gd name="connsiteX138" fmla="*/ 2443255 w 12192002"/>
              <a:gd name="connsiteY138" fmla="*/ 328210 h 2122526"/>
              <a:gd name="connsiteX139" fmla="*/ 2568028 w 12192002"/>
              <a:gd name="connsiteY139" fmla="*/ 342111 h 2122526"/>
              <a:gd name="connsiteX140" fmla="*/ 2646527 w 12192002"/>
              <a:gd name="connsiteY140" fmla="*/ 315870 h 2122526"/>
              <a:gd name="connsiteX141" fmla="*/ 2781569 w 12192002"/>
              <a:gd name="connsiteY141" fmla="*/ 326406 h 2122526"/>
              <a:gd name="connsiteX142" fmla="*/ 3030291 w 12192002"/>
              <a:gd name="connsiteY142" fmla="*/ 348227 h 2122526"/>
              <a:gd name="connsiteX143" fmla="*/ 3142556 w 12192002"/>
              <a:gd name="connsiteY143" fmla="*/ 350870 h 2122526"/>
              <a:gd name="connsiteX144" fmla="*/ 3262356 w 12192002"/>
              <a:gd name="connsiteY144" fmla="*/ 358645 h 2122526"/>
              <a:gd name="connsiteX145" fmla="*/ 3341698 w 12192002"/>
              <a:gd name="connsiteY145" fmla="*/ 364522 h 2122526"/>
              <a:gd name="connsiteX146" fmla="*/ 3344026 w 12192002"/>
              <a:gd name="connsiteY146" fmla="*/ 363547 h 2122526"/>
              <a:gd name="connsiteX147" fmla="*/ 3363888 w 12192002"/>
              <a:gd name="connsiteY147" fmla="*/ 365229 h 2122526"/>
              <a:gd name="connsiteX148" fmla="*/ 3400728 w 12192002"/>
              <a:gd name="connsiteY148" fmla="*/ 382181 h 2122526"/>
              <a:gd name="connsiteX149" fmla="*/ 3473223 w 12192002"/>
              <a:gd name="connsiteY149" fmla="*/ 370133 h 2122526"/>
              <a:gd name="connsiteX150" fmla="*/ 3536135 w 12192002"/>
              <a:gd name="connsiteY150" fmla="*/ 366472 h 2122526"/>
              <a:gd name="connsiteX151" fmla="*/ 3585978 w 12192002"/>
              <a:gd name="connsiteY151" fmla="*/ 356773 h 2122526"/>
              <a:gd name="connsiteX152" fmla="*/ 3594501 w 12192002"/>
              <a:gd name="connsiteY152" fmla="*/ 357463 h 2122526"/>
              <a:gd name="connsiteX153" fmla="*/ 3594736 w 12192002"/>
              <a:gd name="connsiteY153" fmla="*/ 357194 h 2122526"/>
              <a:gd name="connsiteX154" fmla="*/ 3603855 w 12192002"/>
              <a:gd name="connsiteY154" fmla="*/ 357358 h 2122526"/>
              <a:gd name="connsiteX155" fmla="*/ 3610035 w 12192002"/>
              <a:gd name="connsiteY155" fmla="*/ 358720 h 2122526"/>
              <a:gd name="connsiteX156" fmla="*/ 3682513 w 12192002"/>
              <a:gd name="connsiteY156" fmla="*/ 326449 h 2122526"/>
              <a:gd name="connsiteX157" fmla="*/ 3789760 w 12192002"/>
              <a:gd name="connsiteY157" fmla="*/ 302526 h 2122526"/>
              <a:gd name="connsiteX158" fmla="*/ 3897275 w 12192002"/>
              <a:gd name="connsiteY158" fmla="*/ 282288 h 2122526"/>
              <a:gd name="connsiteX159" fmla="*/ 3936846 w 12192002"/>
              <a:gd name="connsiteY159" fmla="*/ 276633 h 2122526"/>
              <a:gd name="connsiteX160" fmla="*/ 4004538 w 12192002"/>
              <a:gd name="connsiteY160" fmla="*/ 259176 h 2122526"/>
              <a:gd name="connsiteX161" fmla="*/ 4033778 w 12192002"/>
              <a:gd name="connsiteY161" fmla="*/ 246608 h 2122526"/>
              <a:gd name="connsiteX162" fmla="*/ 4035363 w 12192002"/>
              <a:gd name="connsiteY162" fmla="*/ 246843 h 2122526"/>
              <a:gd name="connsiteX163" fmla="*/ 4036996 w 12192002"/>
              <a:gd name="connsiteY163" fmla="*/ 243176 h 2122526"/>
              <a:gd name="connsiteX164" fmla="*/ 4042364 w 12192002"/>
              <a:gd name="connsiteY164" fmla="*/ 240742 h 2122526"/>
              <a:gd name="connsiteX165" fmla="*/ 4058954 w 12192002"/>
              <a:gd name="connsiteY165" fmla="*/ 239121 h 2122526"/>
              <a:gd name="connsiteX166" fmla="*/ 4065510 w 12192002"/>
              <a:gd name="connsiteY166" fmla="*/ 239339 h 2122526"/>
              <a:gd name="connsiteX167" fmla="*/ 4074427 w 12192002"/>
              <a:gd name="connsiteY167" fmla="*/ 237895 h 2122526"/>
              <a:gd name="connsiteX168" fmla="*/ 4074546 w 12192002"/>
              <a:gd name="connsiteY168" fmla="*/ 237596 h 2122526"/>
              <a:gd name="connsiteX169" fmla="*/ 4083097 w 12192002"/>
              <a:gd name="connsiteY169" fmla="*/ 236761 h 2122526"/>
              <a:gd name="connsiteX170" fmla="*/ 4142745 w 12192002"/>
              <a:gd name="connsiteY170" fmla="*/ 210228 h 2122526"/>
              <a:gd name="connsiteX171" fmla="*/ 4191248 w 12192002"/>
              <a:gd name="connsiteY171" fmla="*/ 194363 h 2122526"/>
              <a:gd name="connsiteX172" fmla="*/ 4201744 w 12192002"/>
              <a:gd name="connsiteY172" fmla="*/ 188729 h 2122526"/>
              <a:gd name="connsiteX173" fmla="*/ 4202048 w 12192002"/>
              <a:gd name="connsiteY173" fmla="*/ 187470 h 2122526"/>
              <a:gd name="connsiteX174" fmla="*/ 4248116 w 12192002"/>
              <a:gd name="connsiteY174" fmla="*/ 184675 h 2122526"/>
              <a:gd name="connsiteX175" fmla="*/ 4276141 w 12192002"/>
              <a:gd name="connsiteY175" fmla="*/ 186999 h 2122526"/>
              <a:gd name="connsiteX176" fmla="*/ 4290062 w 12192002"/>
              <a:gd name="connsiteY176" fmla="*/ 186753 h 2122526"/>
              <a:gd name="connsiteX177" fmla="*/ 4295143 w 12192002"/>
              <a:gd name="connsiteY177" fmla="*/ 189670 h 2122526"/>
              <a:gd name="connsiteX178" fmla="*/ 4315108 w 12192002"/>
              <a:gd name="connsiteY178" fmla="*/ 187791 h 2122526"/>
              <a:gd name="connsiteX179" fmla="*/ 4316965 w 12192002"/>
              <a:gd name="connsiteY179" fmla="*/ 186450 h 2122526"/>
              <a:gd name="connsiteX180" fmla="*/ 4362875 w 12192002"/>
              <a:gd name="connsiteY180" fmla="*/ 193065 h 2122526"/>
              <a:gd name="connsiteX181" fmla="*/ 4428542 w 12192002"/>
              <a:gd name="connsiteY181" fmla="*/ 191719 h 2122526"/>
              <a:gd name="connsiteX182" fmla="*/ 4515813 w 12192002"/>
              <a:gd name="connsiteY182" fmla="*/ 181068 h 2122526"/>
              <a:gd name="connsiteX183" fmla="*/ 4715526 w 12192002"/>
              <a:gd name="connsiteY183" fmla="*/ 171166 h 2122526"/>
              <a:gd name="connsiteX184" fmla="*/ 4762447 w 12192002"/>
              <a:gd name="connsiteY184" fmla="*/ 162678 h 2122526"/>
              <a:gd name="connsiteX185" fmla="*/ 4840439 w 12192002"/>
              <a:gd name="connsiteY185" fmla="*/ 134910 h 2122526"/>
              <a:gd name="connsiteX186" fmla="*/ 5011513 w 12192002"/>
              <a:gd name="connsiteY186" fmla="*/ 110893 h 2122526"/>
              <a:gd name="connsiteX187" fmla="*/ 5065790 w 12192002"/>
              <a:gd name="connsiteY187" fmla="*/ 94512 h 2122526"/>
              <a:gd name="connsiteX188" fmla="*/ 5121659 w 12192002"/>
              <a:gd name="connsiteY188" fmla="*/ 101083 h 2122526"/>
              <a:gd name="connsiteX189" fmla="*/ 5139595 w 12192002"/>
              <a:gd name="connsiteY189" fmla="*/ 90230 h 2122526"/>
              <a:gd name="connsiteX190" fmla="*/ 5142598 w 12192002"/>
              <a:gd name="connsiteY190" fmla="*/ 88129 h 2122526"/>
              <a:gd name="connsiteX191" fmla="*/ 5156554 w 12192002"/>
              <a:gd name="connsiteY191" fmla="*/ 84729 h 2122526"/>
              <a:gd name="connsiteX192" fmla="*/ 5174660 w 12192002"/>
              <a:gd name="connsiteY192" fmla="*/ 77506 h 2122526"/>
              <a:gd name="connsiteX193" fmla="*/ 5222961 w 12192002"/>
              <a:gd name="connsiteY193" fmla="*/ 74516 h 2122526"/>
              <a:gd name="connsiteX194" fmla="*/ 5261763 w 12192002"/>
              <a:gd name="connsiteY194" fmla="*/ 63392 h 2122526"/>
              <a:gd name="connsiteX195" fmla="*/ 5381667 w 12192002"/>
              <a:gd name="connsiteY195" fmla="*/ 42975 h 2122526"/>
              <a:gd name="connsiteX196" fmla="*/ 5432760 w 12192002"/>
              <a:gd name="connsiteY196" fmla="*/ 25273 h 2122526"/>
              <a:gd name="connsiteX197" fmla="*/ 5470905 w 12192002"/>
              <a:gd name="connsiteY197" fmla="*/ 14020 h 2122526"/>
              <a:gd name="connsiteX198" fmla="*/ 5626960 w 12192002"/>
              <a:gd name="connsiteY198" fmla="*/ 0 h 2122526"/>
              <a:gd name="connsiteX0" fmla="*/ 5626960 w 12192002"/>
              <a:gd name="connsiteY0" fmla="*/ 0 h 2122526"/>
              <a:gd name="connsiteX1" fmla="*/ 5758918 w 12192002"/>
              <a:gd name="connsiteY1" fmla="*/ 1023 h 2122526"/>
              <a:gd name="connsiteX2" fmla="*/ 5957375 w 12192002"/>
              <a:gd name="connsiteY2" fmla="*/ 16715 h 2122526"/>
              <a:gd name="connsiteX3" fmla="*/ 6010090 w 12192002"/>
              <a:gd name="connsiteY3" fmla="*/ 20359 h 2122526"/>
              <a:gd name="connsiteX4" fmla="*/ 6041282 w 12192002"/>
              <a:gd name="connsiteY4" fmla="*/ 15266 h 2122526"/>
              <a:gd name="connsiteX5" fmla="*/ 6048637 w 12192002"/>
              <a:gd name="connsiteY5" fmla="*/ 6917 h 2122526"/>
              <a:gd name="connsiteX6" fmla="*/ 6068529 w 12192002"/>
              <a:gd name="connsiteY6" fmla="*/ 7600 h 2122526"/>
              <a:gd name="connsiteX7" fmla="*/ 6073847 w 12192002"/>
              <a:gd name="connsiteY7" fmla="*/ 6063 h 2122526"/>
              <a:gd name="connsiteX8" fmla="*/ 6168673 w 12192002"/>
              <a:gd name="connsiteY8" fmla="*/ 26525 h 2122526"/>
              <a:gd name="connsiteX9" fmla="*/ 6317559 w 12192002"/>
              <a:gd name="connsiteY9" fmla="*/ 28612 h 2122526"/>
              <a:gd name="connsiteX10" fmla="*/ 6549454 w 12192002"/>
              <a:gd name="connsiteY10" fmla="*/ 75412 h 2122526"/>
              <a:gd name="connsiteX11" fmla="*/ 6708221 w 12192002"/>
              <a:gd name="connsiteY11" fmla="*/ 104188 h 2122526"/>
              <a:gd name="connsiteX12" fmla="*/ 6904145 w 12192002"/>
              <a:gd name="connsiteY12" fmla="*/ 132143 h 2122526"/>
              <a:gd name="connsiteX13" fmla="*/ 7018495 w 12192002"/>
              <a:gd name="connsiteY13" fmla="*/ 161649 h 2122526"/>
              <a:gd name="connsiteX14" fmla="*/ 7096987 w 12192002"/>
              <a:gd name="connsiteY14" fmla="*/ 161275 h 2122526"/>
              <a:gd name="connsiteX15" fmla="*/ 7170807 w 12192002"/>
              <a:gd name="connsiteY15" fmla="*/ 173503 h 2122526"/>
              <a:gd name="connsiteX16" fmla="*/ 7197003 w 12192002"/>
              <a:gd name="connsiteY16" fmla="*/ 178151 h 2122526"/>
              <a:gd name="connsiteX17" fmla="*/ 7201101 w 12192002"/>
              <a:gd name="connsiteY17" fmla="*/ 183509 h 2122526"/>
              <a:gd name="connsiteX18" fmla="*/ 7218559 w 12192002"/>
              <a:gd name="connsiteY18" fmla="*/ 188059 h 2122526"/>
              <a:gd name="connsiteX19" fmla="*/ 7310852 w 12192002"/>
              <a:gd name="connsiteY19" fmla="*/ 213308 h 2122526"/>
              <a:gd name="connsiteX20" fmla="*/ 7312179 w 12192002"/>
              <a:gd name="connsiteY20" fmla="*/ 211866 h 2122526"/>
              <a:gd name="connsiteX21" fmla="*/ 7405390 w 12192002"/>
              <a:gd name="connsiteY21" fmla="*/ 202271 h 2122526"/>
              <a:gd name="connsiteX22" fmla="*/ 7495794 w 12192002"/>
              <a:gd name="connsiteY22" fmla="*/ 194166 h 2122526"/>
              <a:gd name="connsiteX23" fmla="*/ 7507039 w 12192002"/>
              <a:gd name="connsiteY23" fmla="*/ 196118 h 2122526"/>
              <a:gd name="connsiteX24" fmla="*/ 7507411 w 12192002"/>
              <a:gd name="connsiteY24" fmla="*/ 195791 h 2122526"/>
              <a:gd name="connsiteX25" fmla="*/ 7519570 w 12192002"/>
              <a:gd name="connsiteY25" fmla="*/ 197126 h 2122526"/>
              <a:gd name="connsiteX26" fmla="*/ 7527542 w 12192002"/>
              <a:gd name="connsiteY26" fmla="*/ 199679 h 2122526"/>
              <a:gd name="connsiteX27" fmla="*/ 7614346 w 12192002"/>
              <a:gd name="connsiteY27" fmla="*/ 205507 h 2122526"/>
              <a:gd name="connsiteX28" fmla="*/ 7718744 w 12192002"/>
              <a:gd name="connsiteY28" fmla="*/ 202036 h 2122526"/>
              <a:gd name="connsiteX29" fmla="*/ 7905407 w 12192002"/>
              <a:gd name="connsiteY29" fmla="*/ 227751 h 2122526"/>
              <a:gd name="connsiteX30" fmla="*/ 8090271 w 12192002"/>
              <a:gd name="connsiteY30" fmla="*/ 269724 h 2122526"/>
              <a:gd name="connsiteX31" fmla="*/ 8245834 w 12192002"/>
              <a:gd name="connsiteY31" fmla="*/ 315885 h 2122526"/>
              <a:gd name="connsiteX32" fmla="*/ 8252033 w 12192002"/>
              <a:gd name="connsiteY32" fmla="*/ 328877 h 2122526"/>
              <a:gd name="connsiteX33" fmla="*/ 8263376 w 12192002"/>
              <a:gd name="connsiteY33" fmla="*/ 338720 h 2122526"/>
              <a:gd name="connsiteX34" fmla="*/ 8266075 w 12192002"/>
              <a:gd name="connsiteY34" fmla="*/ 338490 h 2122526"/>
              <a:gd name="connsiteX35" fmla="*/ 8283149 w 12192002"/>
              <a:gd name="connsiteY35" fmla="*/ 345665 h 2122526"/>
              <a:gd name="connsiteX36" fmla="*/ 8284276 w 12192002"/>
              <a:gd name="connsiteY36" fmla="*/ 350108 h 2122526"/>
              <a:gd name="connsiteX37" fmla="*/ 8295173 w 12192002"/>
              <a:gd name="connsiteY37" fmla="*/ 355931 h 2122526"/>
              <a:gd name="connsiteX38" fmla="*/ 8314432 w 12192002"/>
              <a:gd name="connsiteY38" fmla="*/ 369826 h 2122526"/>
              <a:gd name="connsiteX39" fmla="*/ 8320104 w 12192002"/>
              <a:gd name="connsiteY39" fmla="*/ 370152 h 2122526"/>
              <a:gd name="connsiteX40" fmla="*/ 8352372 w 12192002"/>
              <a:gd name="connsiteY40" fmla="*/ 387570 h 2122526"/>
              <a:gd name="connsiteX41" fmla="*/ 8353799 w 12192002"/>
              <a:gd name="connsiteY41" fmla="*/ 386730 h 2122526"/>
              <a:gd name="connsiteX42" fmla="*/ 8367182 w 12192002"/>
              <a:gd name="connsiteY42" fmla="*/ 386924 h 2122526"/>
              <a:gd name="connsiteX43" fmla="*/ 8490249 w 12192002"/>
              <a:gd name="connsiteY43" fmla="*/ 400966 h 2122526"/>
              <a:gd name="connsiteX44" fmla="*/ 8497594 w 12192002"/>
              <a:gd name="connsiteY44" fmla="*/ 404016 h 2122526"/>
              <a:gd name="connsiteX45" fmla="*/ 8497968 w 12192002"/>
              <a:gd name="connsiteY45" fmla="*/ 403837 h 2122526"/>
              <a:gd name="connsiteX46" fmla="*/ 8506167 w 12192002"/>
              <a:gd name="connsiteY46" fmla="*/ 406575 h 2122526"/>
              <a:gd name="connsiteX47" fmla="*/ 8510983 w 12192002"/>
              <a:gd name="connsiteY47" fmla="*/ 409576 h 2122526"/>
              <a:gd name="connsiteX48" fmla="*/ 8525230 w 12192002"/>
              <a:gd name="connsiteY48" fmla="*/ 415491 h 2122526"/>
              <a:gd name="connsiteX49" fmla="*/ 8596071 w 12192002"/>
              <a:gd name="connsiteY49" fmla="*/ 400649 h 2122526"/>
              <a:gd name="connsiteX50" fmla="*/ 8707847 w 12192002"/>
              <a:gd name="connsiteY50" fmla="*/ 409221 h 2122526"/>
              <a:gd name="connsiteX51" fmla="*/ 8752444 w 12192002"/>
              <a:gd name="connsiteY51" fmla="*/ 411322 h 2122526"/>
              <a:gd name="connsiteX52" fmla="*/ 8928988 w 12192002"/>
              <a:gd name="connsiteY52" fmla="*/ 430554 h 2122526"/>
              <a:gd name="connsiteX53" fmla="*/ 8963048 w 12192002"/>
              <a:gd name="connsiteY53" fmla="*/ 427366 h 2122526"/>
              <a:gd name="connsiteX54" fmla="*/ 8968011 w 12192002"/>
              <a:gd name="connsiteY54" fmla="*/ 425141 h 2122526"/>
              <a:gd name="connsiteX55" fmla="*/ 8974337 w 12192002"/>
              <a:gd name="connsiteY55" fmla="*/ 424441 h 2122526"/>
              <a:gd name="connsiteX56" fmla="*/ 8990394 w 12192002"/>
              <a:gd name="connsiteY56" fmla="*/ 427667 h 2122526"/>
              <a:gd name="connsiteX57" fmla="*/ 8996232 w 12192002"/>
              <a:gd name="connsiteY57" fmla="*/ 429728 h 2122526"/>
              <a:gd name="connsiteX58" fmla="*/ 9005201 w 12192002"/>
              <a:gd name="connsiteY58" fmla="*/ 430939 h 2122526"/>
              <a:gd name="connsiteX59" fmla="*/ 9005486 w 12192002"/>
              <a:gd name="connsiteY59" fmla="*/ 430699 h 2122526"/>
              <a:gd name="connsiteX60" fmla="*/ 9053453 w 12192002"/>
              <a:gd name="connsiteY60" fmla="*/ 433984 h 2122526"/>
              <a:gd name="connsiteX61" fmla="*/ 9113812 w 12192002"/>
              <a:gd name="connsiteY61" fmla="*/ 425670 h 2122526"/>
              <a:gd name="connsiteX62" fmla="*/ 9137318 w 12192002"/>
              <a:gd name="connsiteY62" fmla="*/ 424304 h 2122526"/>
              <a:gd name="connsiteX63" fmla="*/ 9150210 w 12192002"/>
              <a:gd name="connsiteY63" fmla="*/ 422135 h 2122526"/>
              <a:gd name="connsiteX64" fmla="*/ 9151232 w 12192002"/>
              <a:gd name="connsiteY64" fmla="*/ 421070 h 2122526"/>
              <a:gd name="connsiteX65" fmla="*/ 9189246 w 12192002"/>
              <a:gd name="connsiteY65" fmla="*/ 432272 h 2122526"/>
              <a:gd name="connsiteX66" fmla="*/ 9194810 w 12192002"/>
              <a:gd name="connsiteY66" fmla="*/ 441511 h 2122526"/>
              <a:gd name="connsiteX67" fmla="*/ 9231370 w 12192002"/>
              <a:gd name="connsiteY67" fmla="*/ 451590 h 2122526"/>
              <a:gd name="connsiteX68" fmla="*/ 9343052 w 12192002"/>
              <a:gd name="connsiteY68" fmla="*/ 503495 h 2122526"/>
              <a:gd name="connsiteX69" fmla="*/ 9584507 w 12192002"/>
              <a:gd name="connsiteY69" fmla="*/ 549197 h 2122526"/>
              <a:gd name="connsiteX70" fmla="*/ 9728309 w 12192002"/>
              <a:gd name="connsiteY70" fmla="*/ 560617 h 2122526"/>
              <a:gd name="connsiteX71" fmla="*/ 9847792 w 12192002"/>
              <a:gd name="connsiteY71" fmla="*/ 580824 h 2122526"/>
              <a:gd name="connsiteX72" fmla="*/ 9960019 w 12192002"/>
              <a:gd name="connsiteY72" fmla="*/ 587592 h 2122526"/>
              <a:gd name="connsiteX73" fmla="*/ 10039240 w 12192002"/>
              <a:gd name="connsiteY73" fmla="*/ 603107 h 2122526"/>
              <a:gd name="connsiteX74" fmla="*/ 10082169 w 12192002"/>
              <a:gd name="connsiteY74" fmla="*/ 601443 h 2122526"/>
              <a:gd name="connsiteX75" fmla="*/ 10126500 w 12192002"/>
              <a:gd name="connsiteY75" fmla="*/ 603538 h 2122526"/>
              <a:gd name="connsiteX76" fmla="*/ 10261101 w 12192002"/>
              <a:gd name="connsiteY76" fmla="*/ 615053 h 2122526"/>
              <a:gd name="connsiteX77" fmla="*/ 10336855 w 12192002"/>
              <a:gd name="connsiteY77" fmla="*/ 624804 h 2122526"/>
              <a:gd name="connsiteX78" fmla="*/ 10383868 w 12192002"/>
              <a:gd name="connsiteY78" fmla="*/ 625415 h 2122526"/>
              <a:gd name="connsiteX79" fmla="*/ 10445984 w 12192002"/>
              <a:gd name="connsiteY79" fmla="*/ 629262 h 2122526"/>
              <a:gd name="connsiteX80" fmla="*/ 10519280 w 12192002"/>
              <a:gd name="connsiteY80" fmla="*/ 631320 h 2122526"/>
              <a:gd name="connsiteX81" fmla="*/ 10644619 w 12192002"/>
              <a:gd name="connsiteY81" fmla="*/ 651566 h 2122526"/>
              <a:gd name="connsiteX82" fmla="*/ 10857724 w 12192002"/>
              <a:gd name="connsiteY82" fmla="*/ 712684 h 2122526"/>
              <a:gd name="connsiteX83" fmla="*/ 10951063 w 12192002"/>
              <a:gd name="connsiteY83" fmla="*/ 725767 h 2122526"/>
              <a:gd name="connsiteX84" fmla="*/ 11030956 w 12192002"/>
              <a:gd name="connsiteY84" fmla="*/ 721011 h 2122526"/>
              <a:gd name="connsiteX85" fmla="*/ 11085938 w 12192002"/>
              <a:gd name="connsiteY85" fmla="*/ 723892 h 2122526"/>
              <a:gd name="connsiteX86" fmla="*/ 11143411 w 12192002"/>
              <a:gd name="connsiteY86" fmla="*/ 733141 h 2122526"/>
              <a:gd name="connsiteX87" fmla="*/ 11195087 w 12192002"/>
              <a:gd name="connsiteY87" fmla="*/ 732494 h 2122526"/>
              <a:gd name="connsiteX88" fmla="*/ 11273972 w 12192002"/>
              <a:gd name="connsiteY88" fmla="*/ 753513 h 2122526"/>
              <a:gd name="connsiteX89" fmla="*/ 11369715 w 12192002"/>
              <a:gd name="connsiteY89" fmla="*/ 813181 h 2122526"/>
              <a:gd name="connsiteX90" fmla="*/ 11462695 w 12192002"/>
              <a:gd name="connsiteY90" fmla="*/ 874654 h 2122526"/>
              <a:gd name="connsiteX91" fmla="*/ 11516473 w 12192002"/>
              <a:gd name="connsiteY91" fmla="*/ 928206 h 2122526"/>
              <a:gd name="connsiteX92" fmla="*/ 11585369 w 12192002"/>
              <a:gd name="connsiteY92" fmla="*/ 1004898 h 2122526"/>
              <a:gd name="connsiteX93" fmla="*/ 11744187 w 12192002"/>
              <a:gd name="connsiteY93" fmla="*/ 1047864 h 2122526"/>
              <a:gd name="connsiteX94" fmla="*/ 11854857 w 12192002"/>
              <a:gd name="connsiteY94" fmla="*/ 1112485 h 2122526"/>
              <a:gd name="connsiteX95" fmla="*/ 11925839 w 12192002"/>
              <a:gd name="connsiteY95" fmla="*/ 1110203 h 2122526"/>
              <a:gd name="connsiteX96" fmla="*/ 12080164 w 12192002"/>
              <a:gd name="connsiteY96" fmla="*/ 1090885 h 2122526"/>
              <a:gd name="connsiteX97" fmla="*/ 12140863 w 12192002"/>
              <a:gd name="connsiteY97" fmla="*/ 1035036 h 2122526"/>
              <a:gd name="connsiteX98" fmla="*/ 12192002 w 12192002"/>
              <a:gd name="connsiteY98" fmla="*/ 1015838 h 2122526"/>
              <a:gd name="connsiteX99" fmla="*/ 12192002 w 12192002"/>
              <a:gd name="connsiteY99" fmla="*/ 1955549 h 2122526"/>
              <a:gd name="connsiteX100" fmla="*/ 12192000 w 12192002"/>
              <a:gd name="connsiteY100" fmla="*/ 1955549 h 2122526"/>
              <a:gd name="connsiteX101" fmla="*/ 12192000 w 12192002"/>
              <a:gd name="connsiteY101" fmla="*/ 2122526 h 2122526"/>
              <a:gd name="connsiteX102" fmla="*/ 0 w 12192002"/>
              <a:gd name="connsiteY102" fmla="*/ 2122526 h 2122526"/>
              <a:gd name="connsiteX103" fmla="*/ 0 w 12192002"/>
              <a:gd name="connsiteY103" fmla="*/ 1348327 h 2122526"/>
              <a:gd name="connsiteX104" fmla="*/ 2 w 12192002"/>
              <a:gd name="connsiteY104" fmla="*/ 1348327 h 2122526"/>
              <a:gd name="connsiteX105" fmla="*/ 2 w 12192002"/>
              <a:gd name="connsiteY105" fmla="*/ 592017 h 2122526"/>
              <a:gd name="connsiteX106" fmla="*/ 15526 w 12192002"/>
              <a:gd name="connsiteY106" fmla="*/ 586548 h 2122526"/>
              <a:gd name="connsiteX107" fmla="*/ 118381 w 12192002"/>
              <a:gd name="connsiteY107" fmla="*/ 583692 h 2122526"/>
              <a:gd name="connsiteX108" fmla="*/ 292435 w 12192002"/>
              <a:gd name="connsiteY108" fmla="*/ 531887 h 2122526"/>
              <a:gd name="connsiteX109" fmla="*/ 404015 w 12192002"/>
              <a:gd name="connsiteY109" fmla="*/ 511191 h 2122526"/>
              <a:gd name="connsiteX110" fmla="*/ 445099 w 12192002"/>
              <a:gd name="connsiteY110" fmla="*/ 505368 h 2122526"/>
              <a:gd name="connsiteX111" fmla="*/ 571717 w 12192002"/>
              <a:gd name="connsiteY111" fmla="*/ 467338 h 2122526"/>
              <a:gd name="connsiteX112" fmla="*/ 578535 w 12192002"/>
              <a:gd name="connsiteY112" fmla="*/ 467527 h 2122526"/>
              <a:gd name="connsiteX113" fmla="*/ 596792 w 12192002"/>
              <a:gd name="connsiteY113" fmla="*/ 464875 h 2122526"/>
              <a:gd name="connsiteX114" fmla="*/ 708875 w 12192002"/>
              <a:gd name="connsiteY114" fmla="*/ 422017 h 2122526"/>
              <a:gd name="connsiteX115" fmla="*/ 719742 w 12192002"/>
              <a:gd name="connsiteY115" fmla="*/ 416340 h 2122526"/>
              <a:gd name="connsiteX116" fmla="*/ 720047 w 12192002"/>
              <a:gd name="connsiteY116" fmla="*/ 415078 h 2122526"/>
              <a:gd name="connsiteX117" fmla="*/ 763053 w 12192002"/>
              <a:gd name="connsiteY117" fmla="*/ 414307 h 2122526"/>
              <a:gd name="connsiteX118" fmla="*/ 767901 w 12192002"/>
              <a:gd name="connsiteY118" fmla="*/ 412086 h 2122526"/>
              <a:gd name="connsiteX119" fmla="*/ 797041 w 12192002"/>
              <a:gd name="connsiteY119" fmla="*/ 414293 h 2122526"/>
              <a:gd name="connsiteX120" fmla="*/ 811506 w 12192002"/>
              <a:gd name="connsiteY120" fmla="*/ 413988 h 2122526"/>
              <a:gd name="connsiteX121" fmla="*/ 816809 w 12192002"/>
              <a:gd name="connsiteY121" fmla="*/ 416882 h 2122526"/>
              <a:gd name="connsiteX122" fmla="*/ 837540 w 12192002"/>
              <a:gd name="connsiteY122" fmla="*/ 414918 h 2122526"/>
              <a:gd name="connsiteX123" fmla="*/ 858269 w 12192002"/>
              <a:gd name="connsiteY123" fmla="*/ 416131 h 2122526"/>
              <a:gd name="connsiteX124" fmla="*/ 948732 w 12192002"/>
              <a:gd name="connsiteY124" fmla="*/ 404293 h 2122526"/>
              <a:gd name="connsiteX125" fmla="*/ 1149979 w 12192002"/>
              <a:gd name="connsiteY125" fmla="*/ 406698 h 2122526"/>
              <a:gd name="connsiteX126" fmla="*/ 1496110 w 12192002"/>
              <a:gd name="connsiteY126" fmla="*/ 357263 h 2122526"/>
              <a:gd name="connsiteX127" fmla="*/ 1608669 w 12192002"/>
              <a:gd name="connsiteY127" fmla="*/ 331673 h 2122526"/>
              <a:gd name="connsiteX128" fmla="*/ 1675071 w 12192002"/>
              <a:gd name="connsiteY128" fmla="*/ 324776 h 2122526"/>
              <a:gd name="connsiteX129" fmla="*/ 1738204 w 12192002"/>
              <a:gd name="connsiteY129" fmla="*/ 308427 h 2122526"/>
              <a:gd name="connsiteX130" fmla="*/ 1786655 w 12192002"/>
              <a:gd name="connsiteY130" fmla="*/ 303376 h 2122526"/>
              <a:gd name="connsiteX131" fmla="*/ 1873080 w 12192002"/>
              <a:gd name="connsiteY131" fmla="*/ 330998 h 2122526"/>
              <a:gd name="connsiteX132" fmla="*/ 1921650 w 12192002"/>
              <a:gd name="connsiteY132" fmla="*/ 332593 h 2122526"/>
              <a:gd name="connsiteX133" fmla="*/ 1928172 w 12192002"/>
              <a:gd name="connsiteY133" fmla="*/ 327762 h 2122526"/>
              <a:gd name="connsiteX134" fmla="*/ 1997356 w 12192002"/>
              <a:gd name="connsiteY134" fmla="*/ 349707 h 2122526"/>
              <a:gd name="connsiteX135" fmla="*/ 2094665 w 12192002"/>
              <a:gd name="connsiteY135" fmla="*/ 341687 h 2122526"/>
              <a:gd name="connsiteX136" fmla="*/ 2208578 w 12192002"/>
              <a:gd name="connsiteY136" fmla="*/ 324976 h 2122526"/>
              <a:gd name="connsiteX137" fmla="*/ 2315112 w 12192002"/>
              <a:gd name="connsiteY137" fmla="*/ 319743 h 2122526"/>
              <a:gd name="connsiteX138" fmla="*/ 2443255 w 12192002"/>
              <a:gd name="connsiteY138" fmla="*/ 328210 h 2122526"/>
              <a:gd name="connsiteX139" fmla="*/ 2568028 w 12192002"/>
              <a:gd name="connsiteY139" fmla="*/ 342111 h 2122526"/>
              <a:gd name="connsiteX140" fmla="*/ 2646527 w 12192002"/>
              <a:gd name="connsiteY140" fmla="*/ 315870 h 2122526"/>
              <a:gd name="connsiteX141" fmla="*/ 2781569 w 12192002"/>
              <a:gd name="connsiteY141" fmla="*/ 326406 h 2122526"/>
              <a:gd name="connsiteX142" fmla="*/ 3030291 w 12192002"/>
              <a:gd name="connsiteY142" fmla="*/ 348227 h 2122526"/>
              <a:gd name="connsiteX143" fmla="*/ 3142556 w 12192002"/>
              <a:gd name="connsiteY143" fmla="*/ 350870 h 2122526"/>
              <a:gd name="connsiteX144" fmla="*/ 3262356 w 12192002"/>
              <a:gd name="connsiteY144" fmla="*/ 358645 h 2122526"/>
              <a:gd name="connsiteX145" fmla="*/ 3341698 w 12192002"/>
              <a:gd name="connsiteY145" fmla="*/ 364522 h 2122526"/>
              <a:gd name="connsiteX146" fmla="*/ 3344026 w 12192002"/>
              <a:gd name="connsiteY146" fmla="*/ 363547 h 2122526"/>
              <a:gd name="connsiteX147" fmla="*/ 3363888 w 12192002"/>
              <a:gd name="connsiteY147" fmla="*/ 365229 h 2122526"/>
              <a:gd name="connsiteX148" fmla="*/ 3400728 w 12192002"/>
              <a:gd name="connsiteY148" fmla="*/ 382181 h 2122526"/>
              <a:gd name="connsiteX149" fmla="*/ 3473223 w 12192002"/>
              <a:gd name="connsiteY149" fmla="*/ 370133 h 2122526"/>
              <a:gd name="connsiteX150" fmla="*/ 3536135 w 12192002"/>
              <a:gd name="connsiteY150" fmla="*/ 366472 h 2122526"/>
              <a:gd name="connsiteX151" fmla="*/ 3585978 w 12192002"/>
              <a:gd name="connsiteY151" fmla="*/ 356773 h 2122526"/>
              <a:gd name="connsiteX152" fmla="*/ 3594501 w 12192002"/>
              <a:gd name="connsiteY152" fmla="*/ 357463 h 2122526"/>
              <a:gd name="connsiteX153" fmla="*/ 3594736 w 12192002"/>
              <a:gd name="connsiteY153" fmla="*/ 357194 h 2122526"/>
              <a:gd name="connsiteX154" fmla="*/ 3603855 w 12192002"/>
              <a:gd name="connsiteY154" fmla="*/ 357358 h 2122526"/>
              <a:gd name="connsiteX155" fmla="*/ 3610035 w 12192002"/>
              <a:gd name="connsiteY155" fmla="*/ 358720 h 2122526"/>
              <a:gd name="connsiteX156" fmla="*/ 3682513 w 12192002"/>
              <a:gd name="connsiteY156" fmla="*/ 326449 h 2122526"/>
              <a:gd name="connsiteX157" fmla="*/ 3789760 w 12192002"/>
              <a:gd name="connsiteY157" fmla="*/ 302526 h 2122526"/>
              <a:gd name="connsiteX158" fmla="*/ 3897275 w 12192002"/>
              <a:gd name="connsiteY158" fmla="*/ 282288 h 2122526"/>
              <a:gd name="connsiteX159" fmla="*/ 3936846 w 12192002"/>
              <a:gd name="connsiteY159" fmla="*/ 276633 h 2122526"/>
              <a:gd name="connsiteX160" fmla="*/ 4004538 w 12192002"/>
              <a:gd name="connsiteY160" fmla="*/ 259176 h 2122526"/>
              <a:gd name="connsiteX161" fmla="*/ 4033778 w 12192002"/>
              <a:gd name="connsiteY161" fmla="*/ 246608 h 2122526"/>
              <a:gd name="connsiteX162" fmla="*/ 4035363 w 12192002"/>
              <a:gd name="connsiteY162" fmla="*/ 246843 h 2122526"/>
              <a:gd name="connsiteX163" fmla="*/ 4036996 w 12192002"/>
              <a:gd name="connsiteY163" fmla="*/ 243176 h 2122526"/>
              <a:gd name="connsiteX164" fmla="*/ 4042364 w 12192002"/>
              <a:gd name="connsiteY164" fmla="*/ 240742 h 2122526"/>
              <a:gd name="connsiteX165" fmla="*/ 4058954 w 12192002"/>
              <a:gd name="connsiteY165" fmla="*/ 239121 h 2122526"/>
              <a:gd name="connsiteX166" fmla="*/ 4065510 w 12192002"/>
              <a:gd name="connsiteY166" fmla="*/ 239339 h 2122526"/>
              <a:gd name="connsiteX167" fmla="*/ 4074427 w 12192002"/>
              <a:gd name="connsiteY167" fmla="*/ 237895 h 2122526"/>
              <a:gd name="connsiteX168" fmla="*/ 4074546 w 12192002"/>
              <a:gd name="connsiteY168" fmla="*/ 237596 h 2122526"/>
              <a:gd name="connsiteX169" fmla="*/ 4083097 w 12192002"/>
              <a:gd name="connsiteY169" fmla="*/ 236761 h 2122526"/>
              <a:gd name="connsiteX170" fmla="*/ 4142745 w 12192002"/>
              <a:gd name="connsiteY170" fmla="*/ 210228 h 2122526"/>
              <a:gd name="connsiteX171" fmla="*/ 4191248 w 12192002"/>
              <a:gd name="connsiteY171" fmla="*/ 194363 h 2122526"/>
              <a:gd name="connsiteX172" fmla="*/ 4201744 w 12192002"/>
              <a:gd name="connsiteY172" fmla="*/ 188729 h 2122526"/>
              <a:gd name="connsiteX173" fmla="*/ 4202048 w 12192002"/>
              <a:gd name="connsiteY173" fmla="*/ 187470 h 2122526"/>
              <a:gd name="connsiteX174" fmla="*/ 4248116 w 12192002"/>
              <a:gd name="connsiteY174" fmla="*/ 184675 h 2122526"/>
              <a:gd name="connsiteX175" fmla="*/ 4276141 w 12192002"/>
              <a:gd name="connsiteY175" fmla="*/ 186999 h 2122526"/>
              <a:gd name="connsiteX176" fmla="*/ 4290062 w 12192002"/>
              <a:gd name="connsiteY176" fmla="*/ 186753 h 2122526"/>
              <a:gd name="connsiteX177" fmla="*/ 4295143 w 12192002"/>
              <a:gd name="connsiteY177" fmla="*/ 189670 h 2122526"/>
              <a:gd name="connsiteX178" fmla="*/ 4315108 w 12192002"/>
              <a:gd name="connsiteY178" fmla="*/ 187791 h 2122526"/>
              <a:gd name="connsiteX179" fmla="*/ 4316965 w 12192002"/>
              <a:gd name="connsiteY179" fmla="*/ 186450 h 2122526"/>
              <a:gd name="connsiteX180" fmla="*/ 4362875 w 12192002"/>
              <a:gd name="connsiteY180" fmla="*/ 193065 h 2122526"/>
              <a:gd name="connsiteX181" fmla="*/ 4428542 w 12192002"/>
              <a:gd name="connsiteY181" fmla="*/ 191719 h 2122526"/>
              <a:gd name="connsiteX182" fmla="*/ 4515813 w 12192002"/>
              <a:gd name="connsiteY182" fmla="*/ 181068 h 2122526"/>
              <a:gd name="connsiteX183" fmla="*/ 4715526 w 12192002"/>
              <a:gd name="connsiteY183" fmla="*/ 171166 h 2122526"/>
              <a:gd name="connsiteX184" fmla="*/ 4762447 w 12192002"/>
              <a:gd name="connsiteY184" fmla="*/ 162678 h 2122526"/>
              <a:gd name="connsiteX185" fmla="*/ 4840439 w 12192002"/>
              <a:gd name="connsiteY185" fmla="*/ 134910 h 2122526"/>
              <a:gd name="connsiteX186" fmla="*/ 5011513 w 12192002"/>
              <a:gd name="connsiteY186" fmla="*/ 110893 h 2122526"/>
              <a:gd name="connsiteX187" fmla="*/ 5065790 w 12192002"/>
              <a:gd name="connsiteY187" fmla="*/ 94512 h 2122526"/>
              <a:gd name="connsiteX188" fmla="*/ 5121659 w 12192002"/>
              <a:gd name="connsiteY188" fmla="*/ 101083 h 2122526"/>
              <a:gd name="connsiteX189" fmla="*/ 5139595 w 12192002"/>
              <a:gd name="connsiteY189" fmla="*/ 90230 h 2122526"/>
              <a:gd name="connsiteX190" fmla="*/ 5142598 w 12192002"/>
              <a:gd name="connsiteY190" fmla="*/ 88129 h 2122526"/>
              <a:gd name="connsiteX191" fmla="*/ 5156554 w 12192002"/>
              <a:gd name="connsiteY191" fmla="*/ 84729 h 2122526"/>
              <a:gd name="connsiteX192" fmla="*/ 5174660 w 12192002"/>
              <a:gd name="connsiteY192" fmla="*/ 77506 h 2122526"/>
              <a:gd name="connsiteX193" fmla="*/ 5222961 w 12192002"/>
              <a:gd name="connsiteY193" fmla="*/ 74516 h 2122526"/>
              <a:gd name="connsiteX194" fmla="*/ 5261763 w 12192002"/>
              <a:gd name="connsiteY194" fmla="*/ 63392 h 2122526"/>
              <a:gd name="connsiteX195" fmla="*/ 5381667 w 12192002"/>
              <a:gd name="connsiteY195" fmla="*/ 42975 h 2122526"/>
              <a:gd name="connsiteX196" fmla="*/ 5432760 w 12192002"/>
              <a:gd name="connsiteY196" fmla="*/ 25273 h 2122526"/>
              <a:gd name="connsiteX197" fmla="*/ 5470905 w 12192002"/>
              <a:gd name="connsiteY197" fmla="*/ 14020 h 2122526"/>
              <a:gd name="connsiteX198" fmla="*/ 5626960 w 12192002"/>
              <a:gd name="connsiteY198" fmla="*/ 0 h 2122526"/>
              <a:gd name="connsiteX0" fmla="*/ 5626960 w 12192002"/>
              <a:gd name="connsiteY0" fmla="*/ 0 h 2122526"/>
              <a:gd name="connsiteX1" fmla="*/ 5758918 w 12192002"/>
              <a:gd name="connsiteY1" fmla="*/ 1023 h 2122526"/>
              <a:gd name="connsiteX2" fmla="*/ 5957375 w 12192002"/>
              <a:gd name="connsiteY2" fmla="*/ 16715 h 2122526"/>
              <a:gd name="connsiteX3" fmla="*/ 6010090 w 12192002"/>
              <a:gd name="connsiteY3" fmla="*/ 20359 h 2122526"/>
              <a:gd name="connsiteX4" fmla="*/ 6041282 w 12192002"/>
              <a:gd name="connsiteY4" fmla="*/ 15266 h 2122526"/>
              <a:gd name="connsiteX5" fmla="*/ 6048637 w 12192002"/>
              <a:gd name="connsiteY5" fmla="*/ 6917 h 2122526"/>
              <a:gd name="connsiteX6" fmla="*/ 6068529 w 12192002"/>
              <a:gd name="connsiteY6" fmla="*/ 7600 h 2122526"/>
              <a:gd name="connsiteX7" fmla="*/ 6073847 w 12192002"/>
              <a:gd name="connsiteY7" fmla="*/ 6063 h 2122526"/>
              <a:gd name="connsiteX8" fmla="*/ 6168673 w 12192002"/>
              <a:gd name="connsiteY8" fmla="*/ 26525 h 2122526"/>
              <a:gd name="connsiteX9" fmla="*/ 6317559 w 12192002"/>
              <a:gd name="connsiteY9" fmla="*/ 28612 h 2122526"/>
              <a:gd name="connsiteX10" fmla="*/ 6549454 w 12192002"/>
              <a:gd name="connsiteY10" fmla="*/ 75412 h 2122526"/>
              <a:gd name="connsiteX11" fmla="*/ 6708221 w 12192002"/>
              <a:gd name="connsiteY11" fmla="*/ 104188 h 2122526"/>
              <a:gd name="connsiteX12" fmla="*/ 6904145 w 12192002"/>
              <a:gd name="connsiteY12" fmla="*/ 132143 h 2122526"/>
              <a:gd name="connsiteX13" fmla="*/ 7018495 w 12192002"/>
              <a:gd name="connsiteY13" fmla="*/ 161649 h 2122526"/>
              <a:gd name="connsiteX14" fmla="*/ 7096987 w 12192002"/>
              <a:gd name="connsiteY14" fmla="*/ 161275 h 2122526"/>
              <a:gd name="connsiteX15" fmla="*/ 7170807 w 12192002"/>
              <a:gd name="connsiteY15" fmla="*/ 173503 h 2122526"/>
              <a:gd name="connsiteX16" fmla="*/ 7197003 w 12192002"/>
              <a:gd name="connsiteY16" fmla="*/ 178151 h 2122526"/>
              <a:gd name="connsiteX17" fmla="*/ 7201101 w 12192002"/>
              <a:gd name="connsiteY17" fmla="*/ 183509 h 2122526"/>
              <a:gd name="connsiteX18" fmla="*/ 7218559 w 12192002"/>
              <a:gd name="connsiteY18" fmla="*/ 188059 h 2122526"/>
              <a:gd name="connsiteX19" fmla="*/ 7310852 w 12192002"/>
              <a:gd name="connsiteY19" fmla="*/ 213308 h 2122526"/>
              <a:gd name="connsiteX20" fmla="*/ 7312179 w 12192002"/>
              <a:gd name="connsiteY20" fmla="*/ 211866 h 2122526"/>
              <a:gd name="connsiteX21" fmla="*/ 7405390 w 12192002"/>
              <a:gd name="connsiteY21" fmla="*/ 202271 h 2122526"/>
              <a:gd name="connsiteX22" fmla="*/ 7495794 w 12192002"/>
              <a:gd name="connsiteY22" fmla="*/ 194166 h 2122526"/>
              <a:gd name="connsiteX23" fmla="*/ 7507039 w 12192002"/>
              <a:gd name="connsiteY23" fmla="*/ 196118 h 2122526"/>
              <a:gd name="connsiteX24" fmla="*/ 7507411 w 12192002"/>
              <a:gd name="connsiteY24" fmla="*/ 195791 h 2122526"/>
              <a:gd name="connsiteX25" fmla="*/ 7519570 w 12192002"/>
              <a:gd name="connsiteY25" fmla="*/ 197126 h 2122526"/>
              <a:gd name="connsiteX26" fmla="*/ 7527542 w 12192002"/>
              <a:gd name="connsiteY26" fmla="*/ 199679 h 2122526"/>
              <a:gd name="connsiteX27" fmla="*/ 7614346 w 12192002"/>
              <a:gd name="connsiteY27" fmla="*/ 205507 h 2122526"/>
              <a:gd name="connsiteX28" fmla="*/ 7718744 w 12192002"/>
              <a:gd name="connsiteY28" fmla="*/ 202036 h 2122526"/>
              <a:gd name="connsiteX29" fmla="*/ 7905407 w 12192002"/>
              <a:gd name="connsiteY29" fmla="*/ 227751 h 2122526"/>
              <a:gd name="connsiteX30" fmla="*/ 8090271 w 12192002"/>
              <a:gd name="connsiteY30" fmla="*/ 269724 h 2122526"/>
              <a:gd name="connsiteX31" fmla="*/ 8245834 w 12192002"/>
              <a:gd name="connsiteY31" fmla="*/ 315885 h 2122526"/>
              <a:gd name="connsiteX32" fmla="*/ 8252033 w 12192002"/>
              <a:gd name="connsiteY32" fmla="*/ 328877 h 2122526"/>
              <a:gd name="connsiteX33" fmla="*/ 8263376 w 12192002"/>
              <a:gd name="connsiteY33" fmla="*/ 338720 h 2122526"/>
              <a:gd name="connsiteX34" fmla="*/ 8266075 w 12192002"/>
              <a:gd name="connsiteY34" fmla="*/ 338490 h 2122526"/>
              <a:gd name="connsiteX35" fmla="*/ 8283149 w 12192002"/>
              <a:gd name="connsiteY35" fmla="*/ 345665 h 2122526"/>
              <a:gd name="connsiteX36" fmla="*/ 8284276 w 12192002"/>
              <a:gd name="connsiteY36" fmla="*/ 350108 h 2122526"/>
              <a:gd name="connsiteX37" fmla="*/ 8295173 w 12192002"/>
              <a:gd name="connsiteY37" fmla="*/ 355931 h 2122526"/>
              <a:gd name="connsiteX38" fmla="*/ 8314432 w 12192002"/>
              <a:gd name="connsiteY38" fmla="*/ 369826 h 2122526"/>
              <a:gd name="connsiteX39" fmla="*/ 8320104 w 12192002"/>
              <a:gd name="connsiteY39" fmla="*/ 370152 h 2122526"/>
              <a:gd name="connsiteX40" fmla="*/ 8352372 w 12192002"/>
              <a:gd name="connsiteY40" fmla="*/ 387570 h 2122526"/>
              <a:gd name="connsiteX41" fmla="*/ 8353799 w 12192002"/>
              <a:gd name="connsiteY41" fmla="*/ 386730 h 2122526"/>
              <a:gd name="connsiteX42" fmla="*/ 8367182 w 12192002"/>
              <a:gd name="connsiteY42" fmla="*/ 386924 h 2122526"/>
              <a:gd name="connsiteX43" fmla="*/ 8490249 w 12192002"/>
              <a:gd name="connsiteY43" fmla="*/ 400966 h 2122526"/>
              <a:gd name="connsiteX44" fmla="*/ 8497594 w 12192002"/>
              <a:gd name="connsiteY44" fmla="*/ 404016 h 2122526"/>
              <a:gd name="connsiteX45" fmla="*/ 8497968 w 12192002"/>
              <a:gd name="connsiteY45" fmla="*/ 403837 h 2122526"/>
              <a:gd name="connsiteX46" fmla="*/ 8506167 w 12192002"/>
              <a:gd name="connsiteY46" fmla="*/ 406575 h 2122526"/>
              <a:gd name="connsiteX47" fmla="*/ 8510983 w 12192002"/>
              <a:gd name="connsiteY47" fmla="*/ 409576 h 2122526"/>
              <a:gd name="connsiteX48" fmla="*/ 8525230 w 12192002"/>
              <a:gd name="connsiteY48" fmla="*/ 415491 h 2122526"/>
              <a:gd name="connsiteX49" fmla="*/ 8596071 w 12192002"/>
              <a:gd name="connsiteY49" fmla="*/ 400649 h 2122526"/>
              <a:gd name="connsiteX50" fmla="*/ 8707847 w 12192002"/>
              <a:gd name="connsiteY50" fmla="*/ 409221 h 2122526"/>
              <a:gd name="connsiteX51" fmla="*/ 8752444 w 12192002"/>
              <a:gd name="connsiteY51" fmla="*/ 411322 h 2122526"/>
              <a:gd name="connsiteX52" fmla="*/ 8928988 w 12192002"/>
              <a:gd name="connsiteY52" fmla="*/ 430554 h 2122526"/>
              <a:gd name="connsiteX53" fmla="*/ 8963048 w 12192002"/>
              <a:gd name="connsiteY53" fmla="*/ 427366 h 2122526"/>
              <a:gd name="connsiteX54" fmla="*/ 8968011 w 12192002"/>
              <a:gd name="connsiteY54" fmla="*/ 425141 h 2122526"/>
              <a:gd name="connsiteX55" fmla="*/ 8974337 w 12192002"/>
              <a:gd name="connsiteY55" fmla="*/ 424441 h 2122526"/>
              <a:gd name="connsiteX56" fmla="*/ 8990394 w 12192002"/>
              <a:gd name="connsiteY56" fmla="*/ 427667 h 2122526"/>
              <a:gd name="connsiteX57" fmla="*/ 8996232 w 12192002"/>
              <a:gd name="connsiteY57" fmla="*/ 429728 h 2122526"/>
              <a:gd name="connsiteX58" fmla="*/ 9005201 w 12192002"/>
              <a:gd name="connsiteY58" fmla="*/ 430939 h 2122526"/>
              <a:gd name="connsiteX59" fmla="*/ 9005486 w 12192002"/>
              <a:gd name="connsiteY59" fmla="*/ 430699 h 2122526"/>
              <a:gd name="connsiteX60" fmla="*/ 9053453 w 12192002"/>
              <a:gd name="connsiteY60" fmla="*/ 433984 h 2122526"/>
              <a:gd name="connsiteX61" fmla="*/ 9113812 w 12192002"/>
              <a:gd name="connsiteY61" fmla="*/ 425670 h 2122526"/>
              <a:gd name="connsiteX62" fmla="*/ 9137318 w 12192002"/>
              <a:gd name="connsiteY62" fmla="*/ 424304 h 2122526"/>
              <a:gd name="connsiteX63" fmla="*/ 9150210 w 12192002"/>
              <a:gd name="connsiteY63" fmla="*/ 422135 h 2122526"/>
              <a:gd name="connsiteX64" fmla="*/ 9151232 w 12192002"/>
              <a:gd name="connsiteY64" fmla="*/ 421070 h 2122526"/>
              <a:gd name="connsiteX65" fmla="*/ 9189246 w 12192002"/>
              <a:gd name="connsiteY65" fmla="*/ 432272 h 2122526"/>
              <a:gd name="connsiteX66" fmla="*/ 9194810 w 12192002"/>
              <a:gd name="connsiteY66" fmla="*/ 441511 h 2122526"/>
              <a:gd name="connsiteX67" fmla="*/ 9231370 w 12192002"/>
              <a:gd name="connsiteY67" fmla="*/ 451590 h 2122526"/>
              <a:gd name="connsiteX68" fmla="*/ 9343052 w 12192002"/>
              <a:gd name="connsiteY68" fmla="*/ 503495 h 2122526"/>
              <a:gd name="connsiteX69" fmla="*/ 9584507 w 12192002"/>
              <a:gd name="connsiteY69" fmla="*/ 549197 h 2122526"/>
              <a:gd name="connsiteX70" fmla="*/ 9728309 w 12192002"/>
              <a:gd name="connsiteY70" fmla="*/ 560617 h 2122526"/>
              <a:gd name="connsiteX71" fmla="*/ 9847792 w 12192002"/>
              <a:gd name="connsiteY71" fmla="*/ 580824 h 2122526"/>
              <a:gd name="connsiteX72" fmla="*/ 9960019 w 12192002"/>
              <a:gd name="connsiteY72" fmla="*/ 587592 h 2122526"/>
              <a:gd name="connsiteX73" fmla="*/ 10039240 w 12192002"/>
              <a:gd name="connsiteY73" fmla="*/ 603107 h 2122526"/>
              <a:gd name="connsiteX74" fmla="*/ 10082169 w 12192002"/>
              <a:gd name="connsiteY74" fmla="*/ 601443 h 2122526"/>
              <a:gd name="connsiteX75" fmla="*/ 10126500 w 12192002"/>
              <a:gd name="connsiteY75" fmla="*/ 603538 h 2122526"/>
              <a:gd name="connsiteX76" fmla="*/ 10261101 w 12192002"/>
              <a:gd name="connsiteY76" fmla="*/ 615053 h 2122526"/>
              <a:gd name="connsiteX77" fmla="*/ 10336855 w 12192002"/>
              <a:gd name="connsiteY77" fmla="*/ 624804 h 2122526"/>
              <a:gd name="connsiteX78" fmla="*/ 10383868 w 12192002"/>
              <a:gd name="connsiteY78" fmla="*/ 625415 h 2122526"/>
              <a:gd name="connsiteX79" fmla="*/ 10445984 w 12192002"/>
              <a:gd name="connsiteY79" fmla="*/ 629262 h 2122526"/>
              <a:gd name="connsiteX80" fmla="*/ 10519280 w 12192002"/>
              <a:gd name="connsiteY80" fmla="*/ 631320 h 2122526"/>
              <a:gd name="connsiteX81" fmla="*/ 10644619 w 12192002"/>
              <a:gd name="connsiteY81" fmla="*/ 651566 h 2122526"/>
              <a:gd name="connsiteX82" fmla="*/ 10857724 w 12192002"/>
              <a:gd name="connsiteY82" fmla="*/ 712684 h 2122526"/>
              <a:gd name="connsiteX83" fmla="*/ 10951063 w 12192002"/>
              <a:gd name="connsiteY83" fmla="*/ 725767 h 2122526"/>
              <a:gd name="connsiteX84" fmla="*/ 11030956 w 12192002"/>
              <a:gd name="connsiteY84" fmla="*/ 721011 h 2122526"/>
              <a:gd name="connsiteX85" fmla="*/ 11085938 w 12192002"/>
              <a:gd name="connsiteY85" fmla="*/ 723892 h 2122526"/>
              <a:gd name="connsiteX86" fmla="*/ 11143411 w 12192002"/>
              <a:gd name="connsiteY86" fmla="*/ 733141 h 2122526"/>
              <a:gd name="connsiteX87" fmla="*/ 11195087 w 12192002"/>
              <a:gd name="connsiteY87" fmla="*/ 732494 h 2122526"/>
              <a:gd name="connsiteX88" fmla="*/ 11273972 w 12192002"/>
              <a:gd name="connsiteY88" fmla="*/ 753513 h 2122526"/>
              <a:gd name="connsiteX89" fmla="*/ 11369715 w 12192002"/>
              <a:gd name="connsiteY89" fmla="*/ 813181 h 2122526"/>
              <a:gd name="connsiteX90" fmla="*/ 11462695 w 12192002"/>
              <a:gd name="connsiteY90" fmla="*/ 874654 h 2122526"/>
              <a:gd name="connsiteX91" fmla="*/ 11516473 w 12192002"/>
              <a:gd name="connsiteY91" fmla="*/ 928206 h 2122526"/>
              <a:gd name="connsiteX92" fmla="*/ 11585369 w 12192002"/>
              <a:gd name="connsiteY92" fmla="*/ 1004898 h 2122526"/>
              <a:gd name="connsiteX93" fmla="*/ 11744187 w 12192002"/>
              <a:gd name="connsiteY93" fmla="*/ 1047864 h 2122526"/>
              <a:gd name="connsiteX94" fmla="*/ 11874735 w 12192002"/>
              <a:gd name="connsiteY94" fmla="*/ 1132363 h 2122526"/>
              <a:gd name="connsiteX95" fmla="*/ 11925839 w 12192002"/>
              <a:gd name="connsiteY95" fmla="*/ 1110203 h 2122526"/>
              <a:gd name="connsiteX96" fmla="*/ 12080164 w 12192002"/>
              <a:gd name="connsiteY96" fmla="*/ 1090885 h 2122526"/>
              <a:gd name="connsiteX97" fmla="*/ 12140863 w 12192002"/>
              <a:gd name="connsiteY97" fmla="*/ 1035036 h 2122526"/>
              <a:gd name="connsiteX98" fmla="*/ 12192002 w 12192002"/>
              <a:gd name="connsiteY98" fmla="*/ 1015838 h 2122526"/>
              <a:gd name="connsiteX99" fmla="*/ 12192002 w 12192002"/>
              <a:gd name="connsiteY99" fmla="*/ 1955549 h 2122526"/>
              <a:gd name="connsiteX100" fmla="*/ 12192000 w 12192002"/>
              <a:gd name="connsiteY100" fmla="*/ 1955549 h 2122526"/>
              <a:gd name="connsiteX101" fmla="*/ 12192000 w 12192002"/>
              <a:gd name="connsiteY101" fmla="*/ 2122526 h 2122526"/>
              <a:gd name="connsiteX102" fmla="*/ 0 w 12192002"/>
              <a:gd name="connsiteY102" fmla="*/ 2122526 h 2122526"/>
              <a:gd name="connsiteX103" fmla="*/ 0 w 12192002"/>
              <a:gd name="connsiteY103" fmla="*/ 1348327 h 2122526"/>
              <a:gd name="connsiteX104" fmla="*/ 2 w 12192002"/>
              <a:gd name="connsiteY104" fmla="*/ 1348327 h 2122526"/>
              <a:gd name="connsiteX105" fmla="*/ 2 w 12192002"/>
              <a:gd name="connsiteY105" fmla="*/ 592017 h 2122526"/>
              <a:gd name="connsiteX106" fmla="*/ 15526 w 12192002"/>
              <a:gd name="connsiteY106" fmla="*/ 586548 h 2122526"/>
              <a:gd name="connsiteX107" fmla="*/ 118381 w 12192002"/>
              <a:gd name="connsiteY107" fmla="*/ 583692 h 2122526"/>
              <a:gd name="connsiteX108" fmla="*/ 292435 w 12192002"/>
              <a:gd name="connsiteY108" fmla="*/ 531887 h 2122526"/>
              <a:gd name="connsiteX109" fmla="*/ 404015 w 12192002"/>
              <a:gd name="connsiteY109" fmla="*/ 511191 h 2122526"/>
              <a:gd name="connsiteX110" fmla="*/ 445099 w 12192002"/>
              <a:gd name="connsiteY110" fmla="*/ 505368 h 2122526"/>
              <a:gd name="connsiteX111" fmla="*/ 571717 w 12192002"/>
              <a:gd name="connsiteY111" fmla="*/ 467338 h 2122526"/>
              <a:gd name="connsiteX112" fmla="*/ 578535 w 12192002"/>
              <a:gd name="connsiteY112" fmla="*/ 467527 h 2122526"/>
              <a:gd name="connsiteX113" fmla="*/ 596792 w 12192002"/>
              <a:gd name="connsiteY113" fmla="*/ 464875 h 2122526"/>
              <a:gd name="connsiteX114" fmla="*/ 708875 w 12192002"/>
              <a:gd name="connsiteY114" fmla="*/ 422017 h 2122526"/>
              <a:gd name="connsiteX115" fmla="*/ 719742 w 12192002"/>
              <a:gd name="connsiteY115" fmla="*/ 416340 h 2122526"/>
              <a:gd name="connsiteX116" fmla="*/ 720047 w 12192002"/>
              <a:gd name="connsiteY116" fmla="*/ 415078 h 2122526"/>
              <a:gd name="connsiteX117" fmla="*/ 763053 w 12192002"/>
              <a:gd name="connsiteY117" fmla="*/ 414307 h 2122526"/>
              <a:gd name="connsiteX118" fmla="*/ 767901 w 12192002"/>
              <a:gd name="connsiteY118" fmla="*/ 412086 h 2122526"/>
              <a:gd name="connsiteX119" fmla="*/ 797041 w 12192002"/>
              <a:gd name="connsiteY119" fmla="*/ 414293 h 2122526"/>
              <a:gd name="connsiteX120" fmla="*/ 811506 w 12192002"/>
              <a:gd name="connsiteY120" fmla="*/ 413988 h 2122526"/>
              <a:gd name="connsiteX121" fmla="*/ 816809 w 12192002"/>
              <a:gd name="connsiteY121" fmla="*/ 416882 h 2122526"/>
              <a:gd name="connsiteX122" fmla="*/ 837540 w 12192002"/>
              <a:gd name="connsiteY122" fmla="*/ 414918 h 2122526"/>
              <a:gd name="connsiteX123" fmla="*/ 858269 w 12192002"/>
              <a:gd name="connsiteY123" fmla="*/ 416131 h 2122526"/>
              <a:gd name="connsiteX124" fmla="*/ 948732 w 12192002"/>
              <a:gd name="connsiteY124" fmla="*/ 404293 h 2122526"/>
              <a:gd name="connsiteX125" fmla="*/ 1149979 w 12192002"/>
              <a:gd name="connsiteY125" fmla="*/ 406698 h 2122526"/>
              <a:gd name="connsiteX126" fmla="*/ 1496110 w 12192002"/>
              <a:gd name="connsiteY126" fmla="*/ 357263 h 2122526"/>
              <a:gd name="connsiteX127" fmla="*/ 1608669 w 12192002"/>
              <a:gd name="connsiteY127" fmla="*/ 331673 h 2122526"/>
              <a:gd name="connsiteX128" fmla="*/ 1675071 w 12192002"/>
              <a:gd name="connsiteY128" fmla="*/ 324776 h 2122526"/>
              <a:gd name="connsiteX129" fmla="*/ 1738204 w 12192002"/>
              <a:gd name="connsiteY129" fmla="*/ 308427 h 2122526"/>
              <a:gd name="connsiteX130" fmla="*/ 1786655 w 12192002"/>
              <a:gd name="connsiteY130" fmla="*/ 303376 h 2122526"/>
              <a:gd name="connsiteX131" fmla="*/ 1873080 w 12192002"/>
              <a:gd name="connsiteY131" fmla="*/ 330998 h 2122526"/>
              <a:gd name="connsiteX132" fmla="*/ 1921650 w 12192002"/>
              <a:gd name="connsiteY132" fmla="*/ 332593 h 2122526"/>
              <a:gd name="connsiteX133" fmla="*/ 1928172 w 12192002"/>
              <a:gd name="connsiteY133" fmla="*/ 327762 h 2122526"/>
              <a:gd name="connsiteX134" fmla="*/ 1997356 w 12192002"/>
              <a:gd name="connsiteY134" fmla="*/ 349707 h 2122526"/>
              <a:gd name="connsiteX135" fmla="*/ 2094665 w 12192002"/>
              <a:gd name="connsiteY135" fmla="*/ 341687 h 2122526"/>
              <a:gd name="connsiteX136" fmla="*/ 2208578 w 12192002"/>
              <a:gd name="connsiteY136" fmla="*/ 324976 h 2122526"/>
              <a:gd name="connsiteX137" fmla="*/ 2315112 w 12192002"/>
              <a:gd name="connsiteY137" fmla="*/ 319743 h 2122526"/>
              <a:gd name="connsiteX138" fmla="*/ 2443255 w 12192002"/>
              <a:gd name="connsiteY138" fmla="*/ 328210 h 2122526"/>
              <a:gd name="connsiteX139" fmla="*/ 2568028 w 12192002"/>
              <a:gd name="connsiteY139" fmla="*/ 342111 h 2122526"/>
              <a:gd name="connsiteX140" fmla="*/ 2646527 w 12192002"/>
              <a:gd name="connsiteY140" fmla="*/ 315870 h 2122526"/>
              <a:gd name="connsiteX141" fmla="*/ 2781569 w 12192002"/>
              <a:gd name="connsiteY141" fmla="*/ 326406 h 2122526"/>
              <a:gd name="connsiteX142" fmla="*/ 3030291 w 12192002"/>
              <a:gd name="connsiteY142" fmla="*/ 348227 h 2122526"/>
              <a:gd name="connsiteX143" fmla="*/ 3142556 w 12192002"/>
              <a:gd name="connsiteY143" fmla="*/ 350870 h 2122526"/>
              <a:gd name="connsiteX144" fmla="*/ 3262356 w 12192002"/>
              <a:gd name="connsiteY144" fmla="*/ 358645 h 2122526"/>
              <a:gd name="connsiteX145" fmla="*/ 3341698 w 12192002"/>
              <a:gd name="connsiteY145" fmla="*/ 364522 h 2122526"/>
              <a:gd name="connsiteX146" fmla="*/ 3344026 w 12192002"/>
              <a:gd name="connsiteY146" fmla="*/ 363547 h 2122526"/>
              <a:gd name="connsiteX147" fmla="*/ 3363888 w 12192002"/>
              <a:gd name="connsiteY147" fmla="*/ 365229 h 2122526"/>
              <a:gd name="connsiteX148" fmla="*/ 3400728 w 12192002"/>
              <a:gd name="connsiteY148" fmla="*/ 382181 h 2122526"/>
              <a:gd name="connsiteX149" fmla="*/ 3473223 w 12192002"/>
              <a:gd name="connsiteY149" fmla="*/ 370133 h 2122526"/>
              <a:gd name="connsiteX150" fmla="*/ 3536135 w 12192002"/>
              <a:gd name="connsiteY150" fmla="*/ 366472 h 2122526"/>
              <a:gd name="connsiteX151" fmla="*/ 3585978 w 12192002"/>
              <a:gd name="connsiteY151" fmla="*/ 356773 h 2122526"/>
              <a:gd name="connsiteX152" fmla="*/ 3594501 w 12192002"/>
              <a:gd name="connsiteY152" fmla="*/ 357463 h 2122526"/>
              <a:gd name="connsiteX153" fmla="*/ 3594736 w 12192002"/>
              <a:gd name="connsiteY153" fmla="*/ 357194 h 2122526"/>
              <a:gd name="connsiteX154" fmla="*/ 3603855 w 12192002"/>
              <a:gd name="connsiteY154" fmla="*/ 357358 h 2122526"/>
              <a:gd name="connsiteX155" fmla="*/ 3610035 w 12192002"/>
              <a:gd name="connsiteY155" fmla="*/ 358720 h 2122526"/>
              <a:gd name="connsiteX156" fmla="*/ 3682513 w 12192002"/>
              <a:gd name="connsiteY156" fmla="*/ 326449 h 2122526"/>
              <a:gd name="connsiteX157" fmla="*/ 3789760 w 12192002"/>
              <a:gd name="connsiteY157" fmla="*/ 302526 h 2122526"/>
              <a:gd name="connsiteX158" fmla="*/ 3897275 w 12192002"/>
              <a:gd name="connsiteY158" fmla="*/ 282288 h 2122526"/>
              <a:gd name="connsiteX159" fmla="*/ 3936846 w 12192002"/>
              <a:gd name="connsiteY159" fmla="*/ 276633 h 2122526"/>
              <a:gd name="connsiteX160" fmla="*/ 4004538 w 12192002"/>
              <a:gd name="connsiteY160" fmla="*/ 259176 h 2122526"/>
              <a:gd name="connsiteX161" fmla="*/ 4033778 w 12192002"/>
              <a:gd name="connsiteY161" fmla="*/ 246608 h 2122526"/>
              <a:gd name="connsiteX162" fmla="*/ 4035363 w 12192002"/>
              <a:gd name="connsiteY162" fmla="*/ 246843 h 2122526"/>
              <a:gd name="connsiteX163" fmla="*/ 4036996 w 12192002"/>
              <a:gd name="connsiteY163" fmla="*/ 243176 h 2122526"/>
              <a:gd name="connsiteX164" fmla="*/ 4042364 w 12192002"/>
              <a:gd name="connsiteY164" fmla="*/ 240742 h 2122526"/>
              <a:gd name="connsiteX165" fmla="*/ 4058954 w 12192002"/>
              <a:gd name="connsiteY165" fmla="*/ 239121 h 2122526"/>
              <a:gd name="connsiteX166" fmla="*/ 4065510 w 12192002"/>
              <a:gd name="connsiteY166" fmla="*/ 239339 h 2122526"/>
              <a:gd name="connsiteX167" fmla="*/ 4074427 w 12192002"/>
              <a:gd name="connsiteY167" fmla="*/ 237895 h 2122526"/>
              <a:gd name="connsiteX168" fmla="*/ 4074546 w 12192002"/>
              <a:gd name="connsiteY168" fmla="*/ 237596 h 2122526"/>
              <a:gd name="connsiteX169" fmla="*/ 4083097 w 12192002"/>
              <a:gd name="connsiteY169" fmla="*/ 236761 h 2122526"/>
              <a:gd name="connsiteX170" fmla="*/ 4142745 w 12192002"/>
              <a:gd name="connsiteY170" fmla="*/ 210228 h 2122526"/>
              <a:gd name="connsiteX171" fmla="*/ 4191248 w 12192002"/>
              <a:gd name="connsiteY171" fmla="*/ 194363 h 2122526"/>
              <a:gd name="connsiteX172" fmla="*/ 4201744 w 12192002"/>
              <a:gd name="connsiteY172" fmla="*/ 188729 h 2122526"/>
              <a:gd name="connsiteX173" fmla="*/ 4202048 w 12192002"/>
              <a:gd name="connsiteY173" fmla="*/ 187470 h 2122526"/>
              <a:gd name="connsiteX174" fmla="*/ 4248116 w 12192002"/>
              <a:gd name="connsiteY174" fmla="*/ 184675 h 2122526"/>
              <a:gd name="connsiteX175" fmla="*/ 4276141 w 12192002"/>
              <a:gd name="connsiteY175" fmla="*/ 186999 h 2122526"/>
              <a:gd name="connsiteX176" fmla="*/ 4290062 w 12192002"/>
              <a:gd name="connsiteY176" fmla="*/ 186753 h 2122526"/>
              <a:gd name="connsiteX177" fmla="*/ 4295143 w 12192002"/>
              <a:gd name="connsiteY177" fmla="*/ 189670 h 2122526"/>
              <a:gd name="connsiteX178" fmla="*/ 4315108 w 12192002"/>
              <a:gd name="connsiteY178" fmla="*/ 187791 h 2122526"/>
              <a:gd name="connsiteX179" fmla="*/ 4316965 w 12192002"/>
              <a:gd name="connsiteY179" fmla="*/ 186450 h 2122526"/>
              <a:gd name="connsiteX180" fmla="*/ 4362875 w 12192002"/>
              <a:gd name="connsiteY180" fmla="*/ 193065 h 2122526"/>
              <a:gd name="connsiteX181" fmla="*/ 4428542 w 12192002"/>
              <a:gd name="connsiteY181" fmla="*/ 191719 h 2122526"/>
              <a:gd name="connsiteX182" fmla="*/ 4515813 w 12192002"/>
              <a:gd name="connsiteY182" fmla="*/ 181068 h 2122526"/>
              <a:gd name="connsiteX183" fmla="*/ 4715526 w 12192002"/>
              <a:gd name="connsiteY183" fmla="*/ 171166 h 2122526"/>
              <a:gd name="connsiteX184" fmla="*/ 4762447 w 12192002"/>
              <a:gd name="connsiteY184" fmla="*/ 162678 h 2122526"/>
              <a:gd name="connsiteX185" fmla="*/ 4840439 w 12192002"/>
              <a:gd name="connsiteY185" fmla="*/ 134910 h 2122526"/>
              <a:gd name="connsiteX186" fmla="*/ 5011513 w 12192002"/>
              <a:gd name="connsiteY186" fmla="*/ 110893 h 2122526"/>
              <a:gd name="connsiteX187" fmla="*/ 5065790 w 12192002"/>
              <a:gd name="connsiteY187" fmla="*/ 94512 h 2122526"/>
              <a:gd name="connsiteX188" fmla="*/ 5121659 w 12192002"/>
              <a:gd name="connsiteY188" fmla="*/ 101083 h 2122526"/>
              <a:gd name="connsiteX189" fmla="*/ 5139595 w 12192002"/>
              <a:gd name="connsiteY189" fmla="*/ 90230 h 2122526"/>
              <a:gd name="connsiteX190" fmla="*/ 5142598 w 12192002"/>
              <a:gd name="connsiteY190" fmla="*/ 88129 h 2122526"/>
              <a:gd name="connsiteX191" fmla="*/ 5156554 w 12192002"/>
              <a:gd name="connsiteY191" fmla="*/ 84729 h 2122526"/>
              <a:gd name="connsiteX192" fmla="*/ 5174660 w 12192002"/>
              <a:gd name="connsiteY192" fmla="*/ 77506 h 2122526"/>
              <a:gd name="connsiteX193" fmla="*/ 5222961 w 12192002"/>
              <a:gd name="connsiteY193" fmla="*/ 74516 h 2122526"/>
              <a:gd name="connsiteX194" fmla="*/ 5261763 w 12192002"/>
              <a:gd name="connsiteY194" fmla="*/ 63392 h 2122526"/>
              <a:gd name="connsiteX195" fmla="*/ 5381667 w 12192002"/>
              <a:gd name="connsiteY195" fmla="*/ 42975 h 2122526"/>
              <a:gd name="connsiteX196" fmla="*/ 5432760 w 12192002"/>
              <a:gd name="connsiteY196" fmla="*/ 25273 h 2122526"/>
              <a:gd name="connsiteX197" fmla="*/ 5470905 w 12192002"/>
              <a:gd name="connsiteY197" fmla="*/ 14020 h 2122526"/>
              <a:gd name="connsiteX198" fmla="*/ 5626960 w 12192002"/>
              <a:gd name="connsiteY198" fmla="*/ 0 h 2122526"/>
              <a:gd name="connsiteX0" fmla="*/ 5626960 w 12192002"/>
              <a:gd name="connsiteY0" fmla="*/ 0 h 2122526"/>
              <a:gd name="connsiteX1" fmla="*/ 5758918 w 12192002"/>
              <a:gd name="connsiteY1" fmla="*/ 1023 h 2122526"/>
              <a:gd name="connsiteX2" fmla="*/ 5957375 w 12192002"/>
              <a:gd name="connsiteY2" fmla="*/ 16715 h 2122526"/>
              <a:gd name="connsiteX3" fmla="*/ 6010090 w 12192002"/>
              <a:gd name="connsiteY3" fmla="*/ 20359 h 2122526"/>
              <a:gd name="connsiteX4" fmla="*/ 6041282 w 12192002"/>
              <a:gd name="connsiteY4" fmla="*/ 15266 h 2122526"/>
              <a:gd name="connsiteX5" fmla="*/ 6048637 w 12192002"/>
              <a:gd name="connsiteY5" fmla="*/ 6917 h 2122526"/>
              <a:gd name="connsiteX6" fmla="*/ 6068529 w 12192002"/>
              <a:gd name="connsiteY6" fmla="*/ 7600 h 2122526"/>
              <a:gd name="connsiteX7" fmla="*/ 6073847 w 12192002"/>
              <a:gd name="connsiteY7" fmla="*/ 6063 h 2122526"/>
              <a:gd name="connsiteX8" fmla="*/ 6168673 w 12192002"/>
              <a:gd name="connsiteY8" fmla="*/ 26525 h 2122526"/>
              <a:gd name="connsiteX9" fmla="*/ 6317559 w 12192002"/>
              <a:gd name="connsiteY9" fmla="*/ 28612 h 2122526"/>
              <a:gd name="connsiteX10" fmla="*/ 6549454 w 12192002"/>
              <a:gd name="connsiteY10" fmla="*/ 75412 h 2122526"/>
              <a:gd name="connsiteX11" fmla="*/ 6708221 w 12192002"/>
              <a:gd name="connsiteY11" fmla="*/ 104188 h 2122526"/>
              <a:gd name="connsiteX12" fmla="*/ 6904145 w 12192002"/>
              <a:gd name="connsiteY12" fmla="*/ 132143 h 2122526"/>
              <a:gd name="connsiteX13" fmla="*/ 7018495 w 12192002"/>
              <a:gd name="connsiteY13" fmla="*/ 161649 h 2122526"/>
              <a:gd name="connsiteX14" fmla="*/ 7096987 w 12192002"/>
              <a:gd name="connsiteY14" fmla="*/ 161275 h 2122526"/>
              <a:gd name="connsiteX15" fmla="*/ 7170807 w 12192002"/>
              <a:gd name="connsiteY15" fmla="*/ 173503 h 2122526"/>
              <a:gd name="connsiteX16" fmla="*/ 7197003 w 12192002"/>
              <a:gd name="connsiteY16" fmla="*/ 178151 h 2122526"/>
              <a:gd name="connsiteX17" fmla="*/ 7201101 w 12192002"/>
              <a:gd name="connsiteY17" fmla="*/ 183509 h 2122526"/>
              <a:gd name="connsiteX18" fmla="*/ 7218559 w 12192002"/>
              <a:gd name="connsiteY18" fmla="*/ 188059 h 2122526"/>
              <a:gd name="connsiteX19" fmla="*/ 7310852 w 12192002"/>
              <a:gd name="connsiteY19" fmla="*/ 213308 h 2122526"/>
              <a:gd name="connsiteX20" fmla="*/ 7312179 w 12192002"/>
              <a:gd name="connsiteY20" fmla="*/ 211866 h 2122526"/>
              <a:gd name="connsiteX21" fmla="*/ 7405390 w 12192002"/>
              <a:gd name="connsiteY21" fmla="*/ 202271 h 2122526"/>
              <a:gd name="connsiteX22" fmla="*/ 7495794 w 12192002"/>
              <a:gd name="connsiteY22" fmla="*/ 194166 h 2122526"/>
              <a:gd name="connsiteX23" fmla="*/ 7507039 w 12192002"/>
              <a:gd name="connsiteY23" fmla="*/ 196118 h 2122526"/>
              <a:gd name="connsiteX24" fmla="*/ 7507411 w 12192002"/>
              <a:gd name="connsiteY24" fmla="*/ 195791 h 2122526"/>
              <a:gd name="connsiteX25" fmla="*/ 7519570 w 12192002"/>
              <a:gd name="connsiteY25" fmla="*/ 197126 h 2122526"/>
              <a:gd name="connsiteX26" fmla="*/ 7527542 w 12192002"/>
              <a:gd name="connsiteY26" fmla="*/ 199679 h 2122526"/>
              <a:gd name="connsiteX27" fmla="*/ 7614346 w 12192002"/>
              <a:gd name="connsiteY27" fmla="*/ 205507 h 2122526"/>
              <a:gd name="connsiteX28" fmla="*/ 7718744 w 12192002"/>
              <a:gd name="connsiteY28" fmla="*/ 202036 h 2122526"/>
              <a:gd name="connsiteX29" fmla="*/ 7905407 w 12192002"/>
              <a:gd name="connsiteY29" fmla="*/ 227751 h 2122526"/>
              <a:gd name="connsiteX30" fmla="*/ 8090271 w 12192002"/>
              <a:gd name="connsiteY30" fmla="*/ 269724 h 2122526"/>
              <a:gd name="connsiteX31" fmla="*/ 8245834 w 12192002"/>
              <a:gd name="connsiteY31" fmla="*/ 315885 h 2122526"/>
              <a:gd name="connsiteX32" fmla="*/ 8252033 w 12192002"/>
              <a:gd name="connsiteY32" fmla="*/ 328877 h 2122526"/>
              <a:gd name="connsiteX33" fmla="*/ 8263376 w 12192002"/>
              <a:gd name="connsiteY33" fmla="*/ 338720 h 2122526"/>
              <a:gd name="connsiteX34" fmla="*/ 8266075 w 12192002"/>
              <a:gd name="connsiteY34" fmla="*/ 338490 h 2122526"/>
              <a:gd name="connsiteX35" fmla="*/ 8283149 w 12192002"/>
              <a:gd name="connsiteY35" fmla="*/ 345665 h 2122526"/>
              <a:gd name="connsiteX36" fmla="*/ 8284276 w 12192002"/>
              <a:gd name="connsiteY36" fmla="*/ 350108 h 2122526"/>
              <a:gd name="connsiteX37" fmla="*/ 8295173 w 12192002"/>
              <a:gd name="connsiteY37" fmla="*/ 355931 h 2122526"/>
              <a:gd name="connsiteX38" fmla="*/ 8314432 w 12192002"/>
              <a:gd name="connsiteY38" fmla="*/ 369826 h 2122526"/>
              <a:gd name="connsiteX39" fmla="*/ 8320104 w 12192002"/>
              <a:gd name="connsiteY39" fmla="*/ 370152 h 2122526"/>
              <a:gd name="connsiteX40" fmla="*/ 8352372 w 12192002"/>
              <a:gd name="connsiteY40" fmla="*/ 387570 h 2122526"/>
              <a:gd name="connsiteX41" fmla="*/ 8353799 w 12192002"/>
              <a:gd name="connsiteY41" fmla="*/ 386730 h 2122526"/>
              <a:gd name="connsiteX42" fmla="*/ 8367182 w 12192002"/>
              <a:gd name="connsiteY42" fmla="*/ 386924 h 2122526"/>
              <a:gd name="connsiteX43" fmla="*/ 8490249 w 12192002"/>
              <a:gd name="connsiteY43" fmla="*/ 400966 h 2122526"/>
              <a:gd name="connsiteX44" fmla="*/ 8497594 w 12192002"/>
              <a:gd name="connsiteY44" fmla="*/ 404016 h 2122526"/>
              <a:gd name="connsiteX45" fmla="*/ 8497968 w 12192002"/>
              <a:gd name="connsiteY45" fmla="*/ 403837 h 2122526"/>
              <a:gd name="connsiteX46" fmla="*/ 8506167 w 12192002"/>
              <a:gd name="connsiteY46" fmla="*/ 406575 h 2122526"/>
              <a:gd name="connsiteX47" fmla="*/ 8510983 w 12192002"/>
              <a:gd name="connsiteY47" fmla="*/ 409576 h 2122526"/>
              <a:gd name="connsiteX48" fmla="*/ 8525230 w 12192002"/>
              <a:gd name="connsiteY48" fmla="*/ 415491 h 2122526"/>
              <a:gd name="connsiteX49" fmla="*/ 8596071 w 12192002"/>
              <a:gd name="connsiteY49" fmla="*/ 400649 h 2122526"/>
              <a:gd name="connsiteX50" fmla="*/ 8707847 w 12192002"/>
              <a:gd name="connsiteY50" fmla="*/ 409221 h 2122526"/>
              <a:gd name="connsiteX51" fmla="*/ 8752444 w 12192002"/>
              <a:gd name="connsiteY51" fmla="*/ 411322 h 2122526"/>
              <a:gd name="connsiteX52" fmla="*/ 8928988 w 12192002"/>
              <a:gd name="connsiteY52" fmla="*/ 430554 h 2122526"/>
              <a:gd name="connsiteX53" fmla="*/ 8963048 w 12192002"/>
              <a:gd name="connsiteY53" fmla="*/ 427366 h 2122526"/>
              <a:gd name="connsiteX54" fmla="*/ 8968011 w 12192002"/>
              <a:gd name="connsiteY54" fmla="*/ 425141 h 2122526"/>
              <a:gd name="connsiteX55" fmla="*/ 8974337 w 12192002"/>
              <a:gd name="connsiteY55" fmla="*/ 424441 h 2122526"/>
              <a:gd name="connsiteX56" fmla="*/ 8990394 w 12192002"/>
              <a:gd name="connsiteY56" fmla="*/ 427667 h 2122526"/>
              <a:gd name="connsiteX57" fmla="*/ 8996232 w 12192002"/>
              <a:gd name="connsiteY57" fmla="*/ 429728 h 2122526"/>
              <a:gd name="connsiteX58" fmla="*/ 9005201 w 12192002"/>
              <a:gd name="connsiteY58" fmla="*/ 430939 h 2122526"/>
              <a:gd name="connsiteX59" fmla="*/ 9005486 w 12192002"/>
              <a:gd name="connsiteY59" fmla="*/ 430699 h 2122526"/>
              <a:gd name="connsiteX60" fmla="*/ 9053453 w 12192002"/>
              <a:gd name="connsiteY60" fmla="*/ 433984 h 2122526"/>
              <a:gd name="connsiteX61" fmla="*/ 9113812 w 12192002"/>
              <a:gd name="connsiteY61" fmla="*/ 425670 h 2122526"/>
              <a:gd name="connsiteX62" fmla="*/ 9137318 w 12192002"/>
              <a:gd name="connsiteY62" fmla="*/ 424304 h 2122526"/>
              <a:gd name="connsiteX63" fmla="*/ 9150210 w 12192002"/>
              <a:gd name="connsiteY63" fmla="*/ 422135 h 2122526"/>
              <a:gd name="connsiteX64" fmla="*/ 9151232 w 12192002"/>
              <a:gd name="connsiteY64" fmla="*/ 421070 h 2122526"/>
              <a:gd name="connsiteX65" fmla="*/ 9189246 w 12192002"/>
              <a:gd name="connsiteY65" fmla="*/ 432272 h 2122526"/>
              <a:gd name="connsiteX66" fmla="*/ 9194810 w 12192002"/>
              <a:gd name="connsiteY66" fmla="*/ 441511 h 2122526"/>
              <a:gd name="connsiteX67" fmla="*/ 9231370 w 12192002"/>
              <a:gd name="connsiteY67" fmla="*/ 451590 h 2122526"/>
              <a:gd name="connsiteX68" fmla="*/ 9343052 w 12192002"/>
              <a:gd name="connsiteY68" fmla="*/ 503495 h 2122526"/>
              <a:gd name="connsiteX69" fmla="*/ 9584507 w 12192002"/>
              <a:gd name="connsiteY69" fmla="*/ 549197 h 2122526"/>
              <a:gd name="connsiteX70" fmla="*/ 9728309 w 12192002"/>
              <a:gd name="connsiteY70" fmla="*/ 560617 h 2122526"/>
              <a:gd name="connsiteX71" fmla="*/ 9847792 w 12192002"/>
              <a:gd name="connsiteY71" fmla="*/ 580824 h 2122526"/>
              <a:gd name="connsiteX72" fmla="*/ 9960019 w 12192002"/>
              <a:gd name="connsiteY72" fmla="*/ 587592 h 2122526"/>
              <a:gd name="connsiteX73" fmla="*/ 10039240 w 12192002"/>
              <a:gd name="connsiteY73" fmla="*/ 603107 h 2122526"/>
              <a:gd name="connsiteX74" fmla="*/ 10082169 w 12192002"/>
              <a:gd name="connsiteY74" fmla="*/ 601443 h 2122526"/>
              <a:gd name="connsiteX75" fmla="*/ 10126500 w 12192002"/>
              <a:gd name="connsiteY75" fmla="*/ 603538 h 2122526"/>
              <a:gd name="connsiteX76" fmla="*/ 10261101 w 12192002"/>
              <a:gd name="connsiteY76" fmla="*/ 615053 h 2122526"/>
              <a:gd name="connsiteX77" fmla="*/ 10336855 w 12192002"/>
              <a:gd name="connsiteY77" fmla="*/ 624804 h 2122526"/>
              <a:gd name="connsiteX78" fmla="*/ 10383868 w 12192002"/>
              <a:gd name="connsiteY78" fmla="*/ 625415 h 2122526"/>
              <a:gd name="connsiteX79" fmla="*/ 10445984 w 12192002"/>
              <a:gd name="connsiteY79" fmla="*/ 629262 h 2122526"/>
              <a:gd name="connsiteX80" fmla="*/ 10519280 w 12192002"/>
              <a:gd name="connsiteY80" fmla="*/ 631320 h 2122526"/>
              <a:gd name="connsiteX81" fmla="*/ 10644619 w 12192002"/>
              <a:gd name="connsiteY81" fmla="*/ 651566 h 2122526"/>
              <a:gd name="connsiteX82" fmla="*/ 10857724 w 12192002"/>
              <a:gd name="connsiteY82" fmla="*/ 712684 h 2122526"/>
              <a:gd name="connsiteX83" fmla="*/ 10951063 w 12192002"/>
              <a:gd name="connsiteY83" fmla="*/ 725767 h 2122526"/>
              <a:gd name="connsiteX84" fmla="*/ 11030956 w 12192002"/>
              <a:gd name="connsiteY84" fmla="*/ 721011 h 2122526"/>
              <a:gd name="connsiteX85" fmla="*/ 11085938 w 12192002"/>
              <a:gd name="connsiteY85" fmla="*/ 723892 h 2122526"/>
              <a:gd name="connsiteX86" fmla="*/ 11143411 w 12192002"/>
              <a:gd name="connsiteY86" fmla="*/ 733141 h 2122526"/>
              <a:gd name="connsiteX87" fmla="*/ 11195087 w 12192002"/>
              <a:gd name="connsiteY87" fmla="*/ 732494 h 2122526"/>
              <a:gd name="connsiteX88" fmla="*/ 11273972 w 12192002"/>
              <a:gd name="connsiteY88" fmla="*/ 753513 h 2122526"/>
              <a:gd name="connsiteX89" fmla="*/ 11369715 w 12192002"/>
              <a:gd name="connsiteY89" fmla="*/ 813181 h 2122526"/>
              <a:gd name="connsiteX90" fmla="*/ 11462695 w 12192002"/>
              <a:gd name="connsiteY90" fmla="*/ 874654 h 2122526"/>
              <a:gd name="connsiteX91" fmla="*/ 11516473 w 12192002"/>
              <a:gd name="connsiteY91" fmla="*/ 928206 h 2122526"/>
              <a:gd name="connsiteX92" fmla="*/ 11585369 w 12192002"/>
              <a:gd name="connsiteY92" fmla="*/ 1004898 h 2122526"/>
              <a:gd name="connsiteX93" fmla="*/ 11744187 w 12192002"/>
              <a:gd name="connsiteY93" fmla="*/ 1047864 h 2122526"/>
              <a:gd name="connsiteX94" fmla="*/ 11894613 w 12192002"/>
              <a:gd name="connsiteY94" fmla="*/ 1148265 h 2122526"/>
              <a:gd name="connsiteX95" fmla="*/ 11925839 w 12192002"/>
              <a:gd name="connsiteY95" fmla="*/ 1110203 h 2122526"/>
              <a:gd name="connsiteX96" fmla="*/ 12080164 w 12192002"/>
              <a:gd name="connsiteY96" fmla="*/ 1090885 h 2122526"/>
              <a:gd name="connsiteX97" fmla="*/ 12140863 w 12192002"/>
              <a:gd name="connsiteY97" fmla="*/ 1035036 h 2122526"/>
              <a:gd name="connsiteX98" fmla="*/ 12192002 w 12192002"/>
              <a:gd name="connsiteY98" fmla="*/ 1015838 h 2122526"/>
              <a:gd name="connsiteX99" fmla="*/ 12192002 w 12192002"/>
              <a:gd name="connsiteY99" fmla="*/ 1955549 h 2122526"/>
              <a:gd name="connsiteX100" fmla="*/ 12192000 w 12192002"/>
              <a:gd name="connsiteY100" fmla="*/ 1955549 h 2122526"/>
              <a:gd name="connsiteX101" fmla="*/ 12192000 w 12192002"/>
              <a:gd name="connsiteY101" fmla="*/ 2122526 h 2122526"/>
              <a:gd name="connsiteX102" fmla="*/ 0 w 12192002"/>
              <a:gd name="connsiteY102" fmla="*/ 2122526 h 2122526"/>
              <a:gd name="connsiteX103" fmla="*/ 0 w 12192002"/>
              <a:gd name="connsiteY103" fmla="*/ 1348327 h 2122526"/>
              <a:gd name="connsiteX104" fmla="*/ 2 w 12192002"/>
              <a:gd name="connsiteY104" fmla="*/ 1348327 h 2122526"/>
              <a:gd name="connsiteX105" fmla="*/ 2 w 12192002"/>
              <a:gd name="connsiteY105" fmla="*/ 592017 h 2122526"/>
              <a:gd name="connsiteX106" fmla="*/ 15526 w 12192002"/>
              <a:gd name="connsiteY106" fmla="*/ 586548 h 2122526"/>
              <a:gd name="connsiteX107" fmla="*/ 118381 w 12192002"/>
              <a:gd name="connsiteY107" fmla="*/ 583692 h 2122526"/>
              <a:gd name="connsiteX108" fmla="*/ 292435 w 12192002"/>
              <a:gd name="connsiteY108" fmla="*/ 531887 h 2122526"/>
              <a:gd name="connsiteX109" fmla="*/ 404015 w 12192002"/>
              <a:gd name="connsiteY109" fmla="*/ 511191 h 2122526"/>
              <a:gd name="connsiteX110" fmla="*/ 445099 w 12192002"/>
              <a:gd name="connsiteY110" fmla="*/ 505368 h 2122526"/>
              <a:gd name="connsiteX111" fmla="*/ 571717 w 12192002"/>
              <a:gd name="connsiteY111" fmla="*/ 467338 h 2122526"/>
              <a:gd name="connsiteX112" fmla="*/ 578535 w 12192002"/>
              <a:gd name="connsiteY112" fmla="*/ 467527 h 2122526"/>
              <a:gd name="connsiteX113" fmla="*/ 596792 w 12192002"/>
              <a:gd name="connsiteY113" fmla="*/ 464875 h 2122526"/>
              <a:gd name="connsiteX114" fmla="*/ 708875 w 12192002"/>
              <a:gd name="connsiteY114" fmla="*/ 422017 h 2122526"/>
              <a:gd name="connsiteX115" fmla="*/ 719742 w 12192002"/>
              <a:gd name="connsiteY115" fmla="*/ 416340 h 2122526"/>
              <a:gd name="connsiteX116" fmla="*/ 720047 w 12192002"/>
              <a:gd name="connsiteY116" fmla="*/ 415078 h 2122526"/>
              <a:gd name="connsiteX117" fmla="*/ 763053 w 12192002"/>
              <a:gd name="connsiteY117" fmla="*/ 414307 h 2122526"/>
              <a:gd name="connsiteX118" fmla="*/ 767901 w 12192002"/>
              <a:gd name="connsiteY118" fmla="*/ 412086 h 2122526"/>
              <a:gd name="connsiteX119" fmla="*/ 797041 w 12192002"/>
              <a:gd name="connsiteY119" fmla="*/ 414293 h 2122526"/>
              <a:gd name="connsiteX120" fmla="*/ 811506 w 12192002"/>
              <a:gd name="connsiteY120" fmla="*/ 413988 h 2122526"/>
              <a:gd name="connsiteX121" fmla="*/ 816809 w 12192002"/>
              <a:gd name="connsiteY121" fmla="*/ 416882 h 2122526"/>
              <a:gd name="connsiteX122" fmla="*/ 837540 w 12192002"/>
              <a:gd name="connsiteY122" fmla="*/ 414918 h 2122526"/>
              <a:gd name="connsiteX123" fmla="*/ 858269 w 12192002"/>
              <a:gd name="connsiteY123" fmla="*/ 416131 h 2122526"/>
              <a:gd name="connsiteX124" fmla="*/ 948732 w 12192002"/>
              <a:gd name="connsiteY124" fmla="*/ 404293 h 2122526"/>
              <a:gd name="connsiteX125" fmla="*/ 1149979 w 12192002"/>
              <a:gd name="connsiteY125" fmla="*/ 406698 h 2122526"/>
              <a:gd name="connsiteX126" fmla="*/ 1496110 w 12192002"/>
              <a:gd name="connsiteY126" fmla="*/ 357263 h 2122526"/>
              <a:gd name="connsiteX127" fmla="*/ 1608669 w 12192002"/>
              <a:gd name="connsiteY127" fmla="*/ 331673 h 2122526"/>
              <a:gd name="connsiteX128" fmla="*/ 1675071 w 12192002"/>
              <a:gd name="connsiteY128" fmla="*/ 324776 h 2122526"/>
              <a:gd name="connsiteX129" fmla="*/ 1738204 w 12192002"/>
              <a:gd name="connsiteY129" fmla="*/ 308427 h 2122526"/>
              <a:gd name="connsiteX130" fmla="*/ 1786655 w 12192002"/>
              <a:gd name="connsiteY130" fmla="*/ 303376 h 2122526"/>
              <a:gd name="connsiteX131" fmla="*/ 1873080 w 12192002"/>
              <a:gd name="connsiteY131" fmla="*/ 330998 h 2122526"/>
              <a:gd name="connsiteX132" fmla="*/ 1921650 w 12192002"/>
              <a:gd name="connsiteY132" fmla="*/ 332593 h 2122526"/>
              <a:gd name="connsiteX133" fmla="*/ 1928172 w 12192002"/>
              <a:gd name="connsiteY133" fmla="*/ 327762 h 2122526"/>
              <a:gd name="connsiteX134" fmla="*/ 1997356 w 12192002"/>
              <a:gd name="connsiteY134" fmla="*/ 349707 h 2122526"/>
              <a:gd name="connsiteX135" fmla="*/ 2094665 w 12192002"/>
              <a:gd name="connsiteY135" fmla="*/ 341687 h 2122526"/>
              <a:gd name="connsiteX136" fmla="*/ 2208578 w 12192002"/>
              <a:gd name="connsiteY136" fmla="*/ 324976 h 2122526"/>
              <a:gd name="connsiteX137" fmla="*/ 2315112 w 12192002"/>
              <a:gd name="connsiteY137" fmla="*/ 319743 h 2122526"/>
              <a:gd name="connsiteX138" fmla="*/ 2443255 w 12192002"/>
              <a:gd name="connsiteY138" fmla="*/ 328210 h 2122526"/>
              <a:gd name="connsiteX139" fmla="*/ 2568028 w 12192002"/>
              <a:gd name="connsiteY139" fmla="*/ 342111 h 2122526"/>
              <a:gd name="connsiteX140" fmla="*/ 2646527 w 12192002"/>
              <a:gd name="connsiteY140" fmla="*/ 315870 h 2122526"/>
              <a:gd name="connsiteX141" fmla="*/ 2781569 w 12192002"/>
              <a:gd name="connsiteY141" fmla="*/ 326406 h 2122526"/>
              <a:gd name="connsiteX142" fmla="*/ 3030291 w 12192002"/>
              <a:gd name="connsiteY142" fmla="*/ 348227 h 2122526"/>
              <a:gd name="connsiteX143" fmla="*/ 3142556 w 12192002"/>
              <a:gd name="connsiteY143" fmla="*/ 350870 h 2122526"/>
              <a:gd name="connsiteX144" fmla="*/ 3262356 w 12192002"/>
              <a:gd name="connsiteY144" fmla="*/ 358645 h 2122526"/>
              <a:gd name="connsiteX145" fmla="*/ 3341698 w 12192002"/>
              <a:gd name="connsiteY145" fmla="*/ 364522 h 2122526"/>
              <a:gd name="connsiteX146" fmla="*/ 3344026 w 12192002"/>
              <a:gd name="connsiteY146" fmla="*/ 363547 h 2122526"/>
              <a:gd name="connsiteX147" fmla="*/ 3363888 w 12192002"/>
              <a:gd name="connsiteY147" fmla="*/ 365229 h 2122526"/>
              <a:gd name="connsiteX148" fmla="*/ 3400728 w 12192002"/>
              <a:gd name="connsiteY148" fmla="*/ 382181 h 2122526"/>
              <a:gd name="connsiteX149" fmla="*/ 3473223 w 12192002"/>
              <a:gd name="connsiteY149" fmla="*/ 370133 h 2122526"/>
              <a:gd name="connsiteX150" fmla="*/ 3536135 w 12192002"/>
              <a:gd name="connsiteY150" fmla="*/ 366472 h 2122526"/>
              <a:gd name="connsiteX151" fmla="*/ 3585978 w 12192002"/>
              <a:gd name="connsiteY151" fmla="*/ 356773 h 2122526"/>
              <a:gd name="connsiteX152" fmla="*/ 3594501 w 12192002"/>
              <a:gd name="connsiteY152" fmla="*/ 357463 h 2122526"/>
              <a:gd name="connsiteX153" fmla="*/ 3594736 w 12192002"/>
              <a:gd name="connsiteY153" fmla="*/ 357194 h 2122526"/>
              <a:gd name="connsiteX154" fmla="*/ 3603855 w 12192002"/>
              <a:gd name="connsiteY154" fmla="*/ 357358 h 2122526"/>
              <a:gd name="connsiteX155" fmla="*/ 3610035 w 12192002"/>
              <a:gd name="connsiteY155" fmla="*/ 358720 h 2122526"/>
              <a:gd name="connsiteX156" fmla="*/ 3682513 w 12192002"/>
              <a:gd name="connsiteY156" fmla="*/ 326449 h 2122526"/>
              <a:gd name="connsiteX157" fmla="*/ 3789760 w 12192002"/>
              <a:gd name="connsiteY157" fmla="*/ 302526 h 2122526"/>
              <a:gd name="connsiteX158" fmla="*/ 3897275 w 12192002"/>
              <a:gd name="connsiteY158" fmla="*/ 282288 h 2122526"/>
              <a:gd name="connsiteX159" fmla="*/ 3936846 w 12192002"/>
              <a:gd name="connsiteY159" fmla="*/ 276633 h 2122526"/>
              <a:gd name="connsiteX160" fmla="*/ 4004538 w 12192002"/>
              <a:gd name="connsiteY160" fmla="*/ 259176 h 2122526"/>
              <a:gd name="connsiteX161" fmla="*/ 4033778 w 12192002"/>
              <a:gd name="connsiteY161" fmla="*/ 246608 h 2122526"/>
              <a:gd name="connsiteX162" fmla="*/ 4035363 w 12192002"/>
              <a:gd name="connsiteY162" fmla="*/ 246843 h 2122526"/>
              <a:gd name="connsiteX163" fmla="*/ 4036996 w 12192002"/>
              <a:gd name="connsiteY163" fmla="*/ 243176 h 2122526"/>
              <a:gd name="connsiteX164" fmla="*/ 4042364 w 12192002"/>
              <a:gd name="connsiteY164" fmla="*/ 240742 h 2122526"/>
              <a:gd name="connsiteX165" fmla="*/ 4058954 w 12192002"/>
              <a:gd name="connsiteY165" fmla="*/ 239121 h 2122526"/>
              <a:gd name="connsiteX166" fmla="*/ 4065510 w 12192002"/>
              <a:gd name="connsiteY166" fmla="*/ 239339 h 2122526"/>
              <a:gd name="connsiteX167" fmla="*/ 4074427 w 12192002"/>
              <a:gd name="connsiteY167" fmla="*/ 237895 h 2122526"/>
              <a:gd name="connsiteX168" fmla="*/ 4074546 w 12192002"/>
              <a:gd name="connsiteY168" fmla="*/ 237596 h 2122526"/>
              <a:gd name="connsiteX169" fmla="*/ 4083097 w 12192002"/>
              <a:gd name="connsiteY169" fmla="*/ 236761 h 2122526"/>
              <a:gd name="connsiteX170" fmla="*/ 4142745 w 12192002"/>
              <a:gd name="connsiteY170" fmla="*/ 210228 h 2122526"/>
              <a:gd name="connsiteX171" fmla="*/ 4191248 w 12192002"/>
              <a:gd name="connsiteY171" fmla="*/ 194363 h 2122526"/>
              <a:gd name="connsiteX172" fmla="*/ 4201744 w 12192002"/>
              <a:gd name="connsiteY172" fmla="*/ 188729 h 2122526"/>
              <a:gd name="connsiteX173" fmla="*/ 4202048 w 12192002"/>
              <a:gd name="connsiteY173" fmla="*/ 187470 h 2122526"/>
              <a:gd name="connsiteX174" fmla="*/ 4248116 w 12192002"/>
              <a:gd name="connsiteY174" fmla="*/ 184675 h 2122526"/>
              <a:gd name="connsiteX175" fmla="*/ 4276141 w 12192002"/>
              <a:gd name="connsiteY175" fmla="*/ 186999 h 2122526"/>
              <a:gd name="connsiteX176" fmla="*/ 4290062 w 12192002"/>
              <a:gd name="connsiteY176" fmla="*/ 186753 h 2122526"/>
              <a:gd name="connsiteX177" fmla="*/ 4295143 w 12192002"/>
              <a:gd name="connsiteY177" fmla="*/ 189670 h 2122526"/>
              <a:gd name="connsiteX178" fmla="*/ 4315108 w 12192002"/>
              <a:gd name="connsiteY178" fmla="*/ 187791 h 2122526"/>
              <a:gd name="connsiteX179" fmla="*/ 4316965 w 12192002"/>
              <a:gd name="connsiteY179" fmla="*/ 186450 h 2122526"/>
              <a:gd name="connsiteX180" fmla="*/ 4362875 w 12192002"/>
              <a:gd name="connsiteY180" fmla="*/ 193065 h 2122526"/>
              <a:gd name="connsiteX181" fmla="*/ 4428542 w 12192002"/>
              <a:gd name="connsiteY181" fmla="*/ 191719 h 2122526"/>
              <a:gd name="connsiteX182" fmla="*/ 4515813 w 12192002"/>
              <a:gd name="connsiteY182" fmla="*/ 181068 h 2122526"/>
              <a:gd name="connsiteX183" fmla="*/ 4715526 w 12192002"/>
              <a:gd name="connsiteY183" fmla="*/ 171166 h 2122526"/>
              <a:gd name="connsiteX184" fmla="*/ 4762447 w 12192002"/>
              <a:gd name="connsiteY184" fmla="*/ 162678 h 2122526"/>
              <a:gd name="connsiteX185" fmla="*/ 4840439 w 12192002"/>
              <a:gd name="connsiteY185" fmla="*/ 134910 h 2122526"/>
              <a:gd name="connsiteX186" fmla="*/ 5011513 w 12192002"/>
              <a:gd name="connsiteY186" fmla="*/ 110893 h 2122526"/>
              <a:gd name="connsiteX187" fmla="*/ 5065790 w 12192002"/>
              <a:gd name="connsiteY187" fmla="*/ 94512 h 2122526"/>
              <a:gd name="connsiteX188" fmla="*/ 5121659 w 12192002"/>
              <a:gd name="connsiteY188" fmla="*/ 101083 h 2122526"/>
              <a:gd name="connsiteX189" fmla="*/ 5139595 w 12192002"/>
              <a:gd name="connsiteY189" fmla="*/ 90230 h 2122526"/>
              <a:gd name="connsiteX190" fmla="*/ 5142598 w 12192002"/>
              <a:gd name="connsiteY190" fmla="*/ 88129 h 2122526"/>
              <a:gd name="connsiteX191" fmla="*/ 5156554 w 12192002"/>
              <a:gd name="connsiteY191" fmla="*/ 84729 h 2122526"/>
              <a:gd name="connsiteX192" fmla="*/ 5174660 w 12192002"/>
              <a:gd name="connsiteY192" fmla="*/ 77506 h 2122526"/>
              <a:gd name="connsiteX193" fmla="*/ 5222961 w 12192002"/>
              <a:gd name="connsiteY193" fmla="*/ 74516 h 2122526"/>
              <a:gd name="connsiteX194" fmla="*/ 5261763 w 12192002"/>
              <a:gd name="connsiteY194" fmla="*/ 63392 h 2122526"/>
              <a:gd name="connsiteX195" fmla="*/ 5381667 w 12192002"/>
              <a:gd name="connsiteY195" fmla="*/ 42975 h 2122526"/>
              <a:gd name="connsiteX196" fmla="*/ 5432760 w 12192002"/>
              <a:gd name="connsiteY196" fmla="*/ 25273 h 2122526"/>
              <a:gd name="connsiteX197" fmla="*/ 5470905 w 12192002"/>
              <a:gd name="connsiteY197" fmla="*/ 14020 h 2122526"/>
              <a:gd name="connsiteX198" fmla="*/ 5626960 w 12192002"/>
              <a:gd name="connsiteY198" fmla="*/ 0 h 2122526"/>
              <a:gd name="connsiteX0" fmla="*/ 5626960 w 12192002"/>
              <a:gd name="connsiteY0" fmla="*/ 0 h 2122526"/>
              <a:gd name="connsiteX1" fmla="*/ 5758918 w 12192002"/>
              <a:gd name="connsiteY1" fmla="*/ 1023 h 2122526"/>
              <a:gd name="connsiteX2" fmla="*/ 5957375 w 12192002"/>
              <a:gd name="connsiteY2" fmla="*/ 16715 h 2122526"/>
              <a:gd name="connsiteX3" fmla="*/ 6010090 w 12192002"/>
              <a:gd name="connsiteY3" fmla="*/ 20359 h 2122526"/>
              <a:gd name="connsiteX4" fmla="*/ 6041282 w 12192002"/>
              <a:gd name="connsiteY4" fmla="*/ 15266 h 2122526"/>
              <a:gd name="connsiteX5" fmla="*/ 6048637 w 12192002"/>
              <a:gd name="connsiteY5" fmla="*/ 6917 h 2122526"/>
              <a:gd name="connsiteX6" fmla="*/ 6068529 w 12192002"/>
              <a:gd name="connsiteY6" fmla="*/ 7600 h 2122526"/>
              <a:gd name="connsiteX7" fmla="*/ 6073847 w 12192002"/>
              <a:gd name="connsiteY7" fmla="*/ 6063 h 2122526"/>
              <a:gd name="connsiteX8" fmla="*/ 6168673 w 12192002"/>
              <a:gd name="connsiteY8" fmla="*/ 26525 h 2122526"/>
              <a:gd name="connsiteX9" fmla="*/ 6317559 w 12192002"/>
              <a:gd name="connsiteY9" fmla="*/ 28612 h 2122526"/>
              <a:gd name="connsiteX10" fmla="*/ 6549454 w 12192002"/>
              <a:gd name="connsiteY10" fmla="*/ 75412 h 2122526"/>
              <a:gd name="connsiteX11" fmla="*/ 6708221 w 12192002"/>
              <a:gd name="connsiteY11" fmla="*/ 104188 h 2122526"/>
              <a:gd name="connsiteX12" fmla="*/ 6904145 w 12192002"/>
              <a:gd name="connsiteY12" fmla="*/ 132143 h 2122526"/>
              <a:gd name="connsiteX13" fmla="*/ 7018495 w 12192002"/>
              <a:gd name="connsiteY13" fmla="*/ 161649 h 2122526"/>
              <a:gd name="connsiteX14" fmla="*/ 7096987 w 12192002"/>
              <a:gd name="connsiteY14" fmla="*/ 161275 h 2122526"/>
              <a:gd name="connsiteX15" fmla="*/ 7170807 w 12192002"/>
              <a:gd name="connsiteY15" fmla="*/ 173503 h 2122526"/>
              <a:gd name="connsiteX16" fmla="*/ 7197003 w 12192002"/>
              <a:gd name="connsiteY16" fmla="*/ 178151 h 2122526"/>
              <a:gd name="connsiteX17" fmla="*/ 7201101 w 12192002"/>
              <a:gd name="connsiteY17" fmla="*/ 183509 h 2122526"/>
              <a:gd name="connsiteX18" fmla="*/ 7218559 w 12192002"/>
              <a:gd name="connsiteY18" fmla="*/ 188059 h 2122526"/>
              <a:gd name="connsiteX19" fmla="*/ 7310852 w 12192002"/>
              <a:gd name="connsiteY19" fmla="*/ 213308 h 2122526"/>
              <a:gd name="connsiteX20" fmla="*/ 7312179 w 12192002"/>
              <a:gd name="connsiteY20" fmla="*/ 211866 h 2122526"/>
              <a:gd name="connsiteX21" fmla="*/ 7405390 w 12192002"/>
              <a:gd name="connsiteY21" fmla="*/ 202271 h 2122526"/>
              <a:gd name="connsiteX22" fmla="*/ 7495794 w 12192002"/>
              <a:gd name="connsiteY22" fmla="*/ 194166 h 2122526"/>
              <a:gd name="connsiteX23" fmla="*/ 7507039 w 12192002"/>
              <a:gd name="connsiteY23" fmla="*/ 196118 h 2122526"/>
              <a:gd name="connsiteX24" fmla="*/ 7507411 w 12192002"/>
              <a:gd name="connsiteY24" fmla="*/ 195791 h 2122526"/>
              <a:gd name="connsiteX25" fmla="*/ 7519570 w 12192002"/>
              <a:gd name="connsiteY25" fmla="*/ 197126 h 2122526"/>
              <a:gd name="connsiteX26" fmla="*/ 7527542 w 12192002"/>
              <a:gd name="connsiteY26" fmla="*/ 199679 h 2122526"/>
              <a:gd name="connsiteX27" fmla="*/ 7614346 w 12192002"/>
              <a:gd name="connsiteY27" fmla="*/ 205507 h 2122526"/>
              <a:gd name="connsiteX28" fmla="*/ 7718744 w 12192002"/>
              <a:gd name="connsiteY28" fmla="*/ 202036 h 2122526"/>
              <a:gd name="connsiteX29" fmla="*/ 7905407 w 12192002"/>
              <a:gd name="connsiteY29" fmla="*/ 227751 h 2122526"/>
              <a:gd name="connsiteX30" fmla="*/ 8090271 w 12192002"/>
              <a:gd name="connsiteY30" fmla="*/ 269724 h 2122526"/>
              <a:gd name="connsiteX31" fmla="*/ 8245834 w 12192002"/>
              <a:gd name="connsiteY31" fmla="*/ 315885 h 2122526"/>
              <a:gd name="connsiteX32" fmla="*/ 8252033 w 12192002"/>
              <a:gd name="connsiteY32" fmla="*/ 328877 h 2122526"/>
              <a:gd name="connsiteX33" fmla="*/ 8263376 w 12192002"/>
              <a:gd name="connsiteY33" fmla="*/ 338720 h 2122526"/>
              <a:gd name="connsiteX34" fmla="*/ 8266075 w 12192002"/>
              <a:gd name="connsiteY34" fmla="*/ 338490 h 2122526"/>
              <a:gd name="connsiteX35" fmla="*/ 8283149 w 12192002"/>
              <a:gd name="connsiteY35" fmla="*/ 345665 h 2122526"/>
              <a:gd name="connsiteX36" fmla="*/ 8284276 w 12192002"/>
              <a:gd name="connsiteY36" fmla="*/ 350108 h 2122526"/>
              <a:gd name="connsiteX37" fmla="*/ 8295173 w 12192002"/>
              <a:gd name="connsiteY37" fmla="*/ 355931 h 2122526"/>
              <a:gd name="connsiteX38" fmla="*/ 8314432 w 12192002"/>
              <a:gd name="connsiteY38" fmla="*/ 369826 h 2122526"/>
              <a:gd name="connsiteX39" fmla="*/ 8320104 w 12192002"/>
              <a:gd name="connsiteY39" fmla="*/ 370152 h 2122526"/>
              <a:gd name="connsiteX40" fmla="*/ 8352372 w 12192002"/>
              <a:gd name="connsiteY40" fmla="*/ 387570 h 2122526"/>
              <a:gd name="connsiteX41" fmla="*/ 8353799 w 12192002"/>
              <a:gd name="connsiteY41" fmla="*/ 386730 h 2122526"/>
              <a:gd name="connsiteX42" fmla="*/ 8367182 w 12192002"/>
              <a:gd name="connsiteY42" fmla="*/ 386924 h 2122526"/>
              <a:gd name="connsiteX43" fmla="*/ 8490249 w 12192002"/>
              <a:gd name="connsiteY43" fmla="*/ 400966 h 2122526"/>
              <a:gd name="connsiteX44" fmla="*/ 8497594 w 12192002"/>
              <a:gd name="connsiteY44" fmla="*/ 404016 h 2122526"/>
              <a:gd name="connsiteX45" fmla="*/ 8497968 w 12192002"/>
              <a:gd name="connsiteY45" fmla="*/ 403837 h 2122526"/>
              <a:gd name="connsiteX46" fmla="*/ 8506167 w 12192002"/>
              <a:gd name="connsiteY46" fmla="*/ 406575 h 2122526"/>
              <a:gd name="connsiteX47" fmla="*/ 8510983 w 12192002"/>
              <a:gd name="connsiteY47" fmla="*/ 409576 h 2122526"/>
              <a:gd name="connsiteX48" fmla="*/ 8525230 w 12192002"/>
              <a:gd name="connsiteY48" fmla="*/ 415491 h 2122526"/>
              <a:gd name="connsiteX49" fmla="*/ 8596071 w 12192002"/>
              <a:gd name="connsiteY49" fmla="*/ 400649 h 2122526"/>
              <a:gd name="connsiteX50" fmla="*/ 8707847 w 12192002"/>
              <a:gd name="connsiteY50" fmla="*/ 409221 h 2122526"/>
              <a:gd name="connsiteX51" fmla="*/ 8752444 w 12192002"/>
              <a:gd name="connsiteY51" fmla="*/ 411322 h 2122526"/>
              <a:gd name="connsiteX52" fmla="*/ 8928988 w 12192002"/>
              <a:gd name="connsiteY52" fmla="*/ 430554 h 2122526"/>
              <a:gd name="connsiteX53" fmla="*/ 8963048 w 12192002"/>
              <a:gd name="connsiteY53" fmla="*/ 427366 h 2122526"/>
              <a:gd name="connsiteX54" fmla="*/ 8968011 w 12192002"/>
              <a:gd name="connsiteY54" fmla="*/ 425141 h 2122526"/>
              <a:gd name="connsiteX55" fmla="*/ 8974337 w 12192002"/>
              <a:gd name="connsiteY55" fmla="*/ 424441 h 2122526"/>
              <a:gd name="connsiteX56" fmla="*/ 8990394 w 12192002"/>
              <a:gd name="connsiteY56" fmla="*/ 427667 h 2122526"/>
              <a:gd name="connsiteX57" fmla="*/ 8996232 w 12192002"/>
              <a:gd name="connsiteY57" fmla="*/ 429728 h 2122526"/>
              <a:gd name="connsiteX58" fmla="*/ 9005201 w 12192002"/>
              <a:gd name="connsiteY58" fmla="*/ 430939 h 2122526"/>
              <a:gd name="connsiteX59" fmla="*/ 9005486 w 12192002"/>
              <a:gd name="connsiteY59" fmla="*/ 430699 h 2122526"/>
              <a:gd name="connsiteX60" fmla="*/ 9053453 w 12192002"/>
              <a:gd name="connsiteY60" fmla="*/ 433984 h 2122526"/>
              <a:gd name="connsiteX61" fmla="*/ 9113812 w 12192002"/>
              <a:gd name="connsiteY61" fmla="*/ 425670 h 2122526"/>
              <a:gd name="connsiteX62" fmla="*/ 9137318 w 12192002"/>
              <a:gd name="connsiteY62" fmla="*/ 424304 h 2122526"/>
              <a:gd name="connsiteX63" fmla="*/ 9150210 w 12192002"/>
              <a:gd name="connsiteY63" fmla="*/ 422135 h 2122526"/>
              <a:gd name="connsiteX64" fmla="*/ 9151232 w 12192002"/>
              <a:gd name="connsiteY64" fmla="*/ 421070 h 2122526"/>
              <a:gd name="connsiteX65" fmla="*/ 9189246 w 12192002"/>
              <a:gd name="connsiteY65" fmla="*/ 432272 h 2122526"/>
              <a:gd name="connsiteX66" fmla="*/ 9194810 w 12192002"/>
              <a:gd name="connsiteY66" fmla="*/ 441511 h 2122526"/>
              <a:gd name="connsiteX67" fmla="*/ 9231370 w 12192002"/>
              <a:gd name="connsiteY67" fmla="*/ 451590 h 2122526"/>
              <a:gd name="connsiteX68" fmla="*/ 9343052 w 12192002"/>
              <a:gd name="connsiteY68" fmla="*/ 503495 h 2122526"/>
              <a:gd name="connsiteX69" fmla="*/ 9584507 w 12192002"/>
              <a:gd name="connsiteY69" fmla="*/ 549197 h 2122526"/>
              <a:gd name="connsiteX70" fmla="*/ 9728309 w 12192002"/>
              <a:gd name="connsiteY70" fmla="*/ 560617 h 2122526"/>
              <a:gd name="connsiteX71" fmla="*/ 9847792 w 12192002"/>
              <a:gd name="connsiteY71" fmla="*/ 580824 h 2122526"/>
              <a:gd name="connsiteX72" fmla="*/ 9960019 w 12192002"/>
              <a:gd name="connsiteY72" fmla="*/ 587592 h 2122526"/>
              <a:gd name="connsiteX73" fmla="*/ 10039240 w 12192002"/>
              <a:gd name="connsiteY73" fmla="*/ 603107 h 2122526"/>
              <a:gd name="connsiteX74" fmla="*/ 10082169 w 12192002"/>
              <a:gd name="connsiteY74" fmla="*/ 601443 h 2122526"/>
              <a:gd name="connsiteX75" fmla="*/ 10126500 w 12192002"/>
              <a:gd name="connsiteY75" fmla="*/ 603538 h 2122526"/>
              <a:gd name="connsiteX76" fmla="*/ 10261101 w 12192002"/>
              <a:gd name="connsiteY76" fmla="*/ 615053 h 2122526"/>
              <a:gd name="connsiteX77" fmla="*/ 10336855 w 12192002"/>
              <a:gd name="connsiteY77" fmla="*/ 624804 h 2122526"/>
              <a:gd name="connsiteX78" fmla="*/ 10383868 w 12192002"/>
              <a:gd name="connsiteY78" fmla="*/ 625415 h 2122526"/>
              <a:gd name="connsiteX79" fmla="*/ 10445984 w 12192002"/>
              <a:gd name="connsiteY79" fmla="*/ 629262 h 2122526"/>
              <a:gd name="connsiteX80" fmla="*/ 10519280 w 12192002"/>
              <a:gd name="connsiteY80" fmla="*/ 631320 h 2122526"/>
              <a:gd name="connsiteX81" fmla="*/ 10644619 w 12192002"/>
              <a:gd name="connsiteY81" fmla="*/ 651566 h 2122526"/>
              <a:gd name="connsiteX82" fmla="*/ 10857724 w 12192002"/>
              <a:gd name="connsiteY82" fmla="*/ 712684 h 2122526"/>
              <a:gd name="connsiteX83" fmla="*/ 10951063 w 12192002"/>
              <a:gd name="connsiteY83" fmla="*/ 725767 h 2122526"/>
              <a:gd name="connsiteX84" fmla="*/ 11030956 w 12192002"/>
              <a:gd name="connsiteY84" fmla="*/ 721011 h 2122526"/>
              <a:gd name="connsiteX85" fmla="*/ 11085938 w 12192002"/>
              <a:gd name="connsiteY85" fmla="*/ 723892 h 2122526"/>
              <a:gd name="connsiteX86" fmla="*/ 11143411 w 12192002"/>
              <a:gd name="connsiteY86" fmla="*/ 733141 h 2122526"/>
              <a:gd name="connsiteX87" fmla="*/ 11195087 w 12192002"/>
              <a:gd name="connsiteY87" fmla="*/ 732494 h 2122526"/>
              <a:gd name="connsiteX88" fmla="*/ 11273972 w 12192002"/>
              <a:gd name="connsiteY88" fmla="*/ 753513 h 2122526"/>
              <a:gd name="connsiteX89" fmla="*/ 11369715 w 12192002"/>
              <a:gd name="connsiteY89" fmla="*/ 813181 h 2122526"/>
              <a:gd name="connsiteX90" fmla="*/ 11462695 w 12192002"/>
              <a:gd name="connsiteY90" fmla="*/ 874654 h 2122526"/>
              <a:gd name="connsiteX91" fmla="*/ 11516473 w 12192002"/>
              <a:gd name="connsiteY91" fmla="*/ 928206 h 2122526"/>
              <a:gd name="connsiteX92" fmla="*/ 11585369 w 12192002"/>
              <a:gd name="connsiteY92" fmla="*/ 1004898 h 2122526"/>
              <a:gd name="connsiteX93" fmla="*/ 11744187 w 12192002"/>
              <a:gd name="connsiteY93" fmla="*/ 1047864 h 2122526"/>
              <a:gd name="connsiteX94" fmla="*/ 11894613 w 12192002"/>
              <a:gd name="connsiteY94" fmla="*/ 1148265 h 2122526"/>
              <a:gd name="connsiteX95" fmla="*/ 11917888 w 12192002"/>
              <a:gd name="connsiteY95" fmla="*/ 1126105 h 2122526"/>
              <a:gd name="connsiteX96" fmla="*/ 12080164 w 12192002"/>
              <a:gd name="connsiteY96" fmla="*/ 1090885 h 2122526"/>
              <a:gd name="connsiteX97" fmla="*/ 12140863 w 12192002"/>
              <a:gd name="connsiteY97" fmla="*/ 1035036 h 2122526"/>
              <a:gd name="connsiteX98" fmla="*/ 12192002 w 12192002"/>
              <a:gd name="connsiteY98" fmla="*/ 1015838 h 2122526"/>
              <a:gd name="connsiteX99" fmla="*/ 12192002 w 12192002"/>
              <a:gd name="connsiteY99" fmla="*/ 1955549 h 2122526"/>
              <a:gd name="connsiteX100" fmla="*/ 12192000 w 12192002"/>
              <a:gd name="connsiteY100" fmla="*/ 1955549 h 2122526"/>
              <a:gd name="connsiteX101" fmla="*/ 12192000 w 12192002"/>
              <a:gd name="connsiteY101" fmla="*/ 2122526 h 2122526"/>
              <a:gd name="connsiteX102" fmla="*/ 0 w 12192002"/>
              <a:gd name="connsiteY102" fmla="*/ 2122526 h 2122526"/>
              <a:gd name="connsiteX103" fmla="*/ 0 w 12192002"/>
              <a:gd name="connsiteY103" fmla="*/ 1348327 h 2122526"/>
              <a:gd name="connsiteX104" fmla="*/ 2 w 12192002"/>
              <a:gd name="connsiteY104" fmla="*/ 1348327 h 2122526"/>
              <a:gd name="connsiteX105" fmla="*/ 2 w 12192002"/>
              <a:gd name="connsiteY105" fmla="*/ 592017 h 2122526"/>
              <a:gd name="connsiteX106" fmla="*/ 15526 w 12192002"/>
              <a:gd name="connsiteY106" fmla="*/ 586548 h 2122526"/>
              <a:gd name="connsiteX107" fmla="*/ 118381 w 12192002"/>
              <a:gd name="connsiteY107" fmla="*/ 583692 h 2122526"/>
              <a:gd name="connsiteX108" fmla="*/ 292435 w 12192002"/>
              <a:gd name="connsiteY108" fmla="*/ 531887 h 2122526"/>
              <a:gd name="connsiteX109" fmla="*/ 404015 w 12192002"/>
              <a:gd name="connsiteY109" fmla="*/ 511191 h 2122526"/>
              <a:gd name="connsiteX110" fmla="*/ 445099 w 12192002"/>
              <a:gd name="connsiteY110" fmla="*/ 505368 h 2122526"/>
              <a:gd name="connsiteX111" fmla="*/ 571717 w 12192002"/>
              <a:gd name="connsiteY111" fmla="*/ 467338 h 2122526"/>
              <a:gd name="connsiteX112" fmla="*/ 578535 w 12192002"/>
              <a:gd name="connsiteY112" fmla="*/ 467527 h 2122526"/>
              <a:gd name="connsiteX113" fmla="*/ 596792 w 12192002"/>
              <a:gd name="connsiteY113" fmla="*/ 464875 h 2122526"/>
              <a:gd name="connsiteX114" fmla="*/ 708875 w 12192002"/>
              <a:gd name="connsiteY114" fmla="*/ 422017 h 2122526"/>
              <a:gd name="connsiteX115" fmla="*/ 719742 w 12192002"/>
              <a:gd name="connsiteY115" fmla="*/ 416340 h 2122526"/>
              <a:gd name="connsiteX116" fmla="*/ 720047 w 12192002"/>
              <a:gd name="connsiteY116" fmla="*/ 415078 h 2122526"/>
              <a:gd name="connsiteX117" fmla="*/ 763053 w 12192002"/>
              <a:gd name="connsiteY117" fmla="*/ 414307 h 2122526"/>
              <a:gd name="connsiteX118" fmla="*/ 767901 w 12192002"/>
              <a:gd name="connsiteY118" fmla="*/ 412086 h 2122526"/>
              <a:gd name="connsiteX119" fmla="*/ 797041 w 12192002"/>
              <a:gd name="connsiteY119" fmla="*/ 414293 h 2122526"/>
              <a:gd name="connsiteX120" fmla="*/ 811506 w 12192002"/>
              <a:gd name="connsiteY120" fmla="*/ 413988 h 2122526"/>
              <a:gd name="connsiteX121" fmla="*/ 816809 w 12192002"/>
              <a:gd name="connsiteY121" fmla="*/ 416882 h 2122526"/>
              <a:gd name="connsiteX122" fmla="*/ 837540 w 12192002"/>
              <a:gd name="connsiteY122" fmla="*/ 414918 h 2122526"/>
              <a:gd name="connsiteX123" fmla="*/ 858269 w 12192002"/>
              <a:gd name="connsiteY123" fmla="*/ 416131 h 2122526"/>
              <a:gd name="connsiteX124" fmla="*/ 948732 w 12192002"/>
              <a:gd name="connsiteY124" fmla="*/ 404293 h 2122526"/>
              <a:gd name="connsiteX125" fmla="*/ 1149979 w 12192002"/>
              <a:gd name="connsiteY125" fmla="*/ 406698 h 2122526"/>
              <a:gd name="connsiteX126" fmla="*/ 1496110 w 12192002"/>
              <a:gd name="connsiteY126" fmla="*/ 357263 h 2122526"/>
              <a:gd name="connsiteX127" fmla="*/ 1608669 w 12192002"/>
              <a:gd name="connsiteY127" fmla="*/ 331673 h 2122526"/>
              <a:gd name="connsiteX128" fmla="*/ 1675071 w 12192002"/>
              <a:gd name="connsiteY128" fmla="*/ 324776 h 2122526"/>
              <a:gd name="connsiteX129" fmla="*/ 1738204 w 12192002"/>
              <a:gd name="connsiteY129" fmla="*/ 308427 h 2122526"/>
              <a:gd name="connsiteX130" fmla="*/ 1786655 w 12192002"/>
              <a:gd name="connsiteY130" fmla="*/ 303376 h 2122526"/>
              <a:gd name="connsiteX131" fmla="*/ 1873080 w 12192002"/>
              <a:gd name="connsiteY131" fmla="*/ 330998 h 2122526"/>
              <a:gd name="connsiteX132" fmla="*/ 1921650 w 12192002"/>
              <a:gd name="connsiteY132" fmla="*/ 332593 h 2122526"/>
              <a:gd name="connsiteX133" fmla="*/ 1928172 w 12192002"/>
              <a:gd name="connsiteY133" fmla="*/ 327762 h 2122526"/>
              <a:gd name="connsiteX134" fmla="*/ 1997356 w 12192002"/>
              <a:gd name="connsiteY134" fmla="*/ 349707 h 2122526"/>
              <a:gd name="connsiteX135" fmla="*/ 2094665 w 12192002"/>
              <a:gd name="connsiteY135" fmla="*/ 341687 h 2122526"/>
              <a:gd name="connsiteX136" fmla="*/ 2208578 w 12192002"/>
              <a:gd name="connsiteY136" fmla="*/ 324976 h 2122526"/>
              <a:gd name="connsiteX137" fmla="*/ 2315112 w 12192002"/>
              <a:gd name="connsiteY137" fmla="*/ 319743 h 2122526"/>
              <a:gd name="connsiteX138" fmla="*/ 2443255 w 12192002"/>
              <a:gd name="connsiteY138" fmla="*/ 328210 h 2122526"/>
              <a:gd name="connsiteX139" fmla="*/ 2568028 w 12192002"/>
              <a:gd name="connsiteY139" fmla="*/ 342111 h 2122526"/>
              <a:gd name="connsiteX140" fmla="*/ 2646527 w 12192002"/>
              <a:gd name="connsiteY140" fmla="*/ 315870 h 2122526"/>
              <a:gd name="connsiteX141" fmla="*/ 2781569 w 12192002"/>
              <a:gd name="connsiteY141" fmla="*/ 326406 h 2122526"/>
              <a:gd name="connsiteX142" fmla="*/ 3030291 w 12192002"/>
              <a:gd name="connsiteY142" fmla="*/ 348227 h 2122526"/>
              <a:gd name="connsiteX143" fmla="*/ 3142556 w 12192002"/>
              <a:gd name="connsiteY143" fmla="*/ 350870 h 2122526"/>
              <a:gd name="connsiteX144" fmla="*/ 3262356 w 12192002"/>
              <a:gd name="connsiteY144" fmla="*/ 358645 h 2122526"/>
              <a:gd name="connsiteX145" fmla="*/ 3341698 w 12192002"/>
              <a:gd name="connsiteY145" fmla="*/ 364522 h 2122526"/>
              <a:gd name="connsiteX146" fmla="*/ 3344026 w 12192002"/>
              <a:gd name="connsiteY146" fmla="*/ 363547 h 2122526"/>
              <a:gd name="connsiteX147" fmla="*/ 3363888 w 12192002"/>
              <a:gd name="connsiteY147" fmla="*/ 365229 h 2122526"/>
              <a:gd name="connsiteX148" fmla="*/ 3400728 w 12192002"/>
              <a:gd name="connsiteY148" fmla="*/ 382181 h 2122526"/>
              <a:gd name="connsiteX149" fmla="*/ 3473223 w 12192002"/>
              <a:gd name="connsiteY149" fmla="*/ 370133 h 2122526"/>
              <a:gd name="connsiteX150" fmla="*/ 3536135 w 12192002"/>
              <a:gd name="connsiteY150" fmla="*/ 366472 h 2122526"/>
              <a:gd name="connsiteX151" fmla="*/ 3585978 w 12192002"/>
              <a:gd name="connsiteY151" fmla="*/ 356773 h 2122526"/>
              <a:gd name="connsiteX152" fmla="*/ 3594501 w 12192002"/>
              <a:gd name="connsiteY152" fmla="*/ 357463 h 2122526"/>
              <a:gd name="connsiteX153" fmla="*/ 3594736 w 12192002"/>
              <a:gd name="connsiteY153" fmla="*/ 357194 h 2122526"/>
              <a:gd name="connsiteX154" fmla="*/ 3603855 w 12192002"/>
              <a:gd name="connsiteY154" fmla="*/ 357358 h 2122526"/>
              <a:gd name="connsiteX155" fmla="*/ 3610035 w 12192002"/>
              <a:gd name="connsiteY155" fmla="*/ 358720 h 2122526"/>
              <a:gd name="connsiteX156" fmla="*/ 3682513 w 12192002"/>
              <a:gd name="connsiteY156" fmla="*/ 326449 h 2122526"/>
              <a:gd name="connsiteX157" fmla="*/ 3789760 w 12192002"/>
              <a:gd name="connsiteY157" fmla="*/ 302526 h 2122526"/>
              <a:gd name="connsiteX158" fmla="*/ 3897275 w 12192002"/>
              <a:gd name="connsiteY158" fmla="*/ 282288 h 2122526"/>
              <a:gd name="connsiteX159" fmla="*/ 3936846 w 12192002"/>
              <a:gd name="connsiteY159" fmla="*/ 276633 h 2122526"/>
              <a:gd name="connsiteX160" fmla="*/ 4004538 w 12192002"/>
              <a:gd name="connsiteY160" fmla="*/ 259176 h 2122526"/>
              <a:gd name="connsiteX161" fmla="*/ 4033778 w 12192002"/>
              <a:gd name="connsiteY161" fmla="*/ 246608 h 2122526"/>
              <a:gd name="connsiteX162" fmla="*/ 4035363 w 12192002"/>
              <a:gd name="connsiteY162" fmla="*/ 246843 h 2122526"/>
              <a:gd name="connsiteX163" fmla="*/ 4036996 w 12192002"/>
              <a:gd name="connsiteY163" fmla="*/ 243176 h 2122526"/>
              <a:gd name="connsiteX164" fmla="*/ 4042364 w 12192002"/>
              <a:gd name="connsiteY164" fmla="*/ 240742 h 2122526"/>
              <a:gd name="connsiteX165" fmla="*/ 4058954 w 12192002"/>
              <a:gd name="connsiteY165" fmla="*/ 239121 h 2122526"/>
              <a:gd name="connsiteX166" fmla="*/ 4065510 w 12192002"/>
              <a:gd name="connsiteY166" fmla="*/ 239339 h 2122526"/>
              <a:gd name="connsiteX167" fmla="*/ 4074427 w 12192002"/>
              <a:gd name="connsiteY167" fmla="*/ 237895 h 2122526"/>
              <a:gd name="connsiteX168" fmla="*/ 4074546 w 12192002"/>
              <a:gd name="connsiteY168" fmla="*/ 237596 h 2122526"/>
              <a:gd name="connsiteX169" fmla="*/ 4083097 w 12192002"/>
              <a:gd name="connsiteY169" fmla="*/ 236761 h 2122526"/>
              <a:gd name="connsiteX170" fmla="*/ 4142745 w 12192002"/>
              <a:gd name="connsiteY170" fmla="*/ 210228 h 2122526"/>
              <a:gd name="connsiteX171" fmla="*/ 4191248 w 12192002"/>
              <a:gd name="connsiteY171" fmla="*/ 194363 h 2122526"/>
              <a:gd name="connsiteX172" fmla="*/ 4201744 w 12192002"/>
              <a:gd name="connsiteY172" fmla="*/ 188729 h 2122526"/>
              <a:gd name="connsiteX173" fmla="*/ 4202048 w 12192002"/>
              <a:gd name="connsiteY173" fmla="*/ 187470 h 2122526"/>
              <a:gd name="connsiteX174" fmla="*/ 4248116 w 12192002"/>
              <a:gd name="connsiteY174" fmla="*/ 184675 h 2122526"/>
              <a:gd name="connsiteX175" fmla="*/ 4276141 w 12192002"/>
              <a:gd name="connsiteY175" fmla="*/ 186999 h 2122526"/>
              <a:gd name="connsiteX176" fmla="*/ 4290062 w 12192002"/>
              <a:gd name="connsiteY176" fmla="*/ 186753 h 2122526"/>
              <a:gd name="connsiteX177" fmla="*/ 4295143 w 12192002"/>
              <a:gd name="connsiteY177" fmla="*/ 189670 h 2122526"/>
              <a:gd name="connsiteX178" fmla="*/ 4315108 w 12192002"/>
              <a:gd name="connsiteY178" fmla="*/ 187791 h 2122526"/>
              <a:gd name="connsiteX179" fmla="*/ 4316965 w 12192002"/>
              <a:gd name="connsiteY179" fmla="*/ 186450 h 2122526"/>
              <a:gd name="connsiteX180" fmla="*/ 4362875 w 12192002"/>
              <a:gd name="connsiteY180" fmla="*/ 193065 h 2122526"/>
              <a:gd name="connsiteX181" fmla="*/ 4428542 w 12192002"/>
              <a:gd name="connsiteY181" fmla="*/ 191719 h 2122526"/>
              <a:gd name="connsiteX182" fmla="*/ 4515813 w 12192002"/>
              <a:gd name="connsiteY182" fmla="*/ 181068 h 2122526"/>
              <a:gd name="connsiteX183" fmla="*/ 4715526 w 12192002"/>
              <a:gd name="connsiteY183" fmla="*/ 171166 h 2122526"/>
              <a:gd name="connsiteX184" fmla="*/ 4762447 w 12192002"/>
              <a:gd name="connsiteY184" fmla="*/ 162678 h 2122526"/>
              <a:gd name="connsiteX185" fmla="*/ 4840439 w 12192002"/>
              <a:gd name="connsiteY185" fmla="*/ 134910 h 2122526"/>
              <a:gd name="connsiteX186" fmla="*/ 5011513 w 12192002"/>
              <a:gd name="connsiteY186" fmla="*/ 110893 h 2122526"/>
              <a:gd name="connsiteX187" fmla="*/ 5065790 w 12192002"/>
              <a:gd name="connsiteY187" fmla="*/ 94512 h 2122526"/>
              <a:gd name="connsiteX188" fmla="*/ 5121659 w 12192002"/>
              <a:gd name="connsiteY188" fmla="*/ 101083 h 2122526"/>
              <a:gd name="connsiteX189" fmla="*/ 5139595 w 12192002"/>
              <a:gd name="connsiteY189" fmla="*/ 90230 h 2122526"/>
              <a:gd name="connsiteX190" fmla="*/ 5142598 w 12192002"/>
              <a:gd name="connsiteY190" fmla="*/ 88129 h 2122526"/>
              <a:gd name="connsiteX191" fmla="*/ 5156554 w 12192002"/>
              <a:gd name="connsiteY191" fmla="*/ 84729 h 2122526"/>
              <a:gd name="connsiteX192" fmla="*/ 5174660 w 12192002"/>
              <a:gd name="connsiteY192" fmla="*/ 77506 h 2122526"/>
              <a:gd name="connsiteX193" fmla="*/ 5222961 w 12192002"/>
              <a:gd name="connsiteY193" fmla="*/ 74516 h 2122526"/>
              <a:gd name="connsiteX194" fmla="*/ 5261763 w 12192002"/>
              <a:gd name="connsiteY194" fmla="*/ 63392 h 2122526"/>
              <a:gd name="connsiteX195" fmla="*/ 5381667 w 12192002"/>
              <a:gd name="connsiteY195" fmla="*/ 42975 h 2122526"/>
              <a:gd name="connsiteX196" fmla="*/ 5432760 w 12192002"/>
              <a:gd name="connsiteY196" fmla="*/ 25273 h 2122526"/>
              <a:gd name="connsiteX197" fmla="*/ 5470905 w 12192002"/>
              <a:gd name="connsiteY197" fmla="*/ 14020 h 2122526"/>
              <a:gd name="connsiteX198" fmla="*/ 5626960 w 12192002"/>
              <a:gd name="connsiteY198" fmla="*/ 0 h 2122526"/>
              <a:gd name="connsiteX0" fmla="*/ 5626960 w 12192002"/>
              <a:gd name="connsiteY0" fmla="*/ 0 h 2122526"/>
              <a:gd name="connsiteX1" fmla="*/ 5758918 w 12192002"/>
              <a:gd name="connsiteY1" fmla="*/ 1023 h 2122526"/>
              <a:gd name="connsiteX2" fmla="*/ 5957375 w 12192002"/>
              <a:gd name="connsiteY2" fmla="*/ 16715 h 2122526"/>
              <a:gd name="connsiteX3" fmla="*/ 6010090 w 12192002"/>
              <a:gd name="connsiteY3" fmla="*/ 20359 h 2122526"/>
              <a:gd name="connsiteX4" fmla="*/ 6041282 w 12192002"/>
              <a:gd name="connsiteY4" fmla="*/ 15266 h 2122526"/>
              <a:gd name="connsiteX5" fmla="*/ 6048637 w 12192002"/>
              <a:gd name="connsiteY5" fmla="*/ 6917 h 2122526"/>
              <a:gd name="connsiteX6" fmla="*/ 6068529 w 12192002"/>
              <a:gd name="connsiteY6" fmla="*/ 7600 h 2122526"/>
              <a:gd name="connsiteX7" fmla="*/ 6073847 w 12192002"/>
              <a:gd name="connsiteY7" fmla="*/ 6063 h 2122526"/>
              <a:gd name="connsiteX8" fmla="*/ 6168673 w 12192002"/>
              <a:gd name="connsiteY8" fmla="*/ 26525 h 2122526"/>
              <a:gd name="connsiteX9" fmla="*/ 6317559 w 12192002"/>
              <a:gd name="connsiteY9" fmla="*/ 28612 h 2122526"/>
              <a:gd name="connsiteX10" fmla="*/ 6549454 w 12192002"/>
              <a:gd name="connsiteY10" fmla="*/ 75412 h 2122526"/>
              <a:gd name="connsiteX11" fmla="*/ 6708221 w 12192002"/>
              <a:gd name="connsiteY11" fmla="*/ 104188 h 2122526"/>
              <a:gd name="connsiteX12" fmla="*/ 6904145 w 12192002"/>
              <a:gd name="connsiteY12" fmla="*/ 132143 h 2122526"/>
              <a:gd name="connsiteX13" fmla="*/ 7018495 w 12192002"/>
              <a:gd name="connsiteY13" fmla="*/ 161649 h 2122526"/>
              <a:gd name="connsiteX14" fmla="*/ 7096987 w 12192002"/>
              <a:gd name="connsiteY14" fmla="*/ 161275 h 2122526"/>
              <a:gd name="connsiteX15" fmla="*/ 7170807 w 12192002"/>
              <a:gd name="connsiteY15" fmla="*/ 173503 h 2122526"/>
              <a:gd name="connsiteX16" fmla="*/ 7197003 w 12192002"/>
              <a:gd name="connsiteY16" fmla="*/ 178151 h 2122526"/>
              <a:gd name="connsiteX17" fmla="*/ 7201101 w 12192002"/>
              <a:gd name="connsiteY17" fmla="*/ 183509 h 2122526"/>
              <a:gd name="connsiteX18" fmla="*/ 7218559 w 12192002"/>
              <a:gd name="connsiteY18" fmla="*/ 188059 h 2122526"/>
              <a:gd name="connsiteX19" fmla="*/ 7310852 w 12192002"/>
              <a:gd name="connsiteY19" fmla="*/ 213308 h 2122526"/>
              <a:gd name="connsiteX20" fmla="*/ 7312179 w 12192002"/>
              <a:gd name="connsiteY20" fmla="*/ 211866 h 2122526"/>
              <a:gd name="connsiteX21" fmla="*/ 7405390 w 12192002"/>
              <a:gd name="connsiteY21" fmla="*/ 202271 h 2122526"/>
              <a:gd name="connsiteX22" fmla="*/ 7495794 w 12192002"/>
              <a:gd name="connsiteY22" fmla="*/ 194166 h 2122526"/>
              <a:gd name="connsiteX23" fmla="*/ 7507039 w 12192002"/>
              <a:gd name="connsiteY23" fmla="*/ 196118 h 2122526"/>
              <a:gd name="connsiteX24" fmla="*/ 7507411 w 12192002"/>
              <a:gd name="connsiteY24" fmla="*/ 195791 h 2122526"/>
              <a:gd name="connsiteX25" fmla="*/ 7519570 w 12192002"/>
              <a:gd name="connsiteY25" fmla="*/ 197126 h 2122526"/>
              <a:gd name="connsiteX26" fmla="*/ 7527542 w 12192002"/>
              <a:gd name="connsiteY26" fmla="*/ 199679 h 2122526"/>
              <a:gd name="connsiteX27" fmla="*/ 7614346 w 12192002"/>
              <a:gd name="connsiteY27" fmla="*/ 205507 h 2122526"/>
              <a:gd name="connsiteX28" fmla="*/ 7718744 w 12192002"/>
              <a:gd name="connsiteY28" fmla="*/ 202036 h 2122526"/>
              <a:gd name="connsiteX29" fmla="*/ 7905407 w 12192002"/>
              <a:gd name="connsiteY29" fmla="*/ 227751 h 2122526"/>
              <a:gd name="connsiteX30" fmla="*/ 8090271 w 12192002"/>
              <a:gd name="connsiteY30" fmla="*/ 269724 h 2122526"/>
              <a:gd name="connsiteX31" fmla="*/ 8245834 w 12192002"/>
              <a:gd name="connsiteY31" fmla="*/ 315885 h 2122526"/>
              <a:gd name="connsiteX32" fmla="*/ 8252033 w 12192002"/>
              <a:gd name="connsiteY32" fmla="*/ 328877 h 2122526"/>
              <a:gd name="connsiteX33" fmla="*/ 8263376 w 12192002"/>
              <a:gd name="connsiteY33" fmla="*/ 338720 h 2122526"/>
              <a:gd name="connsiteX34" fmla="*/ 8266075 w 12192002"/>
              <a:gd name="connsiteY34" fmla="*/ 338490 h 2122526"/>
              <a:gd name="connsiteX35" fmla="*/ 8283149 w 12192002"/>
              <a:gd name="connsiteY35" fmla="*/ 345665 h 2122526"/>
              <a:gd name="connsiteX36" fmla="*/ 8284276 w 12192002"/>
              <a:gd name="connsiteY36" fmla="*/ 350108 h 2122526"/>
              <a:gd name="connsiteX37" fmla="*/ 8295173 w 12192002"/>
              <a:gd name="connsiteY37" fmla="*/ 355931 h 2122526"/>
              <a:gd name="connsiteX38" fmla="*/ 8314432 w 12192002"/>
              <a:gd name="connsiteY38" fmla="*/ 369826 h 2122526"/>
              <a:gd name="connsiteX39" fmla="*/ 8320104 w 12192002"/>
              <a:gd name="connsiteY39" fmla="*/ 370152 h 2122526"/>
              <a:gd name="connsiteX40" fmla="*/ 8352372 w 12192002"/>
              <a:gd name="connsiteY40" fmla="*/ 387570 h 2122526"/>
              <a:gd name="connsiteX41" fmla="*/ 8353799 w 12192002"/>
              <a:gd name="connsiteY41" fmla="*/ 386730 h 2122526"/>
              <a:gd name="connsiteX42" fmla="*/ 8367182 w 12192002"/>
              <a:gd name="connsiteY42" fmla="*/ 386924 h 2122526"/>
              <a:gd name="connsiteX43" fmla="*/ 8490249 w 12192002"/>
              <a:gd name="connsiteY43" fmla="*/ 400966 h 2122526"/>
              <a:gd name="connsiteX44" fmla="*/ 8497594 w 12192002"/>
              <a:gd name="connsiteY44" fmla="*/ 404016 h 2122526"/>
              <a:gd name="connsiteX45" fmla="*/ 8497968 w 12192002"/>
              <a:gd name="connsiteY45" fmla="*/ 403837 h 2122526"/>
              <a:gd name="connsiteX46" fmla="*/ 8506167 w 12192002"/>
              <a:gd name="connsiteY46" fmla="*/ 406575 h 2122526"/>
              <a:gd name="connsiteX47" fmla="*/ 8510983 w 12192002"/>
              <a:gd name="connsiteY47" fmla="*/ 409576 h 2122526"/>
              <a:gd name="connsiteX48" fmla="*/ 8525230 w 12192002"/>
              <a:gd name="connsiteY48" fmla="*/ 415491 h 2122526"/>
              <a:gd name="connsiteX49" fmla="*/ 8596071 w 12192002"/>
              <a:gd name="connsiteY49" fmla="*/ 400649 h 2122526"/>
              <a:gd name="connsiteX50" fmla="*/ 8707847 w 12192002"/>
              <a:gd name="connsiteY50" fmla="*/ 409221 h 2122526"/>
              <a:gd name="connsiteX51" fmla="*/ 8752444 w 12192002"/>
              <a:gd name="connsiteY51" fmla="*/ 411322 h 2122526"/>
              <a:gd name="connsiteX52" fmla="*/ 8928988 w 12192002"/>
              <a:gd name="connsiteY52" fmla="*/ 430554 h 2122526"/>
              <a:gd name="connsiteX53" fmla="*/ 8963048 w 12192002"/>
              <a:gd name="connsiteY53" fmla="*/ 427366 h 2122526"/>
              <a:gd name="connsiteX54" fmla="*/ 8968011 w 12192002"/>
              <a:gd name="connsiteY54" fmla="*/ 425141 h 2122526"/>
              <a:gd name="connsiteX55" fmla="*/ 8974337 w 12192002"/>
              <a:gd name="connsiteY55" fmla="*/ 424441 h 2122526"/>
              <a:gd name="connsiteX56" fmla="*/ 8990394 w 12192002"/>
              <a:gd name="connsiteY56" fmla="*/ 427667 h 2122526"/>
              <a:gd name="connsiteX57" fmla="*/ 8996232 w 12192002"/>
              <a:gd name="connsiteY57" fmla="*/ 429728 h 2122526"/>
              <a:gd name="connsiteX58" fmla="*/ 9005201 w 12192002"/>
              <a:gd name="connsiteY58" fmla="*/ 430939 h 2122526"/>
              <a:gd name="connsiteX59" fmla="*/ 9005486 w 12192002"/>
              <a:gd name="connsiteY59" fmla="*/ 430699 h 2122526"/>
              <a:gd name="connsiteX60" fmla="*/ 9053453 w 12192002"/>
              <a:gd name="connsiteY60" fmla="*/ 433984 h 2122526"/>
              <a:gd name="connsiteX61" fmla="*/ 9113812 w 12192002"/>
              <a:gd name="connsiteY61" fmla="*/ 425670 h 2122526"/>
              <a:gd name="connsiteX62" fmla="*/ 9137318 w 12192002"/>
              <a:gd name="connsiteY62" fmla="*/ 424304 h 2122526"/>
              <a:gd name="connsiteX63" fmla="*/ 9150210 w 12192002"/>
              <a:gd name="connsiteY63" fmla="*/ 422135 h 2122526"/>
              <a:gd name="connsiteX64" fmla="*/ 9151232 w 12192002"/>
              <a:gd name="connsiteY64" fmla="*/ 421070 h 2122526"/>
              <a:gd name="connsiteX65" fmla="*/ 9189246 w 12192002"/>
              <a:gd name="connsiteY65" fmla="*/ 432272 h 2122526"/>
              <a:gd name="connsiteX66" fmla="*/ 9194810 w 12192002"/>
              <a:gd name="connsiteY66" fmla="*/ 441511 h 2122526"/>
              <a:gd name="connsiteX67" fmla="*/ 9231370 w 12192002"/>
              <a:gd name="connsiteY67" fmla="*/ 451590 h 2122526"/>
              <a:gd name="connsiteX68" fmla="*/ 9343052 w 12192002"/>
              <a:gd name="connsiteY68" fmla="*/ 503495 h 2122526"/>
              <a:gd name="connsiteX69" fmla="*/ 9584507 w 12192002"/>
              <a:gd name="connsiteY69" fmla="*/ 549197 h 2122526"/>
              <a:gd name="connsiteX70" fmla="*/ 9728309 w 12192002"/>
              <a:gd name="connsiteY70" fmla="*/ 560617 h 2122526"/>
              <a:gd name="connsiteX71" fmla="*/ 9847792 w 12192002"/>
              <a:gd name="connsiteY71" fmla="*/ 580824 h 2122526"/>
              <a:gd name="connsiteX72" fmla="*/ 9960019 w 12192002"/>
              <a:gd name="connsiteY72" fmla="*/ 587592 h 2122526"/>
              <a:gd name="connsiteX73" fmla="*/ 10039240 w 12192002"/>
              <a:gd name="connsiteY73" fmla="*/ 603107 h 2122526"/>
              <a:gd name="connsiteX74" fmla="*/ 10082169 w 12192002"/>
              <a:gd name="connsiteY74" fmla="*/ 601443 h 2122526"/>
              <a:gd name="connsiteX75" fmla="*/ 10126500 w 12192002"/>
              <a:gd name="connsiteY75" fmla="*/ 603538 h 2122526"/>
              <a:gd name="connsiteX76" fmla="*/ 10261101 w 12192002"/>
              <a:gd name="connsiteY76" fmla="*/ 615053 h 2122526"/>
              <a:gd name="connsiteX77" fmla="*/ 10336855 w 12192002"/>
              <a:gd name="connsiteY77" fmla="*/ 624804 h 2122526"/>
              <a:gd name="connsiteX78" fmla="*/ 10383868 w 12192002"/>
              <a:gd name="connsiteY78" fmla="*/ 625415 h 2122526"/>
              <a:gd name="connsiteX79" fmla="*/ 10445984 w 12192002"/>
              <a:gd name="connsiteY79" fmla="*/ 629262 h 2122526"/>
              <a:gd name="connsiteX80" fmla="*/ 10519280 w 12192002"/>
              <a:gd name="connsiteY80" fmla="*/ 631320 h 2122526"/>
              <a:gd name="connsiteX81" fmla="*/ 10644619 w 12192002"/>
              <a:gd name="connsiteY81" fmla="*/ 651566 h 2122526"/>
              <a:gd name="connsiteX82" fmla="*/ 10857724 w 12192002"/>
              <a:gd name="connsiteY82" fmla="*/ 712684 h 2122526"/>
              <a:gd name="connsiteX83" fmla="*/ 10951063 w 12192002"/>
              <a:gd name="connsiteY83" fmla="*/ 725767 h 2122526"/>
              <a:gd name="connsiteX84" fmla="*/ 11030956 w 12192002"/>
              <a:gd name="connsiteY84" fmla="*/ 721011 h 2122526"/>
              <a:gd name="connsiteX85" fmla="*/ 11085938 w 12192002"/>
              <a:gd name="connsiteY85" fmla="*/ 723892 h 2122526"/>
              <a:gd name="connsiteX86" fmla="*/ 11143411 w 12192002"/>
              <a:gd name="connsiteY86" fmla="*/ 733141 h 2122526"/>
              <a:gd name="connsiteX87" fmla="*/ 11195087 w 12192002"/>
              <a:gd name="connsiteY87" fmla="*/ 732494 h 2122526"/>
              <a:gd name="connsiteX88" fmla="*/ 11273972 w 12192002"/>
              <a:gd name="connsiteY88" fmla="*/ 753513 h 2122526"/>
              <a:gd name="connsiteX89" fmla="*/ 11369715 w 12192002"/>
              <a:gd name="connsiteY89" fmla="*/ 813181 h 2122526"/>
              <a:gd name="connsiteX90" fmla="*/ 11462695 w 12192002"/>
              <a:gd name="connsiteY90" fmla="*/ 874654 h 2122526"/>
              <a:gd name="connsiteX91" fmla="*/ 11516473 w 12192002"/>
              <a:gd name="connsiteY91" fmla="*/ 928206 h 2122526"/>
              <a:gd name="connsiteX92" fmla="*/ 11585369 w 12192002"/>
              <a:gd name="connsiteY92" fmla="*/ 1004898 h 2122526"/>
              <a:gd name="connsiteX93" fmla="*/ 11744187 w 12192002"/>
              <a:gd name="connsiteY93" fmla="*/ 1047864 h 2122526"/>
              <a:gd name="connsiteX94" fmla="*/ 11894613 w 12192002"/>
              <a:gd name="connsiteY94" fmla="*/ 1148265 h 2122526"/>
              <a:gd name="connsiteX95" fmla="*/ 11917888 w 12192002"/>
              <a:gd name="connsiteY95" fmla="*/ 1126105 h 2122526"/>
              <a:gd name="connsiteX96" fmla="*/ 12080164 w 12192002"/>
              <a:gd name="connsiteY96" fmla="*/ 1090885 h 2122526"/>
              <a:gd name="connsiteX97" fmla="*/ 12140863 w 12192002"/>
              <a:gd name="connsiteY97" fmla="*/ 1035036 h 2122526"/>
              <a:gd name="connsiteX98" fmla="*/ 12192002 w 12192002"/>
              <a:gd name="connsiteY98" fmla="*/ 1015838 h 2122526"/>
              <a:gd name="connsiteX99" fmla="*/ 12192002 w 12192002"/>
              <a:gd name="connsiteY99" fmla="*/ 1955549 h 2122526"/>
              <a:gd name="connsiteX100" fmla="*/ 12192000 w 12192002"/>
              <a:gd name="connsiteY100" fmla="*/ 1955549 h 2122526"/>
              <a:gd name="connsiteX101" fmla="*/ 12192000 w 12192002"/>
              <a:gd name="connsiteY101" fmla="*/ 2122526 h 2122526"/>
              <a:gd name="connsiteX102" fmla="*/ 0 w 12192002"/>
              <a:gd name="connsiteY102" fmla="*/ 2122526 h 2122526"/>
              <a:gd name="connsiteX103" fmla="*/ 0 w 12192002"/>
              <a:gd name="connsiteY103" fmla="*/ 1348327 h 2122526"/>
              <a:gd name="connsiteX104" fmla="*/ 2 w 12192002"/>
              <a:gd name="connsiteY104" fmla="*/ 1348327 h 2122526"/>
              <a:gd name="connsiteX105" fmla="*/ 2 w 12192002"/>
              <a:gd name="connsiteY105" fmla="*/ 592017 h 2122526"/>
              <a:gd name="connsiteX106" fmla="*/ 15526 w 12192002"/>
              <a:gd name="connsiteY106" fmla="*/ 586548 h 2122526"/>
              <a:gd name="connsiteX107" fmla="*/ 118381 w 12192002"/>
              <a:gd name="connsiteY107" fmla="*/ 583692 h 2122526"/>
              <a:gd name="connsiteX108" fmla="*/ 292435 w 12192002"/>
              <a:gd name="connsiteY108" fmla="*/ 531887 h 2122526"/>
              <a:gd name="connsiteX109" fmla="*/ 404015 w 12192002"/>
              <a:gd name="connsiteY109" fmla="*/ 511191 h 2122526"/>
              <a:gd name="connsiteX110" fmla="*/ 445099 w 12192002"/>
              <a:gd name="connsiteY110" fmla="*/ 505368 h 2122526"/>
              <a:gd name="connsiteX111" fmla="*/ 571717 w 12192002"/>
              <a:gd name="connsiteY111" fmla="*/ 467338 h 2122526"/>
              <a:gd name="connsiteX112" fmla="*/ 578535 w 12192002"/>
              <a:gd name="connsiteY112" fmla="*/ 467527 h 2122526"/>
              <a:gd name="connsiteX113" fmla="*/ 596792 w 12192002"/>
              <a:gd name="connsiteY113" fmla="*/ 464875 h 2122526"/>
              <a:gd name="connsiteX114" fmla="*/ 708875 w 12192002"/>
              <a:gd name="connsiteY114" fmla="*/ 422017 h 2122526"/>
              <a:gd name="connsiteX115" fmla="*/ 719742 w 12192002"/>
              <a:gd name="connsiteY115" fmla="*/ 416340 h 2122526"/>
              <a:gd name="connsiteX116" fmla="*/ 720047 w 12192002"/>
              <a:gd name="connsiteY116" fmla="*/ 415078 h 2122526"/>
              <a:gd name="connsiteX117" fmla="*/ 763053 w 12192002"/>
              <a:gd name="connsiteY117" fmla="*/ 414307 h 2122526"/>
              <a:gd name="connsiteX118" fmla="*/ 767901 w 12192002"/>
              <a:gd name="connsiteY118" fmla="*/ 412086 h 2122526"/>
              <a:gd name="connsiteX119" fmla="*/ 797041 w 12192002"/>
              <a:gd name="connsiteY119" fmla="*/ 414293 h 2122526"/>
              <a:gd name="connsiteX120" fmla="*/ 811506 w 12192002"/>
              <a:gd name="connsiteY120" fmla="*/ 413988 h 2122526"/>
              <a:gd name="connsiteX121" fmla="*/ 816809 w 12192002"/>
              <a:gd name="connsiteY121" fmla="*/ 416882 h 2122526"/>
              <a:gd name="connsiteX122" fmla="*/ 837540 w 12192002"/>
              <a:gd name="connsiteY122" fmla="*/ 414918 h 2122526"/>
              <a:gd name="connsiteX123" fmla="*/ 858269 w 12192002"/>
              <a:gd name="connsiteY123" fmla="*/ 416131 h 2122526"/>
              <a:gd name="connsiteX124" fmla="*/ 948732 w 12192002"/>
              <a:gd name="connsiteY124" fmla="*/ 404293 h 2122526"/>
              <a:gd name="connsiteX125" fmla="*/ 1149979 w 12192002"/>
              <a:gd name="connsiteY125" fmla="*/ 406698 h 2122526"/>
              <a:gd name="connsiteX126" fmla="*/ 1496110 w 12192002"/>
              <a:gd name="connsiteY126" fmla="*/ 357263 h 2122526"/>
              <a:gd name="connsiteX127" fmla="*/ 1608669 w 12192002"/>
              <a:gd name="connsiteY127" fmla="*/ 331673 h 2122526"/>
              <a:gd name="connsiteX128" fmla="*/ 1675071 w 12192002"/>
              <a:gd name="connsiteY128" fmla="*/ 324776 h 2122526"/>
              <a:gd name="connsiteX129" fmla="*/ 1738204 w 12192002"/>
              <a:gd name="connsiteY129" fmla="*/ 308427 h 2122526"/>
              <a:gd name="connsiteX130" fmla="*/ 1786655 w 12192002"/>
              <a:gd name="connsiteY130" fmla="*/ 303376 h 2122526"/>
              <a:gd name="connsiteX131" fmla="*/ 1873080 w 12192002"/>
              <a:gd name="connsiteY131" fmla="*/ 330998 h 2122526"/>
              <a:gd name="connsiteX132" fmla="*/ 1921650 w 12192002"/>
              <a:gd name="connsiteY132" fmla="*/ 332593 h 2122526"/>
              <a:gd name="connsiteX133" fmla="*/ 1928172 w 12192002"/>
              <a:gd name="connsiteY133" fmla="*/ 327762 h 2122526"/>
              <a:gd name="connsiteX134" fmla="*/ 1997356 w 12192002"/>
              <a:gd name="connsiteY134" fmla="*/ 349707 h 2122526"/>
              <a:gd name="connsiteX135" fmla="*/ 2094665 w 12192002"/>
              <a:gd name="connsiteY135" fmla="*/ 341687 h 2122526"/>
              <a:gd name="connsiteX136" fmla="*/ 2208578 w 12192002"/>
              <a:gd name="connsiteY136" fmla="*/ 324976 h 2122526"/>
              <a:gd name="connsiteX137" fmla="*/ 2315112 w 12192002"/>
              <a:gd name="connsiteY137" fmla="*/ 319743 h 2122526"/>
              <a:gd name="connsiteX138" fmla="*/ 2443255 w 12192002"/>
              <a:gd name="connsiteY138" fmla="*/ 328210 h 2122526"/>
              <a:gd name="connsiteX139" fmla="*/ 2568028 w 12192002"/>
              <a:gd name="connsiteY139" fmla="*/ 342111 h 2122526"/>
              <a:gd name="connsiteX140" fmla="*/ 2646527 w 12192002"/>
              <a:gd name="connsiteY140" fmla="*/ 315870 h 2122526"/>
              <a:gd name="connsiteX141" fmla="*/ 2781569 w 12192002"/>
              <a:gd name="connsiteY141" fmla="*/ 326406 h 2122526"/>
              <a:gd name="connsiteX142" fmla="*/ 3030291 w 12192002"/>
              <a:gd name="connsiteY142" fmla="*/ 348227 h 2122526"/>
              <a:gd name="connsiteX143" fmla="*/ 3142556 w 12192002"/>
              <a:gd name="connsiteY143" fmla="*/ 350870 h 2122526"/>
              <a:gd name="connsiteX144" fmla="*/ 3262356 w 12192002"/>
              <a:gd name="connsiteY144" fmla="*/ 358645 h 2122526"/>
              <a:gd name="connsiteX145" fmla="*/ 3341698 w 12192002"/>
              <a:gd name="connsiteY145" fmla="*/ 364522 h 2122526"/>
              <a:gd name="connsiteX146" fmla="*/ 3344026 w 12192002"/>
              <a:gd name="connsiteY146" fmla="*/ 363547 h 2122526"/>
              <a:gd name="connsiteX147" fmla="*/ 3363888 w 12192002"/>
              <a:gd name="connsiteY147" fmla="*/ 365229 h 2122526"/>
              <a:gd name="connsiteX148" fmla="*/ 3400728 w 12192002"/>
              <a:gd name="connsiteY148" fmla="*/ 382181 h 2122526"/>
              <a:gd name="connsiteX149" fmla="*/ 3473223 w 12192002"/>
              <a:gd name="connsiteY149" fmla="*/ 370133 h 2122526"/>
              <a:gd name="connsiteX150" fmla="*/ 3536135 w 12192002"/>
              <a:gd name="connsiteY150" fmla="*/ 366472 h 2122526"/>
              <a:gd name="connsiteX151" fmla="*/ 3585978 w 12192002"/>
              <a:gd name="connsiteY151" fmla="*/ 356773 h 2122526"/>
              <a:gd name="connsiteX152" fmla="*/ 3594501 w 12192002"/>
              <a:gd name="connsiteY152" fmla="*/ 357463 h 2122526"/>
              <a:gd name="connsiteX153" fmla="*/ 3594736 w 12192002"/>
              <a:gd name="connsiteY153" fmla="*/ 357194 h 2122526"/>
              <a:gd name="connsiteX154" fmla="*/ 3603855 w 12192002"/>
              <a:gd name="connsiteY154" fmla="*/ 357358 h 2122526"/>
              <a:gd name="connsiteX155" fmla="*/ 3610035 w 12192002"/>
              <a:gd name="connsiteY155" fmla="*/ 358720 h 2122526"/>
              <a:gd name="connsiteX156" fmla="*/ 3682513 w 12192002"/>
              <a:gd name="connsiteY156" fmla="*/ 326449 h 2122526"/>
              <a:gd name="connsiteX157" fmla="*/ 3789760 w 12192002"/>
              <a:gd name="connsiteY157" fmla="*/ 302526 h 2122526"/>
              <a:gd name="connsiteX158" fmla="*/ 3897275 w 12192002"/>
              <a:gd name="connsiteY158" fmla="*/ 282288 h 2122526"/>
              <a:gd name="connsiteX159" fmla="*/ 3936846 w 12192002"/>
              <a:gd name="connsiteY159" fmla="*/ 276633 h 2122526"/>
              <a:gd name="connsiteX160" fmla="*/ 4004538 w 12192002"/>
              <a:gd name="connsiteY160" fmla="*/ 259176 h 2122526"/>
              <a:gd name="connsiteX161" fmla="*/ 4033778 w 12192002"/>
              <a:gd name="connsiteY161" fmla="*/ 246608 h 2122526"/>
              <a:gd name="connsiteX162" fmla="*/ 4035363 w 12192002"/>
              <a:gd name="connsiteY162" fmla="*/ 246843 h 2122526"/>
              <a:gd name="connsiteX163" fmla="*/ 4036996 w 12192002"/>
              <a:gd name="connsiteY163" fmla="*/ 243176 h 2122526"/>
              <a:gd name="connsiteX164" fmla="*/ 4042364 w 12192002"/>
              <a:gd name="connsiteY164" fmla="*/ 240742 h 2122526"/>
              <a:gd name="connsiteX165" fmla="*/ 4058954 w 12192002"/>
              <a:gd name="connsiteY165" fmla="*/ 239121 h 2122526"/>
              <a:gd name="connsiteX166" fmla="*/ 4065510 w 12192002"/>
              <a:gd name="connsiteY166" fmla="*/ 239339 h 2122526"/>
              <a:gd name="connsiteX167" fmla="*/ 4074427 w 12192002"/>
              <a:gd name="connsiteY167" fmla="*/ 237895 h 2122526"/>
              <a:gd name="connsiteX168" fmla="*/ 4074546 w 12192002"/>
              <a:gd name="connsiteY168" fmla="*/ 237596 h 2122526"/>
              <a:gd name="connsiteX169" fmla="*/ 4083097 w 12192002"/>
              <a:gd name="connsiteY169" fmla="*/ 236761 h 2122526"/>
              <a:gd name="connsiteX170" fmla="*/ 4142745 w 12192002"/>
              <a:gd name="connsiteY170" fmla="*/ 210228 h 2122526"/>
              <a:gd name="connsiteX171" fmla="*/ 4191248 w 12192002"/>
              <a:gd name="connsiteY171" fmla="*/ 194363 h 2122526"/>
              <a:gd name="connsiteX172" fmla="*/ 4201744 w 12192002"/>
              <a:gd name="connsiteY172" fmla="*/ 188729 h 2122526"/>
              <a:gd name="connsiteX173" fmla="*/ 4202048 w 12192002"/>
              <a:gd name="connsiteY173" fmla="*/ 187470 h 2122526"/>
              <a:gd name="connsiteX174" fmla="*/ 4248116 w 12192002"/>
              <a:gd name="connsiteY174" fmla="*/ 184675 h 2122526"/>
              <a:gd name="connsiteX175" fmla="*/ 4276141 w 12192002"/>
              <a:gd name="connsiteY175" fmla="*/ 186999 h 2122526"/>
              <a:gd name="connsiteX176" fmla="*/ 4290062 w 12192002"/>
              <a:gd name="connsiteY176" fmla="*/ 186753 h 2122526"/>
              <a:gd name="connsiteX177" fmla="*/ 4295143 w 12192002"/>
              <a:gd name="connsiteY177" fmla="*/ 189670 h 2122526"/>
              <a:gd name="connsiteX178" fmla="*/ 4315108 w 12192002"/>
              <a:gd name="connsiteY178" fmla="*/ 187791 h 2122526"/>
              <a:gd name="connsiteX179" fmla="*/ 4316965 w 12192002"/>
              <a:gd name="connsiteY179" fmla="*/ 186450 h 2122526"/>
              <a:gd name="connsiteX180" fmla="*/ 4362875 w 12192002"/>
              <a:gd name="connsiteY180" fmla="*/ 193065 h 2122526"/>
              <a:gd name="connsiteX181" fmla="*/ 4428542 w 12192002"/>
              <a:gd name="connsiteY181" fmla="*/ 191719 h 2122526"/>
              <a:gd name="connsiteX182" fmla="*/ 4515813 w 12192002"/>
              <a:gd name="connsiteY182" fmla="*/ 181068 h 2122526"/>
              <a:gd name="connsiteX183" fmla="*/ 4715526 w 12192002"/>
              <a:gd name="connsiteY183" fmla="*/ 171166 h 2122526"/>
              <a:gd name="connsiteX184" fmla="*/ 4762447 w 12192002"/>
              <a:gd name="connsiteY184" fmla="*/ 162678 h 2122526"/>
              <a:gd name="connsiteX185" fmla="*/ 4840439 w 12192002"/>
              <a:gd name="connsiteY185" fmla="*/ 134910 h 2122526"/>
              <a:gd name="connsiteX186" fmla="*/ 5011513 w 12192002"/>
              <a:gd name="connsiteY186" fmla="*/ 110893 h 2122526"/>
              <a:gd name="connsiteX187" fmla="*/ 5065790 w 12192002"/>
              <a:gd name="connsiteY187" fmla="*/ 94512 h 2122526"/>
              <a:gd name="connsiteX188" fmla="*/ 5121659 w 12192002"/>
              <a:gd name="connsiteY188" fmla="*/ 101083 h 2122526"/>
              <a:gd name="connsiteX189" fmla="*/ 5139595 w 12192002"/>
              <a:gd name="connsiteY189" fmla="*/ 90230 h 2122526"/>
              <a:gd name="connsiteX190" fmla="*/ 5142598 w 12192002"/>
              <a:gd name="connsiteY190" fmla="*/ 88129 h 2122526"/>
              <a:gd name="connsiteX191" fmla="*/ 5156554 w 12192002"/>
              <a:gd name="connsiteY191" fmla="*/ 84729 h 2122526"/>
              <a:gd name="connsiteX192" fmla="*/ 5174660 w 12192002"/>
              <a:gd name="connsiteY192" fmla="*/ 77506 h 2122526"/>
              <a:gd name="connsiteX193" fmla="*/ 5222961 w 12192002"/>
              <a:gd name="connsiteY193" fmla="*/ 74516 h 2122526"/>
              <a:gd name="connsiteX194" fmla="*/ 5261763 w 12192002"/>
              <a:gd name="connsiteY194" fmla="*/ 63392 h 2122526"/>
              <a:gd name="connsiteX195" fmla="*/ 5381667 w 12192002"/>
              <a:gd name="connsiteY195" fmla="*/ 42975 h 2122526"/>
              <a:gd name="connsiteX196" fmla="*/ 5432760 w 12192002"/>
              <a:gd name="connsiteY196" fmla="*/ 25273 h 2122526"/>
              <a:gd name="connsiteX197" fmla="*/ 5470905 w 12192002"/>
              <a:gd name="connsiteY197" fmla="*/ 14020 h 2122526"/>
              <a:gd name="connsiteX198" fmla="*/ 5626960 w 12192002"/>
              <a:gd name="connsiteY198" fmla="*/ 0 h 2122526"/>
              <a:gd name="connsiteX0" fmla="*/ 5626960 w 12192002"/>
              <a:gd name="connsiteY0" fmla="*/ 0 h 2122526"/>
              <a:gd name="connsiteX1" fmla="*/ 5758918 w 12192002"/>
              <a:gd name="connsiteY1" fmla="*/ 1023 h 2122526"/>
              <a:gd name="connsiteX2" fmla="*/ 5957375 w 12192002"/>
              <a:gd name="connsiteY2" fmla="*/ 16715 h 2122526"/>
              <a:gd name="connsiteX3" fmla="*/ 6010090 w 12192002"/>
              <a:gd name="connsiteY3" fmla="*/ 20359 h 2122526"/>
              <a:gd name="connsiteX4" fmla="*/ 6041282 w 12192002"/>
              <a:gd name="connsiteY4" fmla="*/ 15266 h 2122526"/>
              <a:gd name="connsiteX5" fmla="*/ 6048637 w 12192002"/>
              <a:gd name="connsiteY5" fmla="*/ 6917 h 2122526"/>
              <a:gd name="connsiteX6" fmla="*/ 6068529 w 12192002"/>
              <a:gd name="connsiteY6" fmla="*/ 7600 h 2122526"/>
              <a:gd name="connsiteX7" fmla="*/ 6073847 w 12192002"/>
              <a:gd name="connsiteY7" fmla="*/ 6063 h 2122526"/>
              <a:gd name="connsiteX8" fmla="*/ 6168673 w 12192002"/>
              <a:gd name="connsiteY8" fmla="*/ 26525 h 2122526"/>
              <a:gd name="connsiteX9" fmla="*/ 6317559 w 12192002"/>
              <a:gd name="connsiteY9" fmla="*/ 28612 h 2122526"/>
              <a:gd name="connsiteX10" fmla="*/ 6549454 w 12192002"/>
              <a:gd name="connsiteY10" fmla="*/ 75412 h 2122526"/>
              <a:gd name="connsiteX11" fmla="*/ 6708221 w 12192002"/>
              <a:gd name="connsiteY11" fmla="*/ 104188 h 2122526"/>
              <a:gd name="connsiteX12" fmla="*/ 6904145 w 12192002"/>
              <a:gd name="connsiteY12" fmla="*/ 132143 h 2122526"/>
              <a:gd name="connsiteX13" fmla="*/ 7018495 w 12192002"/>
              <a:gd name="connsiteY13" fmla="*/ 161649 h 2122526"/>
              <a:gd name="connsiteX14" fmla="*/ 7096987 w 12192002"/>
              <a:gd name="connsiteY14" fmla="*/ 161275 h 2122526"/>
              <a:gd name="connsiteX15" fmla="*/ 7170807 w 12192002"/>
              <a:gd name="connsiteY15" fmla="*/ 173503 h 2122526"/>
              <a:gd name="connsiteX16" fmla="*/ 7197003 w 12192002"/>
              <a:gd name="connsiteY16" fmla="*/ 178151 h 2122526"/>
              <a:gd name="connsiteX17" fmla="*/ 7201101 w 12192002"/>
              <a:gd name="connsiteY17" fmla="*/ 183509 h 2122526"/>
              <a:gd name="connsiteX18" fmla="*/ 7218559 w 12192002"/>
              <a:gd name="connsiteY18" fmla="*/ 188059 h 2122526"/>
              <a:gd name="connsiteX19" fmla="*/ 7310852 w 12192002"/>
              <a:gd name="connsiteY19" fmla="*/ 213308 h 2122526"/>
              <a:gd name="connsiteX20" fmla="*/ 7312179 w 12192002"/>
              <a:gd name="connsiteY20" fmla="*/ 211866 h 2122526"/>
              <a:gd name="connsiteX21" fmla="*/ 7405390 w 12192002"/>
              <a:gd name="connsiteY21" fmla="*/ 202271 h 2122526"/>
              <a:gd name="connsiteX22" fmla="*/ 7495794 w 12192002"/>
              <a:gd name="connsiteY22" fmla="*/ 194166 h 2122526"/>
              <a:gd name="connsiteX23" fmla="*/ 7507039 w 12192002"/>
              <a:gd name="connsiteY23" fmla="*/ 196118 h 2122526"/>
              <a:gd name="connsiteX24" fmla="*/ 7507411 w 12192002"/>
              <a:gd name="connsiteY24" fmla="*/ 195791 h 2122526"/>
              <a:gd name="connsiteX25" fmla="*/ 7519570 w 12192002"/>
              <a:gd name="connsiteY25" fmla="*/ 197126 h 2122526"/>
              <a:gd name="connsiteX26" fmla="*/ 7527542 w 12192002"/>
              <a:gd name="connsiteY26" fmla="*/ 199679 h 2122526"/>
              <a:gd name="connsiteX27" fmla="*/ 7614346 w 12192002"/>
              <a:gd name="connsiteY27" fmla="*/ 205507 h 2122526"/>
              <a:gd name="connsiteX28" fmla="*/ 7718744 w 12192002"/>
              <a:gd name="connsiteY28" fmla="*/ 202036 h 2122526"/>
              <a:gd name="connsiteX29" fmla="*/ 7905407 w 12192002"/>
              <a:gd name="connsiteY29" fmla="*/ 227751 h 2122526"/>
              <a:gd name="connsiteX30" fmla="*/ 8090271 w 12192002"/>
              <a:gd name="connsiteY30" fmla="*/ 269724 h 2122526"/>
              <a:gd name="connsiteX31" fmla="*/ 8245834 w 12192002"/>
              <a:gd name="connsiteY31" fmla="*/ 315885 h 2122526"/>
              <a:gd name="connsiteX32" fmla="*/ 8252033 w 12192002"/>
              <a:gd name="connsiteY32" fmla="*/ 328877 h 2122526"/>
              <a:gd name="connsiteX33" fmla="*/ 8263376 w 12192002"/>
              <a:gd name="connsiteY33" fmla="*/ 338720 h 2122526"/>
              <a:gd name="connsiteX34" fmla="*/ 8266075 w 12192002"/>
              <a:gd name="connsiteY34" fmla="*/ 338490 h 2122526"/>
              <a:gd name="connsiteX35" fmla="*/ 8283149 w 12192002"/>
              <a:gd name="connsiteY35" fmla="*/ 345665 h 2122526"/>
              <a:gd name="connsiteX36" fmla="*/ 8284276 w 12192002"/>
              <a:gd name="connsiteY36" fmla="*/ 350108 h 2122526"/>
              <a:gd name="connsiteX37" fmla="*/ 8295173 w 12192002"/>
              <a:gd name="connsiteY37" fmla="*/ 355931 h 2122526"/>
              <a:gd name="connsiteX38" fmla="*/ 8314432 w 12192002"/>
              <a:gd name="connsiteY38" fmla="*/ 369826 h 2122526"/>
              <a:gd name="connsiteX39" fmla="*/ 8320104 w 12192002"/>
              <a:gd name="connsiteY39" fmla="*/ 370152 h 2122526"/>
              <a:gd name="connsiteX40" fmla="*/ 8352372 w 12192002"/>
              <a:gd name="connsiteY40" fmla="*/ 387570 h 2122526"/>
              <a:gd name="connsiteX41" fmla="*/ 8353799 w 12192002"/>
              <a:gd name="connsiteY41" fmla="*/ 386730 h 2122526"/>
              <a:gd name="connsiteX42" fmla="*/ 8367182 w 12192002"/>
              <a:gd name="connsiteY42" fmla="*/ 386924 h 2122526"/>
              <a:gd name="connsiteX43" fmla="*/ 8490249 w 12192002"/>
              <a:gd name="connsiteY43" fmla="*/ 400966 h 2122526"/>
              <a:gd name="connsiteX44" fmla="*/ 8497594 w 12192002"/>
              <a:gd name="connsiteY44" fmla="*/ 404016 h 2122526"/>
              <a:gd name="connsiteX45" fmla="*/ 8497968 w 12192002"/>
              <a:gd name="connsiteY45" fmla="*/ 403837 h 2122526"/>
              <a:gd name="connsiteX46" fmla="*/ 8506167 w 12192002"/>
              <a:gd name="connsiteY46" fmla="*/ 406575 h 2122526"/>
              <a:gd name="connsiteX47" fmla="*/ 8510983 w 12192002"/>
              <a:gd name="connsiteY47" fmla="*/ 409576 h 2122526"/>
              <a:gd name="connsiteX48" fmla="*/ 8525230 w 12192002"/>
              <a:gd name="connsiteY48" fmla="*/ 415491 h 2122526"/>
              <a:gd name="connsiteX49" fmla="*/ 8596071 w 12192002"/>
              <a:gd name="connsiteY49" fmla="*/ 400649 h 2122526"/>
              <a:gd name="connsiteX50" fmla="*/ 8707847 w 12192002"/>
              <a:gd name="connsiteY50" fmla="*/ 409221 h 2122526"/>
              <a:gd name="connsiteX51" fmla="*/ 8752444 w 12192002"/>
              <a:gd name="connsiteY51" fmla="*/ 411322 h 2122526"/>
              <a:gd name="connsiteX52" fmla="*/ 8928988 w 12192002"/>
              <a:gd name="connsiteY52" fmla="*/ 430554 h 2122526"/>
              <a:gd name="connsiteX53" fmla="*/ 8963048 w 12192002"/>
              <a:gd name="connsiteY53" fmla="*/ 427366 h 2122526"/>
              <a:gd name="connsiteX54" fmla="*/ 8968011 w 12192002"/>
              <a:gd name="connsiteY54" fmla="*/ 425141 h 2122526"/>
              <a:gd name="connsiteX55" fmla="*/ 8974337 w 12192002"/>
              <a:gd name="connsiteY55" fmla="*/ 424441 h 2122526"/>
              <a:gd name="connsiteX56" fmla="*/ 8990394 w 12192002"/>
              <a:gd name="connsiteY56" fmla="*/ 427667 h 2122526"/>
              <a:gd name="connsiteX57" fmla="*/ 8996232 w 12192002"/>
              <a:gd name="connsiteY57" fmla="*/ 429728 h 2122526"/>
              <a:gd name="connsiteX58" fmla="*/ 9005201 w 12192002"/>
              <a:gd name="connsiteY58" fmla="*/ 430939 h 2122526"/>
              <a:gd name="connsiteX59" fmla="*/ 9005486 w 12192002"/>
              <a:gd name="connsiteY59" fmla="*/ 430699 h 2122526"/>
              <a:gd name="connsiteX60" fmla="*/ 9053453 w 12192002"/>
              <a:gd name="connsiteY60" fmla="*/ 433984 h 2122526"/>
              <a:gd name="connsiteX61" fmla="*/ 9113812 w 12192002"/>
              <a:gd name="connsiteY61" fmla="*/ 425670 h 2122526"/>
              <a:gd name="connsiteX62" fmla="*/ 9137318 w 12192002"/>
              <a:gd name="connsiteY62" fmla="*/ 424304 h 2122526"/>
              <a:gd name="connsiteX63" fmla="*/ 9150210 w 12192002"/>
              <a:gd name="connsiteY63" fmla="*/ 422135 h 2122526"/>
              <a:gd name="connsiteX64" fmla="*/ 9151232 w 12192002"/>
              <a:gd name="connsiteY64" fmla="*/ 421070 h 2122526"/>
              <a:gd name="connsiteX65" fmla="*/ 9189246 w 12192002"/>
              <a:gd name="connsiteY65" fmla="*/ 432272 h 2122526"/>
              <a:gd name="connsiteX66" fmla="*/ 9194810 w 12192002"/>
              <a:gd name="connsiteY66" fmla="*/ 441511 h 2122526"/>
              <a:gd name="connsiteX67" fmla="*/ 9231370 w 12192002"/>
              <a:gd name="connsiteY67" fmla="*/ 451590 h 2122526"/>
              <a:gd name="connsiteX68" fmla="*/ 9343052 w 12192002"/>
              <a:gd name="connsiteY68" fmla="*/ 503495 h 2122526"/>
              <a:gd name="connsiteX69" fmla="*/ 9584507 w 12192002"/>
              <a:gd name="connsiteY69" fmla="*/ 549197 h 2122526"/>
              <a:gd name="connsiteX70" fmla="*/ 9728309 w 12192002"/>
              <a:gd name="connsiteY70" fmla="*/ 560617 h 2122526"/>
              <a:gd name="connsiteX71" fmla="*/ 9847792 w 12192002"/>
              <a:gd name="connsiteY71" fmla="*/ 580824 h 2122526"/>
              <a:gd name="connsiteX72" fmla="*/ 9960019 w 12192002"/>
              <a:gd name="connsiteY72" fmla="*/ 587592 h 2122526"/>
              <a:gd name="connsiteX73" fmla="*/ 10039240 w 12192002"/>
              <a:gd name="connsiteY73" fmla="*/ 603107 h 2122526"/>
              <a:gd name="connsiteX74" fmla="*/ 10082169 w 12192002"/>
              <a:gd name="connsiteY74" fmla="*/ 601443 h 2122526"/>
              <a:gd name="connsiteX75" fmla="*/ 10126500 w 12192002"/>
              <a:gd name="connsiteY75" fmla="*/ 603538 h 2122526"/>
              <a:gd name="connsiteX76" fmla="*/ 10261101 w 12192002"/>
              <a:gd name="connsiteY76" fmla="*/ 615053 h 2122526"/>
              <a:gd name="connsiteX77" fmla="*/ 10336855 w 12192002"/>
              <a:gd name="connsiteY77" fmla="*/ 624804 h 2122526"/>
              <a:gd name="connsiteX78" fmla="*/ 10383868 w 12192002"/>
              <a:gd name="connsiteY78" fmla="*/ 625415 h 2122526"/>
              <a:gd name="connsiteX79" fmla="*/ 10445984 w 12192002"/>
              <a:gd name="connsiteY79" fmla="*/ 629262 h 2122526"/>
              <a:gd name="connsiteX80" fmla="*/ 10519280 w 12192002"/>
              <a:gd name="connsiteY80" fmla="*/ 631320 h 2122526"/>
              <a:gd name="connsiteX81" fmla="*/ 10644619 w 12192002"/>
              <a:gd name="connsiteY81" fmla="*/ 651566 h 2122526"/>
              <a:gd name="connsiteX82" fmla="*/ 10857724 w 12192002"/>
              <a:gd name="connsiteY82" fmla="*/ 712684 h 2122526"/>
              <a:gd name="connsiteX83" fmla="*/ 10951063 w 12192002"/>
              <a:gd name="connsiteY83" fmla="*/ 725767 h 2122526"/>
              <a:gd name="connsiteX84" fmla="*/ 11030956 w 12192002"/>
              <a:gd name="connsiteY84" fmla="*/ 721011 h 2122526"/>
              <a:gd name="connsiteX85" fmla="*/ 11085938 w 12192002"/>
              <a:gd name="connsiteY85" fmla="*/ 723892 h 2122526"/>
              <a:gd name="connsiteX86" fmla="*/ 11143411 w 12192002"/>
              <a:gd name="connsiteY86" fmla="*/ 733141 h 2122526"/>
              <a:gd name="connsiteX87" fmla="*/ 11195087 w 12192002"/>
              <a:gd name="connsiteY87" fmla="*/ 732494 h 2122526"/>
              <a:gd name="connsiteX88" fmla="*/ 11273972 w 12192002"/>
              <a:gd name="connsiteY88" fmla="*/ 753513 h 2122526"/>
              <a:gd name="connsiteX89" fmla="*/ 11369715 w 12192002"/>
              <a:gd name="connsiteY89" fmla="*/ 813181 h 2122526"/>
              <a:gd name="connsiteX90" fmla="*/ 11462695 w 12192002"/>
              <a:gd name="connsiteY90" fmla="*/ 874654 h 2122526"/>
              <a:gd name="connsiteX91" fmla="*/ 11516473 w 12192002"/>
              <a:gd name="connsiteY91" fmla="*/ 928206 h 2122526"/>
              <a:gd name="connsiteX92" fmla="*/ 11585369 w 12192002"/>
              <a:gd name="connsiteY92" fmla="*/ 1004898 h 2122526"/>
              <a:gd name="connsiteX93" fmla="*/ 11744187 w 12192002"/>
              <a:gd name="connsiteY93" fmla="*/ 1047864 h 2122526"/>
              <a:gd name="connsiteX94" fmla="*/ 11894613 w 12192002"/>
              <a:gd name="connsiteY94" fmla="*/ 1148265 h 2122526"/>
              <a:gd name="connsiteX95" fmla="*/ 11917888 w 12192002"/>
              <a:gd name="connsiteY95" fmla="*/ 1126105 h 2122526"/>
              <a:gd name="connsiteX96" fmla="*/ 12080164 w 12192002"/>
              <a:gd name="connsiteY96" fmla="*/ 1090885 h 2122526"/>
              <a:gd name="connsiteX97" fmla="*/ 12140863 w 12192002"/>
              <a:gd name="connsiteY97" fmla="*/ 1035036 h 2122526"/>
              <a:gd name="connsiteX98" fmla="*/ 12192002 w 12192002"/>
              <a:gd name="connsiteY98" fmla="*/ 1015838 h 2122526"/>
              <a:gd name="connsiteX99" fmla="*/ 12192002 w 12192002"/>
              <a:gd name="connsiteY99" fmla="*/ 1955549 h 2122526"/>
              <a:gd name="connsiteX100" fmla="*/ 12192000 w 12192002"/>
              <a:gd name="connsiteY100" fmla="*/ 1955549 h 2122526"/>
              <a:gd name="connsiteX101" fmla="*/ 12192000 w 12192002"/>
              <a:gd name="connsiteY101" fmla="*/ 2122526 h 2122526"/>
              <a:gd name="connsiteX102" fmla="*/ 0 w 12192002"/>
              <a:gd name="connsiteY102" fmla="*/ 2122526 h 2122526"/>
              <a:gd name="connsiteX103" fmla="*/ 0 w 12192002"/>
              <a:gd name="connsiteY103" fmla="*/ 1348327 h 2122526"/>
              <a:gd name="connsiteX104" fmla="*/ 2 w 12192002"/>
              <a:gd name="connsiteY104" fmla="*/ 1348327 h 2122526"/>
              <a:gd name="connsiteX105" fmla="*/ 2 w 12192002"/>
              <a:gd name="connsiteY105" fmla="*/ 592017 h 2122526"/>
              <a:gd name="connsiteX106" fmla="*/ 15526 w 12192002"/>
              <a:gd name="connsiteY106" fmla="*/ 586548 h 2122526"/>
              <a:gd name="connsiteX107" fmla="*/ 118381 w 12192002"/>
              <a:gd name="connsiteY107" fmla="*/ 583692 h 2122526"/>
              <a:gd name="connsiteX108" fmla="*/ 292435 w 12192002"/>
              <a:gd name="connsiteY108" fmla="*/ 531887 h 2122526"/>
              <a:gd name="connsiteX109" fmla="*/ 404015 w 12192002"/>
              <a:gd name="connsiteY109" fmla="*/ 511191 h 2122526"/>
              <a:gd name="connsiteX110" fmla="*/ 445099 w 12192002"/>
              <a:gd name="connsiteY110" fmla="*/ 505368 h 2122526"/>
              <a:gd name="connsiteX111" fmla="*/ 571717 w 12192002"/>
              <a:gd name="connsiteY111" fmla="*/ 467338 h 2122526"/>
              <a:gd name="connsiteX112" fmla="*/ 578535 w 12192002"/>
              <a:gd name="connsiteY112" fmla="*/ 467527 h 2122526"/>
              <a:gd name="connsiteX113" fmla="*/ 596792 w 12192002"/>
              <a:gd name="connsiteY113" fmla="*/ 464875 h 2122526"/>
              <a:gd name="connsiteX114" fmla="*/ 708875 w 12192002"/>
              <a:gd name="connsiteY114" fmla="*/ 422017 h 2122526"/>
              <a:gd name="connsiteX115" fmla="*/ 719742 w 12192002"/>
              <a:gd name="connsiteY115" fmla="*/ 416340 h 2122526"/>
              <a:gd name="connsiteX116" fmla="*/ 720047 w 12192002"/>
              <a:gd name="connsiteY116" fmla="*/ 415078 h 2122526"/>
              <a:gd name="connsiteX117" fmla="*/ 763053 w 12192002"/>
              <a:gd name="connsiteY117" fmla="*/ 414307 h 2122526"/>
              <a:gd name="connsiteX118" fmla="*/ 767901 w 12192002"/>
              <a:gd name="connsiteY118" fmla="*/ 412086 h 2122526"/>
              <a:gd name="connsiteX119" fmla="*/ 797041 w 12192002"/>
              <a:gd name="connsiteY119" fmla="*/ 414293 h 2122526"/>
              <a:gd name="connsiteX120" fmla="*/ 811506 w 12192002"/>
              <a:gd name="connsiteY120" fmla="*/ 413988 h 2122526"/>
              <a:gd name="connsiteX121" fmla="*/ 816809 w 12192002"/>
              <a:gd name="connsiteY121" fmla="*/ 416882 h 2122526"/>
              <a:gd name="connsiteX122" fmla="*/ 837540 w 12192002"/>
              <a:gd name="connsiteY122" fmla="*/ 414918 h 2122526"/>
              <a:gd name="connsiteX123" fmla="*/ 858269 w 12192002"/>
              <a:gd name="connsiteY123" fmla="*/ 416131 h 2122526"/>
              <a:gd name="connsiteX124" fmla="*/ 948732 w 12192002"/>
              <a:gd name="connsiteY124" fmla="*/ 404293 h 2122526"/>
              <a:gd name="connsiteX125" fmla="*/ 1149979 w 12192002"/>
              <a:gd name="connsiteY125" fmla="*/ 406698 h 2122526"/>
              <a:gd name="connsiteX126" fmla="*/ 1496110 w 12192002"/>
              <a:gd name="connsiteY126" fmla="*/ 357263 h 2122526"/>
              <a:gd name="connsiteX127" fmla="*/ 1608669 w 12192002"/>
              <a:gd name="connsiteY127" fmla="*/ 331673 h 2122526"/>
              <a:gd name="connsiteX128" fmla="*/ 1675071 w 12192002"/>
              <a:gd name="connsiteY128" fmla="*/ 324776 h 2122526"/>
              <a:gd name="connsiteX129" fmla="*/ 1738204 w 12192002"/>
              <a:gd name="connsiteY129" fmla="*/ 308427 h 2122526"/>
              <a:gd name="connsiteX130" fmla="*/ 1786655 w 12192002"/>
              <a:gd name="connsiteY130" fmla="*/ 303376 h 2122526"/>
              <a:gd name="connsiteX131" fmla="*/ 1873080 w 12192002"/>
              <a:gd name="connsiteY131" fmla="*/ 330998 h 2122526"/>
              <a:gd name="connsiteX132" fmla="*/ 1921650 w 12192002"/>
              <a:gd name="connsiteY132" fmla="*/ 332593 h 2122526"/>
              <a:gd name="connsiteX133" fmla="*/ 1928172 w 12192002"/>
              <a:gd name="connsiteY133" fmla="*/ 327762 h 2122526"/>
              <a:gd name="connsiteX134" fmla="*/ 1997356 w 12192002"/>
              <a:gd name="connsiteY134" fmla="*/ 349707 h 2122526"/>
              <a:gd name="connsiteX135" fmla="*/ 2094665 w 12192002"/>
              <a:gd name="connsiteY135" fmla="*/ 341687 h 2122526"/>
              <a:gd name="connsiteX136" fmla="*/ 2208578 w 12192002"/>
              <a:gd name="connsiteY136" fmla="*/ 324976 h 2122526"/>
              <a:gd name="connsiteX137" fmla="*/ 2315112 w 12192002"/>
              <a:gd name="connsiteY137" fmla="*/ 319743 h 2122526"/>
              <a:gd name="connsiteX138" fmla="*/ 2443255 w 12192002"/>
              <a:gd name="connsiteY138" fmla="*/ 328210 h 2122526"/>
              <a:gd name="connsiteX139" fmla="*/ 2568028 w 12192002"/>
              <a:gd name="connsiteY139" fmla="*/ 342111 h 2122526"/>
              <a:gd name="connsiteX140" fmla="*/ 2646527 w 12192002"/>
              <a:gd name="connsiteY140" fmla="*/ 315870 h 2122526"/>
              <a:gd name="connsiteX141" fmla="*/ 2781569 w 12192002"/>
              <a:gd name="connsiteY141" fmla="*/ 326406 h 2122526"/>
              <a:gd name="connsiteX142" fmla="*/ 3030291 w 12192002"/>
              <a:gd name="connsiteY142" fmla="*/ 348227 h 2122526"/>
              <a:gd name="connsiteX143" fmla="*/ 3142556 w 12192002"/>
              <a:gd name="connsiteY143" fmla="*/ 350870 h 2122526"/>
              <a:gd name="connsiteX144" fmla="*/ 3262356 w 12192002"/>
              <a:gd name="connsiteY144" fmla="*/ 358645 h 2122526"/>
              <a:gd name="connsiteX145" fmla="*/ 3341698 w 12192002"/>
              <a:gd name="connsiteY145" fmla="*/ 364522 h 2122526"/>
              <a:gd name="connsiteX146" fmla="*/ 3344026 w 12192002"/>
              <a:gd name="connsiteY146" fmla="*/ 363547 h 2122526"/>
              <a:gd name="connsiteX147" fmla="*/ 3363888 w 12192002"/>
              <a:gd name="connsiteY147" fmla="*/ 365229 h 2122526"/>
              <a:gd name="connsiteX148" fmla="*/ 3400728 w 12192002"/>
              <a:gd name="connsiteY148" fmla="*/ 382181 h 2122526"/>
              <a:gd name="connsiteX149" fmla="*/ 3473223 w 12192002"/>
              <a:gd name="connsiteY149" fmla="*/ 370133 h 2122526"/>
              <a:gd name="connsiteX150" fmla="*/ 3536135 w 12192002"/>
              <a:gd name="connsiteY150" fmla="*/ 366472 h 2122526"/>
              <a:gd name="connsiteX151" fmla="*/ 3585978 w 12192002"/>
              <a:gd name="connsiteY151" fmla="*/ 356773 h 2122526"/>
              <a:gd name="connsiteX152" fmla="*/ 3594501 w 12192002"/>
              <a:gd name="connsiteY152" fmla="*/ 357463 h 2122526"/>
              <a:gd name="connsiteX153" fmla="*/ 3594736 w 12192002"/>
              <a:gd name="connsiteY153" fmla="*/ 357194 h 2122526"/>
              <a:gd name="connsiteX154" fmla="*/ 3603855 w 12192002"/>
              <a:gd name="connsiteY154" fmla="*/ 357358 h 2122526"/>
              <a:gd name="connsiteX155" fmla="*/ 3610035 w 12192002"/>
              <a:gd name="connsiteY155" fmla="*/ 358720 h 2122526"/>
              <a:gd name="connsiteX156" fmla="*/ 3682513 w 12192002"/>
              <a:gd name="connsiteY156" fmla="*/ 326449 h 2122526"/>
              <a:gd name="connsiteX157" fmla="*/ 3789760 w 12192002"/>
              <a:gd name="connsiteY157" fmla="*/ 302526 h 2122526"/>
              <a:gd name="connsiteX158" fmla="*/ 3897275 w 12192002"/>
              <a:gd name="connsiteY158" fmla="*/ 282288 h 2122526"/>
              <a:gd name="connsiteX159" fmla="*/ 3936846 w 12192002"/>
              <a:gd name="connsiteY159" fmla="*/ 276633 h 2122526"/>
              <a:gd name="connsiteX160" fmla="*/ 4004538 w 12192002"/>
              <a:gd name="connsiteY160" fmla="*/ 259176 h 2122526"/>
              <a:gd name="connsiteX161" fmla="*/ 4033778 w 12192002"/>
              <a:gd name="connsiteY161" fmla="*/ 246608 h 2122526"/>
              <a:gd name="connsiteX162" fmla="*/ 4035363 w 12192002"/>
              <a:gd name="connsiteY162" fmla="*/ 246843 h 2122526"/>
              <a:gd name="connsiteX163" fmla="*/ 4036996 w 12192002"/>
              <a:gd name="connsiteY163" fmla="*/ 243176 h 2122526"/>
              <a:gd name="connsiteX164" fmla="*/ 4042364 w 12192002"/>
              <a:gd name="connsiteY164" fmla="*/ 240742 h 2122526"/>
              <a:gd name="connsiteX165" fmla="*/ 4058954 w 12192002"/>
              <a:gd name="connsiteY165" fmla="*/ 239121 h 2122526"/>
              <a:gd name="connsiteX166" fmla="*/ 4065510 w 12192002"/>
              <a:gd name="connsiteY166" fmla="*/ 239339 h 2122526"/>
              <a:gd name="connsiteX167" fmla="*/ 4074427 w 12192002"/>
              <a:gd name="connsiteY167" fmla="*/ 237895 h 2122526"/>
              <a:gd name="connsiteX168" fmla="*/ 4074546 w 12192002"/>
              <a:gd name="connsiteY168" fmla="*/ 237596 h 2122526"/>
              <a:gd name="connsiteX169" fmla="*/ 4083097 w 12192002"/>
              <a:gd name="connsiteY169" fmla="*/ 236761 h 2122526"/>
              <a:gd name="connsiteX170" fmla="*/ 4142745 w 12192002"/>
              <a:gd name="connsiteY170" fmla="*/ 210228 h 2122526"/>
              <a:gd name="connsiteX171" fmla="*/ 4191248 w 12192002"/>
              <a:gd name="connsiteY171" fmla="*/ 194363 h 2122526"/>
              <a:gd name="connsiteX172" fmla="*/ 4201744 w 12192002"/>
              <a:gd name="connsiteY172" fmla="*/ 188729 h 2122526"/>
              <a:gd name="connsiteX173" fmla="*/ 4202048 w 12192002"/>
              <a:gd name="connsiteY173" fmla="*/ 187470 h 2122526"/>
              <a:gd name="connsiteX174" fmla="*/ 4248116 w 12192002"/>
              <a:gd name="connsiteY174" fmla="*/ 184675 h 2122526"/>
              <a:gd name="connsiteX175" fmla="*/ 4276141 w 12192002"/>
              <a:gd name="connsiteY175" fmla="*/ 186999 h 2122526"/>
              <a:gd name="connsiteX176" fmla="*/ 4290062 w 12192002"/>
              <a:gd name="connsiteY176" fmla="*/ 186753 h 2122526"/>
              <a:gd name="connsiteX177" fmla="*/ 4295143 w 12192002"/>
              <a:gd name="connsiteY177" fmla="*/ 189670 h 2122526"/>
              <a:gd name="connsiteX178" fmla="*/ 4315108 w 12192002"/>
              <a:gd name="connsiteY178" fmla="*/ 187791 h 2122526"/>
              <a:gd name="connsiteX179" fmla="*/ 4316965 w 12192002"/>
              <a:gd name="connsiteY179" fmla="*/ 186450 h 2122526"/>
              <a:gd name="connsiteX180" fmla="*/ 4362875 w 12192002"/>
              <a:gd name="connsiteY180" fmla="*/ 193065 h 2122526"/>
              <a:gd name="connsiteX181" fmla="*/ 4428542 w 12192002"/>
              <a:gd name="connsiteY181" fmla="*/ 191719 h 2122526"/>
              <a:gd name="connsiteX182" fmla="*/ 4515813 w 12192002"/>
              <a:gd name="connsiteY182" fmla="*/ 181068 h 2122526"/>
              <a:gd name="connsiteX183" fmla="*/ 4715526 w 12192002"/>
              <a:gd name="connsiteY183" fmla="*/ 171166 h 2122526"/>
              <a:gd name="connsiteX184" fmla="*/ 4762447 w 12192002"/>
              <a:gd name="connsiteY184" fmla="*/ 162678 h 2122526"/>
              <a:gd name="connsiteX185" fmla="*/ 4840439 w 12192002"/>
              <a:gd name="connsiteY185" fmla="*/ 134910 h 2122526"/>
              <a:gd name="connsiteX186" fmla="*/ 5011513 w 12192002"/>
              <a:gd name="connsiteY186" fmla="*/ 110893 h 2122526"/>
              <a:gd name="connsiteX187" fmla="*/ 5065790 w 12192002"/>
              <a:gd name="connsiteY187" fmla="*/ 94512 h 2122526"/>
              <a:gd name="connsiteX188" fmla="*/ 5121659 w 12192002"/>
              <a:gd name="connsiteY188" fmla="*/ 101083 h 2122526"/>
              <a:gd name="connsiteX189" fmla="*/ 5139595 w 12192002"/>
              <a:gd name="connsiteY189" fmla="*/ 90230 h 2122526"/>
              <a:gd name="connsiteX190" fmla="*/ 5142598 w 12192002"/>
              <a:gd name="connsiteY190" fmla="*/ 88129 h 2122526"/>
              <a:gd name="connsiteX191" fmla="*/ 5156554 w 12192002"/>
              <a:gd name="connsiteY191" fmla="*/ 84729 h 2122526"/>
              <a:gd name="connsiteX192" fmla="*/ 5174660 w 12192002"/>
              <a:gd name="connsiteY192" fmla="*/ 77506 h 2122526"/>
              <a:gd name="connsiteX193" fmla="*/ 5222961 w 12192002"/>
              <a:gd name="connsiteY193" fmla="*/ 74516 h 2122526"/>
              <a:gd name="connsiteX194" fmla="*/ 5261763 w 12192002"/>
              <a:gd name="connsiteY194" fmla="*/ 63392 h 2122526"/>
              <a:gd name="connsiteX195" fmla="*/ 5381667 w 12192002"/>
              <a:gd name="connsiteY195" fmla="*/ 42975 h 2122526"/>
              <a:gd name="connsiteX196" fmla="*/ 5432760 w 12192002"/>
              <a:gd name="connsiteY196" fmla="*/ 25273 h 2122526"/>
              <a:gd name="connsiteX197" fmla="*/ 5470905 w 12192002"/>
              <a:gd name="connsiteY197" fmla="*/ 14020 h 2122526"/>
              <a:gd name="connsiteX198" fmla="*/ 5626960 w 12192002"/>
              <a:gd name="connsiteY198" fmla="*/ 0 h 2122526"/>
              <a:gd name="connsiteX0" fmla="*/ 5626960 w 12192002"/>
              <a:gd name="connsiteY0" fmla="*/ 0 h 2122526"/>
              <a:gd name="connsiteX1" fmla="*/ 5758918 w 12192002"/>
              <a:gd name="connsiteY1" fmla="*/ 1023 h 2122526"/>
              <a:gd name="connsiteX2" fmla="*/ 5957375 w 12192002"/>
              <a:gd name="connsiteY2" fmla="*/ 16715 h 2122526"/>
              <a:gd name="connsiteX3" fmla="*/ 6010090 w 12192002"/>
              <a:gd name="connsiteY3" fmla="*/ 20359 h 2122526"/>
              <a:gd name="connsiteX4" fmla="*/ 6041282 w 12192002"/>
              <a:gd name="connsiteY4" fmla="*/ 15266 h 2122526"/>
              <a:gd name="connsiteX5" fmla="*/ 6048637 w 12192002"/>
              <a:gd name="connsiteY5" fmla="*/ 6917 h 2122526"/>
              <a:gd name="connsiteX6" fmla="*/ 6068529 w 12192002"/>
              <a:gd name="connsiteY6" fmla="*/ 7600 h 2122526"/>
              <a:gd name="connsiteX7" fmla="*/ 6073847 w 12192002"/>
              <a:gd name="connsiteY7" fmla="*/ 6063 h 2122526"/>
              <a:gd name="connsiteX8" fmla="*/ 6168673 w 12192002"/>
              <a:gd name="connsiteY8" fmla="*/ 26525 h 2122526"/>
              <a:gd name="connsiteX9" fmla="*/ 6317559 w 12192002"/>
              <a:gd name="connsiteY9" fmla="*/ 28612 h 2122526"/>
              <a:gd name="connsiteX10" fmla="*/ 6549454 w 12192002"/>
              <a:gd name="connsiteY10" fmla="*/ 75412 h 2122526"/>
              <a:gd name="connsiteX11" fmla="*/ 6708221 w 12192002"/>
              <a:gd name="connsiteY11" fmla="*/ 104188 h 2122526"/>
              <a:gd name="connsiteX12" fmla="*/ 6904145 w 12192002"/>
              <a:gd name="connsiteY12" fmla="*/ 132143 h 2122526"/>
              <a:gd name="connsiteX13" fmla="*/ 7018495 w 12192002"/>
              <a:gd name="connsiteY13" fmla="*/ 161649 h 2122526"/>
              <a:gd name="connsiteX14" fmla="*/ 7096987 w 12192002"/>
              <a:gd name="connsiteY14" fmla="*/ 161275 h 2122526"/>
              <a:gd name="connsiteX15" fmla="*/ 7170807 w 12192002"/>
              <a:gd name="connsiteY15" fmla="*/ 173503 h 2122526"/>
              <a:gd name="connsiteX16" fmla="*/ 7197003 w 12192002"/>
              <a:gd name="connsiteY16" fmla="*/ 178151 h 2122526"/>
              <a:gd name="connsiteX17" fmla="*/ 7201101 w 12192002"/>
              <a:gd name="connsiteY17" fmla="*/ 183509 h 2122526"/>
              <a:gd name="connsiteX18" fmla="*/ 7218559 w 12192002"/>
              <a:gd name="connsiteY18" fmla="*/ 188059 h 2122526"/>
              <a:gd name="connsiteX19" fmla="*/ 7310852 w 12192002"/>
              <a:gd name="connsiteY19" fmla="*/ 213308 h 2122526"/>
              <a:gd name="connsiteX20" fmla="*/ 7312179 w 12192002"/>
              <a:gd name="connsiteY20" fmla="*/ 211866 h 2122526"/>
              <a:gd name="connsiteX21" fmla="*/ 7405390 w 12192002"/>
              <a:gd name="connsiteY21" fmla="*/ 202271 h 2122526"/>
              <a:gd name="connsiteX22" fmla="*/ 7495794 w 12192002"/>
              <a:gd name="connsiteY22" fmla="*/ 194166 h 2122526"/>
              <a:gd name="connsiteX23" fmla="*/ 7507039 w 12192002"/>
              <a:gd name="connsiteY23" fmla="*/ 196118 h 2122526"/>
              <a:gd name="connsiteX24" fmla="*/ 7507411 w 12192002"/>
              <a:gd name="connsiteY24" fmla="*/ 195791 h 2122526"/>
              <a:gd name="connsiteX25" fmla="*/ 7519570 w 12192002"/>
              <a:gd name="connsiteY25" fmla="*/ 197126 h 2122526"/>
              <a:gd name="connsiteX26" fmla="*/ 7527542 w 12192002"/>
              <a:gd name="connsiteY26" fmla="*/ 199679 h 2122526"/>
              <a:gd name="connsiteX27" fmla="*/ 7614346 w 12192002"/>
              <a:gd name="connsiteY27" fmla="*/ 205507 h 2122526"/>
              <a:gd name="connsiteX28" fmla="*/ 7718744 w 12192002"/>
              <a:gd name="connsiteY28" fmla="*/ 202036 h 2122526"/>
              <a:gd name="connsiteX29" fmla="*/ 7905407 w 12192002"/>
              <a:gd name="connsiteY29" fmla="*/ 227751 h 2122526"/>
              <a:gd name="connsiteX30" fmla="*/ 8090271 w 12192002"/>
              <a:gd name="connsiteY30" fmla="*/ 269724 h 2122526"/>
              <a:gd name="connsiteX31" fmla="*/ 8245834 w 12192002"/>
              <a:gd name="connsiteY31" fmla="*/ 315885 h 2122526"/>
              <a:gd name="connsiteX32" fmla="*/ 8252033 w 12192002"/>
              <a:gd name="connsiteY32" fmla="*/ 328877 h 2122526"/>
              <a:gd name="connsiteX33" fmla="*/ 8263376 w 12192002"/>
              <a:gd name="connsiteY33" fmla="*/ 338720 h 2122526"/>
              <a:gd name="connsiteX34" fmla="*/ 8266075 w 12192002"/>
              <a:gd name="connsiteY34" fmla="*/ 338490 h 2122526"/>
              <a:gd name="connsiteX35" fmla="*/ 8283149 w 12192002"/>
              <a:gd name="connsiteY35" fmla="*/ 345665 h 2122526"/>
              <a:gd name="connsiteX36" fmla="*/ 8284276 w 12192002"/>
              <a:gd name="connsiteY36" fmla="*/ 350108 h 2122526"/>
              <a:gd name="connsiteX37" fmla="*/ 8295173 w 12192002"/>
              <a:gd name="connsiteY37" fmla="*/ 355931 h 2122526"/>
              <a:gd name="connsiteX38" fmla="*/ 8314432 w 12192002"/>
              <a:gd name="connsiteY38" fmla="*/ 369826 h 2122526"/>
              <a:gd name="connsiteX39" fmla="*/ 8320104 w 12192002"/>
              <a:gd name="connsiteY39" fmla="*/ 370152 h 2122526"/>
              <a:gd name="connsiteX40" fmla="*/ 8352372 w 12192002"/>
              <a:gd name="connsiteY40" fmla="*/ 387570 h 2122526"/>
              <a:gd name="connsiteX41" fmla="*/ 8353799 w 12192002"/>
              <a:gd name="connsiteY41" fmla="*/ 386730 h 2122526"/>
              <a:gd name="connsiteX42" fmla="*/ 8367182 w 12192002"/>
              <a:gd name="connsiteY42" fmla="*/ 386924 h 2122526"/>
              <a:gd name="connsiteX43" fmla="*/ 8490249 w 12192002"/>
              <a:gd name="connsiteY43" fmla="*/ 400966 h 2122526"/>
              <a:gd name="connsiteX44" fmla="*/ 8497594 w 12192002"/>
              <a:gd name="connsiteY44" fmla="*/ 404016 h 2122526"/>
              <a:gd name="connsiteX45" fmla="*/ 8497968 w 12192002"/>
              <a:gd name="connsiteY45" fmla="*/ 403837 h 2122526"/>
              <a:gd name="connsiteX46" fmla="*/ 8506167 w 12192002"/>
              <a:gd name="connsiteY46" fmla="*/ 406575 h 2122526"/>
              <a:gd name="connsiteX47" fmla="*/ 8510983 w 12192002"/>
              <a:gd name="connsiteY47" fmla="*/ 409576 h 2122526"/>
              <a:gd name="connsiteX48" fmla="*/ 8525230 w 12192002"/>
              <a:gd name="connsiteY48" fmla="*/ 415491 h 2122526"/>
              <a:gd name="connsiteX49" fmla="*/ 8596071 w 12192002"/>
              <a:gd name="connsiteY49" fmla="*/ 400649 h 2122526"/>
              <a:gd name="connsiteX50" fmla="*/ 8707847 w 12192002"/>
              <a:gd name="connsiteY50" fmla="*/ 409221 h 2122526"/>
              <a:gd name="connsiteX51" fmla="*/ 8752444 w 12192002"/>
              <a:gd name="connsiteY51" fmla="*/ 411322 h 2122526"/>
              <a:gd name="connsiteX52" fmla="*/ 8928988 w 12192002"/>
              <a:gd name="connsiteY52" fmla="*/ 430554 h 2122526"/>
              <a:gd name="connsiteX53" fmla="*/ 8963048 w 12192002"/>
              <a:gd name="connsiteY53" fmla="*/ 427366 h 2122526"/>
              <a:gd name="connsiteX54" fmla="*/ 8968011 w 12192002"/>
              <a:gd name="connsiteY54" fmla="*/ 425141 h 2122526"/>
              <a:gd name="connsiteX55" fmla="*/ 8974337 w 12192002"/>
              <a:gd name="connsiteY55" fmla="*/ 424441 h 2122526"/>
              <a:gd name="connsiteX56" fmla="*/ 8990394 w 12192002"/>
              <a:gd name="connsiteY56" fmla="*/ 427667 h 2122526"/>
              <a:gd name="connsiteX57" fmla="*/ 8996232 w 12192002"/>
              <a:gd name="connsiteY57" fmla="*/ 429728 h 2122526"/>
              <a:gd name="connsiteX58" fmla="*/ 9005201 w 12192002"/>
              <a:gd name="connsiteY58" fmla="*/ 430939 h 2122526"/>
              <a:gd name="connsiteX59" fmla="*/ 9005486 w 12192002"/>
              <a:gd name="connsiteY59" fmla="*/ 430699 h 2122526"/>
              <a:gd name="connsiteX60" fmla="*/ 9053453 w 12192002"/>
              <a:gd name="connsiteY60" fmla="*/ 433984 h 2122526"/>
              <a:gd name="connsiteX61" fmla="*/ 9113812 w 12192002"/>
              <a:gd name="connsiteY61" fmla="*/ 425670 h 2122526"/>
              <a:gd name="connsiteX62" fmla="*/ 9137318 w 12192002"/>
              <a:gd name="connsiteY62" fmla="*/ 424304 h 2122526"/>
              <a:gd name="connsiteX63" fmla="*/ 9150210 w 12192002"/>
              <a:gd name="connsiteY63" fmla="*/ 422135 h 2122526"/>
              <a:gd name="connsiteX64" fmla="*/ 9151232 w 12192002"/>
              <a:gd name="connsiteY64" fmla="*/ 421070 h 2122526"/>
              <a:gd name="connsiteX65" fmla="*/ 9189246 w 12192002"/>
              <a:gd name="connsiteY65" fmla="*/ 432272 h 2122526"/>
              <a:gd name="connsiteX66" fmla="*/ 9194810 w 12192002"/>
              <a:gd name="connsiteY66" fmla="*/ 441511 h 2122526"/>
              <a:gd name="connsiteX67" fmla="*/ 9231370 w 12192002"/>
              <a:gd name="connsiteY67" fmla="*/ 451590 h 2122526"/>
              <a:gd name="connsiteX68" fmla="*/ 9343052 w 12192002"/>
              <a:gd name="connsiteY68" fmla="*/ 503495 h 2122526"/>
              <a:gd name="connsiteX69" fmla="*/ 9584507 w 12192002"/>
              <a:gd name="connsiteY69" fmla="*/ 549197 h 2122526"/>
              <a:gd name="connsiteX70" fmla="*/ 9728309 w 12192002"/>
              <a:gd name="connsiteY70" fmla="*/ 560617 h 2122526"/>
              <a:gd name="connsiteX71" fmla="*/ 9847792 w 12192002"/>
              <a:gd name="connsiteY71" fmla="*/ 580824 h 2122526"/>
              <a:gd name="connsiteX72" fmla="*/ 9960019 w 12192002"/>
              <a:gd name="connsiteY72" fmla="*/ 587592 h 2122526"/>
              <a:gd name="connsiteX73" fmla="*/ 10039240 w 12192002"/>
              <a:gd name="connsiteY73" fmla="*/ 603107 h 2122526"/>
              <a:gd name="connsiteX74" fmla="*/ 10082169 w 12192002"/>
              <a:gd name="connsiteY74" fmla="*/ 601443 h 2122526"/>
              <a:gd name="connsiteX75" fmla="*/ 10126500 w 12192002"/>
              <a:gd name="connsiteY75" fmla="*/ 603538 h 2122526"/>
              <a:gd name="connsiteX76" fmla="*/ 10261101 w 12192002"/>
              <a:gd name="connsiteY76" fmla="*/ 615053 h 2122526"/>
              <a:gd name="connsiteX77" fmla="*/ 10336855 w 12192002"/>
              <a:gd name="connsiteY77" fmla="*/ 624804 h 2122526"/>
              <a:gd name="connsiteX78" fmla="*/ 10383868 w 12192002"/>
              <a:gd name="connsiteY78" fmla="*/ 625415 h 2122526"/>
              <a:gd name="connsiteX79" fmla="*/ 10445984 w 12192002"/>
              <a:gd name="connsiteY79" fmla="*/ 629262 h 2122526"/>
              <a:gd name="connsiteX80" fmla="*/ 10519280 w 12192002"/>
              <a:gd name="connsiteY80" fmla="*/ 631320 h 2122526"/>
              <a:gd name="connsiteX81" fmla="*/ 10644619 w 12192002"/>
              <a:gd name="connsiteY81" fmla="*/ 651566 h 2122526"/>
              <a:gd name="connsiteX82" fmla="*/ 10857724 w 12192002"/>
              <a:gd name="connsiteY82" fmla="*/ 712684 h 2122526"/>
              <a:gd name="connsiteX83" fmla="*/ 10951063 w 12192002"/>
              <a:gd name="connsiteY83" fmla="*/ 725767 h 2122526"/>
              <a:gd name="connsiteX84" fmla="*/ 11030956 w 12192002"/>
              <a:gd name="connsiteY84" fmla="*/ 721011 h 2122526"/>
              <a:gd name="connsiteX85" fmla="*/ 11085938 w 12192002"/>
              <a:gd name="connsiteY85" fmla="*/ 723892 h 2122526"/>
              <a:gd name="connsiteX86" fmla="*/ 11143411 w 12192002"/>
              <a:gd name="connsiteY86" fmla="*/ 733141 h 2122526"/>
              <a:gd name="connsiteX87" fmla="*/ 11195087 w 12192002"/>
              <a:gd name="connsiteY87" fmla="*/ 732494 h 2122526"/>
              <a:gd name="connsiteX88" fmla="*/ 11273972 w 12192002"/>
              <a:gd name="connsiteY88" fmla="*/ 753513 h 2122526"/>
              <a:gd name="connsiteX89" fmla="*/ 11369715 w 12192002"/>
              <a:gd name="connsiteY89" fmla="*/ 813181 h 2122526"/>
              <a:gd name="connsiteX90" fmla="*/ 11462695 w 12192002"/>
              <a:gd name="connsiteY90" fmla="*/ 874654 h 2122526"/>
              <a:gd name="connsiteX91" fmla="*/ 11516473 w 12192002"/>
              <a:gd name="connsiteY91" fmla="*/ 928206 h 2122526"/>
              <a:gd name="connsiteX92" fmla="*/ 11585369 w 12192002"/>
              <a:gd name="connsiteY92" fmla="*/ 1004898 h 2122526"/>
              <a:gd name="connsiteX93" fmla="*/ 11712382 w 12192002"/>
              <a:gd name="connsiteY93" fmla="*/ 1047864 h 2122526"/>
              <a:gd name="connsiteX94" fmla="*/ 11894613 w 12192002"/>
              <a:gd name="connsiteY94" fmla="*/ 1148265 h 2122526"/>
              <a:gd name="connsiteX95" fmla="*/ 11917888 w 12192002"/>
              <a:gd name="connsiteY95" fmla="*/ 1126105 h 2122526"/>
              <a:gd name="connsiteX96" fmla="*/ 12080164 w 12192002"/>
              <a:gd name="connsiteY96" fmla="*/ 1090885 h 2122526"/>
              <a:gd name="connsiteX97" fmla="*/ 12140863 w 12192002"/>
              <a:gd name="connsiteY97" fmla="*/ 1035036 h 2122526"/>
              <a:gd name="connsiteX98" fmla="*/ 12192002 w 12192002"/>
              <a:gd name="connsiteY98" fmla="*/ 1015838 h 2122526"/>
              <a:gd name="connsiteX99" fmla="*/ 12192002 w 12192002"/>
              <a:gd name="connsiteY99" fmla="*/ 1955549 h 2122526"/>
              <a:gd name="connsiteX100" fmla="*/ 12192000 w 12192002"/>
              <a:gd name="connsiteY100" fmla="*/ 1955549 h 2122526"/>
              <a:gd name="connsiteX101" fmla="*/ 12192000 w 12192002"/>
              <a:gd name="connsiteY101" fmla="*/ 2122526 h 2122526"/>
              <a:gd name="connsiteX102" fmla="*/ 0 w 12192002"/>
              <a:gd name="connsiteY102" fmla="*/ 2122526 h 2122526"/>
              <a:gd name="connsiteX103" fmla="*/ 0 w 12192002"/>
              <a:gd name="connsiteY103" fmla="*/ 1348327 h 2122526"/>
              <a:gd name="connsiteX104" fmla="*/ 2 w 12192002"/>
              <a:gd name="connsiteY104" fmla="*/ 1348327 h 2122526"/>
              <a:gd name="connsiteX105" fmla="*/ 2 w 12192002"/>
              <a:gd name="connsiteY105" fmla="*/ 592017 h 2122526"/>
              <a:gd name="connsiteX106" fmla="*/ 15526 w 12192002"/>
              <a:gd name="connsiteY106" fmla="*/ 586548 h 2122526"/>
              <a:gd name="connsiteX107" fmla="*/ 118381 w 12192002"/>
              <a:gd name="connsiteY107" fmla="*/ 583692 h 2122526"/>
              <a:gd name="connsiteX108" fmla="*/ 292435 w 12192002"/>
              <a:gd name="connsiteY108" fmla="*/ 531887 h 2122526"/>
              <a:gd name="connsiteX109" fmla="*/ 404015 w 12192002"/>
              <a:gd name="connsiteY109" fmla="*/ 511191 h 2122526"/>
              <a:gd name="connsiteX110" fmla="*/ 445099 w 12192002"/>
              <a:gd name="connsiteY110" fmla="*/ 505368 h 2122526"/>
              <a:gd name="connsiteX111" fmla="*/ 571717 w 12192002"/>
              <a:gd name="connsiteY111" fmla="*/ 467338 h 2122526"/>
              <a:gd name="connsiteX112" fmla="*/ 578535 w 12192002"/>
              <a:gd name="connsiteY112" fmla="*/ 467527 h 2122526"/>
              <a:gd name="connsiteX113" fmla="*/ 596792 w 12192002"/>
              <a:gd name="connsiteY113" fmla="*/ 464875 h 2122526"/>
              <a:gd name="connsiteX114" fmla="*/ 708875 w 12192002"/>
              <a:gd name="connsiteY114" fmla="*/ 422017 h 2122526"/>
              <a:gd name="connsiteX115" fmla="*/ 719742 w 12192002"/>
              <a:gd name="connsiteY115" fmla="*/ 416340 h 2122526"/>
              <a:gd name="connsiteX116" fmla="*/ 720047 w 12192002"/>
              <a:gd name="connsiteY116" fmla="*/ 415078 h 2122526"/>
              <a:gd name="connsiteX117" fmla="*/ 763053 w 12192002"/>
              <a:gd name="connsiteY117" fmla="*/ 414307 h 2122526"/>
              <a:gd name="connsiteX118" fmla="*/ 767901 w 12192002"/>
              <a:gd name="connsiteY118" fmla="*/ 412086 h 2122526"/>
              <a:gd name="connsiteX119" fmla="*/ 797041 w 12192002"/>
              <a:gd name="connsiteY119" fmla="*/ 414293 h 2122526"/>
              <a:gd name="connsiteX120" fmla="*/ 811506 w 12192002"/>
              <a:gd name="connsiteY120" fmla="*/ 413988 h 2122526"/>
              <a:gd name="connsiteX121" fmla="*/ 816809 w 12192002"/>
              <a:gd name="connsiteY121" fmla="*/ 416882 h 2122526"/>
              <a:gd name="connsiteX122" fmla="*/ 837540 w 12192002"/>
              <a:gd name="connsiteY122" fmla="*/ 414918 h 2122526"/>
              <a:gd name="connsiteX123" fmla="*/ 858269 w 12192002"/>
              <a:gd name="connsiteY123" fmla="*/ 416131 h 2122526"/>
              <a:gd name="connsiteX124" fmla="*/ 948732 w 12192002"/>
              <a:gd name="connsiteY124" fmla="*/ 404293 h 2122526"/>
              <a:gd name="connsiteX125" fmla="*/ 1149979 w 12192002"/>
              <a:gd name="connsiteY125" fmla="*/ 406698 h 2122526"/>
              <a:gd name="connsiteX126" fmla="*/ 1496110 w 12192002"/>
              <a:gd name="connsiteY126" fmla="*/ 357263 h 2122526"/>
              <a:gd name="connsiteX127" fmla="*/ 1608669 w 12192002"/>
              <a:gd name="connsiteY127" fmla="*/ 331673 h 2122526"/>
              <a:gd name="connsiteX128" fmla="*/ 1675071 w 12192002"/>
              <a:gd name="connsiteY128" fmla="*/ 324776 h 2122526"/>
              <a:gd name="connsiteX129" fmla="*/ 1738204 w 12192002"/>
              <a:gd name="connsiteY129" fmla="*/ 308427 h 2122526"/>
              <a:gd name="connsiteX130" fmla="*/ 1786655 w 12192002"/>
              <a:gd name="connsiteY130" fmla="*/ 303376 h 2122526"/>
              <a:gd name="connsiteX131" fmla="*/ 1873080 w 12192002"/>
              <a:gd name="connsiteY131" fmla="*/ 330998 h 2122526"/>
              <a:gd name="connsiteX132" fmla="*/ 1921650 w 12192002"/>
              <a:gd name="connsiteY132" fmla="*/ 332593 h 2122526"/>
              <a:gd name="connsiteX133" fmla="*/ 1928172 w 12192002"/>
              <a:gd name="connsiteY133" fmla="*/ 327762 h 2122526"/>
              <a:gd name="connsiteX134" fmla="*/ 1997356 w 12192002"/>
              <a:gd name="connsiteY134" fmla="*/ 349707 h 2122526"/>
              <a:gd name="connsiteX135" fmla="*/ 2094665 w 12192002"/>
              <a:gd name="connsiteY135" fmla="*/ 341687 h 2122526"/>
              <a:gd name="connsiteX136" fmla="*/ 2208578 w 12192002"/>
              <a:gd name="connsiteY136" fmla="*/ 324976 h 2122526"/>
              <a:gd name="connsiteX137" fmla="*/ 2315112 w 12192002"/>
              <a:gd name="connsiteY137" fmla="*/ 319743 h 2122526"/>
              <a:gd name="connsiteX138" fmla="*/ 2443255 w 12192002"/>
              <a:gd name="connsiteY138" fmla="*/ 328210 h 2122526"/>
              <a:gd name="connsiteX139" fmla="*/ 2568028 w 12192002"/>
              <a:gd name="connsiteY139" fmla="*/ 342111 h 2122526"/>
              <a:gd name="connsiteX140" fmla="*/ 2646527 w 12192002"/>
              <a:gd name="connsiteY140" fmla="*/ 315870 h 2122526"/>
              <a:gd name="connsiteX141" fmla="*/ 2781569 w 12192002"/>
              <a:gd name="connsiteY141" fmla="*/ 326406 h 2122526"/>
              <a:gd name="connsiteX142" fmla="*/ 3030291 w 12192002"/>
              <a:gd name="connsiteY142" fmla="*/ 348227 h 2122526"/>
              <a:gd name="connsiteX143" fmla="*/ 3142556 w 12192002"/>
              <a:gd name="connsiteY143" fmla="*/ 350870 h 2122526"/>
              <a:gd name="connsiteX144" fmla="*/ 3262356 w 12192002"/>
              <a:gd name="connsiteY144" fmla="*/ 358645 h 2122526"/>
              <a:gd name="connsiteX145" fmla="*/ 3341698 w 12192002"/>
              <a:gd name="connsiteY145" fmla="*/ 364522 h 2122526"/>
              <a:gd name="connsiteX146" fmla="*/ 3344026 w 12192002"/>
              <a:gd name="connsiteY146" fmla="*/ 363547 h 2122526"/>
              <a:gd name="connsiteX147" fmla="*/ 3363888 w 12192002"/>
              <a:gd name="connsiteY147" fmla="*/ 365229 h 2122526"/>
              <a:gd name="connsiteX148" fmla="*/ 3400728 w 12192002"/>
              <a:gd name="connsiteY148" fmla="*/ 382181 h 2122526"/>
              <a:gd name="connsiteX149" fmla="*/ 3473223 w 12192002"/>
              <a:gd name="connsiteY149" fmla="*/ 370133 h 2122526"/>
              <a:gd name="connsiteX150" fmla="*/ 3536135 w 12192002"/>
              <a:gd name="connsiteY150" fmla="*/ 366472 h 2122526"/>
              <a:gd name="connsiteX151" fmla="*/ 3585978 w 12192002"/>
              <a:gd name="connsiteY151" fmla="*/ 356773 h 2122526"/>
              <a:gd name="connsiteX152" fmla="*/ 3594501 w 12192002"/>
              <a:gd name="connsiteY152" fmla="*/ 357463 h 2122526"/>
              <a:gd name="connsiteX153" fmla="*/ 3594736 w 12192002"/>
              <a:gd name="connsiteY153" fmla="*/ 357194 h 2122526"/>
              <a:gd name="connsiteX154" fmla="*/ 3603855 w 12192002"/>
              <a:gd name="connsiteY154" fmla="*/ 357358 h 2122526"/>
              <a:gd name="connsiteX155" fmla="*/ 3610035 w 12192002"/>
              <a:gd name="connsiteY155" fmla="*/ 358720 h 2122526"/>
              <a:gd name="connsiteX156" fmla="*/ 3682513 w 12192002"/>
              <a:gd name="connsiteY156" fmla="*/ 326449 h 2122526"/>
              <a:gd name="connsiteX157" fmla="*/ 3789760 w 12192002"/>
              <a:gd name="connsiteY157" fmla="*/ 302526 h 2122526"/>
              <a:gd name="connsiteX158" fmla="*/ 3897275 w 12192002"/>
              <a:gd name="connsiteY158" fmla="*/ 282288 h 2122526"/>
              <a:gd name="connsiteX159" fmla="*/ 3936846 w 12192002"/>
              <a:gd name="connsiteY159" fmla="*/ 276633 h 2122526"/>
              <a:gd name="connsiteX160" fmla="*/ 4004538 w 12192002"/>
              <a:gd name="connsiteY160" fmla="*/ 259176 h 2122526"/>
              <a:gd name="connsiteX161" fmla="*/ 4033778 w 12192002"/>
              <a:gd name="connsiteY161" fmla="*/ 246608 h 2122526"/>
              <a:gd name="connsiteX162" fmla="*/ 4035363 w 12192002"/>
              <a:gd name="connsiteY162" fmla="*/ 246843 h 2122526"/>
              <a:gd name="connsiteX163" fmla="*/ 4036996 w 12192002"/>
              <a:gd name="connsiteY163" fmla="*/ 243176 h 2122526"/>
              <a:gd name="connsiteX164" fmla="*/ 4042364 w 12192002"/>
              <a:gd name="connsiteY164" fmla="*/ 240742 h 2122526"/>
              <a:gd name="connsiteX165" fmla="*/ 4058954 w 12192002"/>
              <a:gd name="connsiteY165" fmla="*/ 239121 h 2122526"/>
              <a:gd name="connsiteX166" fmla="*/ 4065510 w 12192002"/>
              <a:gd name="connsiteY166" fmla="*/ 239339 h 2122526"/>
              <a:gd name="connsiteX167" fmla="*/ 4074427 w 12192002"/>
              <a:gd name="connsiteY167" fmla="*/ 237895 h 2122526"/>
              <a:gd name="connsiteX168" fmla="*/ 4074546 w 12192002"/>
              <a:gd name="connsiteY168" fmla="*/ 237596 h 2122526"/>
              <a:gd name="connsiteX169" fmla="*/ 4083097 w 12192002"/>
              <a:gd name="connsiteY169" fmla="*/ 236761 h 2122526"/>
              <a:gd name="connsiteX170" fmla="*/ 4142745 w 12192002"/>
              <a:gd name="connsiteY170" fmla="*/ 210228 h 2122526"/>
              <a:gd name="connsiteX171" fmla="*/ 4191248 w 12192002"/>
              <a:gd name="connsiteY171" fmla="*/ 194363 h 2122526"/>
              <a:gd name="connsiteX172" fmla="*/ 4201744 w 12192002"/>
              <a:gd name="connsiteY172" fmla="*/ 188729 h 2122526"/>
              <a:gd name="connsiteX173" fmla="*/ 4202048 w 12192002"/>
              <a:gd name="connsiteY173" fmla="*/ 187470 h 2122526"/>
              <a:gd name="connsiteX174" fmla="*/ 4248116 w 12192002"/>
              <a:gd name="connsiteY174" fmla="*/ 184675 h 2122526"/>
              <a:gd name="connsiteX175" fmla="*/ 4276141 w 12192002"/>
              <a:gd name="connsiteY175" fmla="*/ 186999 h 2122526"/>
              <a:gd name="connsiteX176" fmla="*/ 4290062 w 12192002"/>
              <a:gd name="connsiteY176" fmla="*/ 186753 h 2122526"/>
              <a:gd name="connsiteX177" fmla="*/ 4295143 w 12192002"/>
              <a:gd name="connsiteY177" fmla="*/ 189670 h 2122526"/>
              <a:gd name="connsiteX178" fmla="*/ 4315108 w 12192002"/>
              <a:gd name="connsiteY178" fmla="*/ 187791 h 2122526"/>
              <a:gd name="connsiteX179" fmla="*/ 4316965 w 12192002"/>
              <a:gd name="connsiteY179" fmla="*/ 186450 h 2122526"/>
              <a:gd name="connsiteX180" fmla="*/ 4362875 w 12192002"/>
              <a:gd name="connsiteY180" fmla="*/ 193065 h 2122526"/>
              <a:gd name="connsiteX181" fmla="*/ 4428542 w 12192002"/>
              <a:gd name="connsiteY181" fmla="*/ 191719 h 2122526"/>
              <a:gd name="connsiteX182" fmla="*/ 4515813 w 12192002"/>
              <a:gd name="connsiteY182" fmla="*/ 181068 h 2122526"/>
              <a:gd name="connsiteX183" fmla="*/ 4715526 w 12192002"/>
              <a:gd name="connsiteY183" fmla="*/ 171166 h 2122526"/>
              <a:gd name="connsiteX184" fmla="*/ 4762447 w 12192002"/>
              <a:gd name="connsiteY184" fmla="*/ 162678 h 2122526"/>
              <a:gd name="connsiteX185" fmla="*/ 4840439 w 12192002"/>
              <a:gd name="connsiteY185" fmla="*/ 134910 h 2122526"/>
              <a:gd name="connsiteX186" fmla="*/ 5011513 w 12192002"/>
              <a:gd name="connsiteY186" fmla="*/ 110893 h 2122526"/>
              <a:gd name="connsiteX187" fmla="*/ 5065790 w 12192002"/>
              <a:gd name="connsiteY187" fmla="*/ 94512 h 2122526"/>
              <a:gd name="connsiteX188" fmla="*/ 5121659 w 12192002"/>
              <a:gd name="connsiteY188" fmla="*/ 101083 h 2122526"/>
              <a:gd name="connsiteX189" fmla="*/ 5139595 w 12192002"/>
              <a:gd name="connsiteY189" fmla="*/ 90230 h 2122526"/>
              <a:gd name="connsiteX190" fmla="*/ 5142598 w 12192002"/>
              <a:gd name="connsiteY190" fmla="*/ 88129 h 2122526"/>
              <a:gd name="connsiteX191" fmla="*/ 5156554 w 12192002"/>
              <a:gd name="connsiteY191" fmla="*/ 84729 h 2122526"/>
              <a:gd name="connsiteX192" fmla="*/ 5174660 w 12192002"/>
              <a:gd name="connsiteY192" fmla="*/ 77506 h 2122526"/>
              <a:gd name="connsiteX193" fmla="*/ 5222961 w 12192002"/>
              <a:gd name="connsiteY193" fmla="*/ 74516 h 2122526"/>
              <a:gd name="connsiteX194" fmla="*/ 5261763 w 12192002"/>
              <a:gd name="connsiteY194" fmla="*/ 63392 h 2122526"/>
              <a:gd name="connsiteX195" fmla="*/ 5381667 w 12192002"/>
              <a:gd name="connsiteY195" fmla="*/ 42975 h 2122526"/>
              <a:gd name="connsiteX196" fmla="*/ 5432760 w 12192002"/>
              <a:gd name="connsiteY196" fmla="*/ 25273 h 2122526"/>
              <a:gd name="connsiteX197" fmla="*/ 5470905 w 12192002"/>
              <a:gd name="connsiteY197" fmla="*/ 14020 h 2122526"/>
              <a:gd name="connsiteX198" fmla="*/ 5626960 w 12192002"/>
              <a:gd name="connsiteY198" fmla="*/ 0 h 212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12192002" h="2122526">
                <a:moveTo>
                  <a:pt x="5626960" y="0"/>
                </a:moveTo>
                <a:lnTo>
                  <a:pt x="5758918" y="1023"/>
                </a:lnTo>
                <a:lnTo>
                  <a:pt x="5957375" y="16715"/>
                </a:lnTo>
                <a:cubicBezTo>
                  <a:pt x="5970127" y="20033"/>
                  <a:pt x="5998679" y="20946"/>
                  <a:pt x="6010090" y="20359"/>
                </a:cubicBezTo>
                <a:lnTo>
                  <a:pt x="6041282" y="15266"/>
                </a:lnTo>
                <a:lnTo>
                  <a:pt x="6048637" y="6917"/>
                </a:lnTo>
                <a:lnTo>
                  <a:pt x="6068529" y="7600"/>
                </a:lnTo>
                <a:lnTo>
                  <a:pt x="6073847" y="6063"/>
                </a:lnTo>
                <a:cubicBezTo>
                  <a:pt x="6090539" y="9219"/>
                  <a:pt x="6128055" y="22767"/>
                  <a:pt x="6168673" y="26525"/>
                </a:cubicBezTo>
                <a:cubicBezTo>
                  <a:pt x="6209291" y="30283"/>
                  <a:pt x="6297550" y="13090"/>
                  <a:pt x="6317559" y="28612"/>
                </a:cubicBezTo>
                <a:cubicBezTo>
                  <a:pt x="6409695" y="55045"/>
                  <a:pt x="6472153" y="31322"/>
                  <a:pt x="6549454" y="75412"/>
                </a:cubicBezTo>
                <a:cubicBezTo>
                  <a:pt x="6628105" y="80632"/>
                  <a:pt x="6649105" y="94733"/>
                  <a:pt x="6708221" y="104188"/>
                </a:cubicBezTo>
                <a:cubicBezTo>
                  <a:pt x="6787988" y="118277"/>
                  <a:pt x="6871921" y="137351"/>
                  <a:pt x="6904145" y="132143"/>
                </a:cubicBezTo>
                <a:cubicBezTo>
                  <a:pt x="6943644" y="126545"/>
                  <a:pt x="6937527" y="150711"/>
                  <a:pt x="7018495" y="161649"/>
                </a:cubicBezTo>
                <a:cubicBezTo>
                  <a:pt x="7050188" y="159320"/>
                  <a:pt x="7061147" y="160297"/>
                  <a:pt x="7096987" y="161275"/>
                </a:cubicBezTo>
                <a:lnTo>
                  <a:pt x="7170807" y="173503"/>
                </a:lnTo>
                <a:cubicBezTo>
                  <a:pt x="7184505" y="172489"/>
                  <a:pt x="7192111" y="174628"/>
                  <a:pt x="7197003" y="178151"/>
                </a:cubicBezTo>
                <a:lnTo>
                  <a:pt x="7201101" y="183509"/>
                </a:lnTo>
                <a:lnTo>
                  <a:pt x="7218559" y="188059"/>
                </a:lnTo>
                <a:lnTo>
                  <a:pt x="7310852" y="213308"/>
                </a:lnTo>
                <a:lnTo>
                  <a:pt x="7312179" y="211866"/>
                </a:lnTo>
                <a:cubicBezTo>
                  <a:pt x="7333989" y="206326"/>
                  <a:pt x="7374788" y="205221"/>
                  <a:pt x="7405390" y="202271"/>
                </a:cubicBezTo>
                <a:cubicBezTo>
                  <a:pt x="7422527" y="207464"/>
                  <a:pt x="7476985" y="190048"/>
                  <a:pt x="7495794" y="194166"/>
                </a:cubicBezTo>
                <a:lnTo>
                  <a:pt x="7507039" y="196118"/>
                </a:lnTo>
                <a:lnTo>
                  <a:pt x="7507411" y="195791"/>
                </a:lnTo>
                <a:cubicBezTo>
                  <a:pt x="7510172" y="195437"/>
                  <a:pt x="7513992" y="195787"/>
                  <a:pt x="7519570" y="197126"/>
                </a:cubicBezTo>
                <a:lnTo>
                  <a:pt x="7527542" y="199679"/>
                </a:lnTo>
                <a:lnTo>
                  <a:pt x="7614346" y="205507"/>
                </a:lnTo>
                <a:lnTo>
                  <a:pt x="7718744" y="202036"/>
                </a:lnTo>
                <a:cubicBezTo>
                  <a:pt x="7780965" y="210608"/>
                  <a:pt x="7835119" y="212839"/>
                  <a:pt x="7905407" y="227751"/>
                </a:cubicBezTo>
                <a:cubicBezTo>
                  <a:pt x="7967070" y="225346"/>
                  <a:pt x="8025467" y="246582"/>
                  <a:pt x="8090271" y="269724"/>
                </a:cubicBezTo>
                <a:cubicBezTo>
                  <a:pt x="8147130" y="284670"/>
                  <a:pt x="8181827" y="318792"/>
                  <a:pt x="8245834" y="315885"/>
                </a:cubicBezTo>
                <a:cubicBezTo>
                  <a:pt x="8246647" y="320745"/>
                  <a:pt x="8248859" y="325027"/>
                  <a:pt x="8252033" y="328877"/>
                </a:cubicBezTo>
                <a:lnTo>
                  <a:pt x="8263376" y="338720"/>
                </a:lnTo>
                <a:lnTo>
                  <a:pt x="8266075" y="338490"/>
                </a:lnTo>
                <a:cubicBezTo>
                  <a:pt x="8276151" y="339772"/>
                  <a:pt x="8280845" y="342420"/>
                  <a:pt x="8283149" y="345665"/>
                </a:cubicBezTo>
                <a:lnTo>
                  <a:pt x="8284276" y="350108"/>
                </a:lnTo>
                <a:lnTo>
                  <a:pt x="8295173" y="355931"/>
                </a:lnTo>
                <a:lnTo>
                  <a:pt x="8314432" y="369826"/>
                </a:lnTo>
                <a:lnTo>
                  <a:pt x="8320104" y="370152"/>
                </a:lnTo>
                <a:lnTo>
                  <a:pt x="8352372" y="387570"/>
                </a:lnTo>
                <a:lnTo>
                  <a:pt x="8353799" y="386730"/>
                </a:lnTo>
                <a:cubicBezTo>
                  <a:pt x="8357733" y="385247"/>
                  <a:pt x="8362024" y="384899"/>
                  <a:pt x="8367182" y="386924"/>
                </a:cubicBezTo>
                <a:lnTo>
                  <a:pt x="8490249" y="400966"/>
                </a:lnTo>
                <a:lnTo>
                  <a:pt x="8497594" y="404016"/>
                </a:lnTo>
                <a:lnTo>
                  <a:pt x="8497968" y="403837"/>
                </a:lnTo>
                <a:cubicBezTo>
                  <a:pt x="8500048" y="403987"/>
                  <a:pt x="8502649" y="404798"/>
                  <a:pt x="8506167" y="406575"/>
                </a:cubicBezTo>
                <a:lnTo>
                  <a:pt x="8510983" y="409576"/>
                </a:lnTo>
                <a:lnTo>
                  <a:pt x="8525230" y="415491"/>
                </a:lnTo>
                <a:lnTo>
                  <a:pt x="8596071" y="400649"/>
                </a:lnTo>
                <a:cubicBezTo>
                  <a:pt x="8639145" y="406126"/>
                  <a:pt x="8671609" y="389686"/>
                  <a:pt x="8707847" y="409221"/>
                </a:cubicBezTo>
                <a:cubicBezTo>
                  <a:pt x="8748197" y="414263"/>
                  <a:pt x="8719822" y="400602"/>
                  <a:pt x="8752444" y="411322"/>
                </a:cubicBezTo>
                <a:cubicBezTo>
                  <a:pt x="8789303" y="414879"/>
                  <a:pt x="8898034" y="429534"/>
                  <a:pt x="8928988" y="430554"/>
                </a:cubicBezTo>
                <a:cubicBezTo>
                  <a:pt x="8955520" y="410467"/>
                  <a:pt x="8954693" y="419415"/>
                  <a:pt x="8963048" y="427366"/>
                </a:cubicBezTo>
                <a:lnTo>
                  <a:pt x="8968011" y="425141"/>
                </a:lnTo>
                <a:lnTo>
                  <a:pt x="8974337" y="424441"/>
                </a:lnTo>
                <a:lnTo>
                  <a:pt x="8990394" y="427667"/>
                </a:lnTo>
                <a:lnTo>
                  <a:pt x="8996232" y="429728"/>
                </a:lnTo>
                <a:cubicBezTo>
                  <a:pt x="9000327" y="430831"/>
                  <a:pt x="9003146" y="431159"/>
                  <a:pt x="9005201" y="430939"/>
                </a:cubicBezTo>
                <a:lnTo>
                  <a:pt x="9005486" y="430699"/>
                </a:lnTo>
                <a:lnTo>
                  <a:pt x="9053453" y="433984"/>
                </a:lnTo>
                <a:cubicBezTo>
                  <a:pt x="9068117" y="420419"/>
                  <a:pt x="9112391" y="454853"/>
                  <a:pt x="9113812" y="425670"/>
                </a:cubicBezTo>
                <a:cubicBezTo>
                  <a:pt x="9130955" y="430499"/>
                  <a:pt x="9138865" y="443788"/>
                  <a:pt x="9137318" y="424304"/>
                </a:cubicBezTo>
                <a:cubicBezTo>
                  <a:pt x="9143084" y="425358"/>
                  <a:pt x="9147048" y="424266"/>
                  <a:pt x="9150210" y="422135"/>
                </a:cubicBezTo>
                <a:lnTo>
                  <a:pt x="9151232" y="421070"/>
                </a:lnTo>
                <a:lnTo>
                  <a:pt x="9189246" y="432272"/>
                </a:lnTo>
                <a:lnTo>
                  <a:pt x="9194810" y="441511"/>
                </a:lnTo>
                <a:lnTo>
                  <a:pt x="9231370" y="451590"/>
                </a:lnTo>
                <a:lnTo>
                  <a:pt x="9343052" y="503495"/>
                </a:lnTo>
                <a:cubicBezTo>
                  <a:pt x="9415432" y="508795"/>
                  <a:pt x="9518955" y="534921"/>
                  <a:pt x="9584507" y="549197"/>
                </a:cubicBezTo>
                <a:cubicBezTo>
                  <a:pt x="9602038" y="561809"/>
                  <a:pt x="9675059" y="570203"/>
                  <a:pt x="9728309" y="560617"/>
                </a:cubicBezTo>
                <a:lnTo>
                  <a:pt x="9847792" y="580824"/>
                </a:lnTo>
                <a:cubicBezTo>
                  <a:pt x="9888744" y="590649"/>
                  <a:pt x="9918983" y="587450"/>
                  <a:pt x="9960019" y="587592"/>
                </a:cubicBezTo>
                <a:cubicBezTo>
                  <a:pt x="9984397" y="592516"/>
                  <a:pt x="9998461" y="593006"/>
                  <a:pt x="10039240" y="603107"/>
                </a:cubicBezTo>
                <a:cubicBezTo>
                  <a:pt x="10046863" y="602184"/>
                  <a:pt x="10074570" y="603512"/>
                  <a:pt x="10082169" y="601443"/>
                </a:cubicBezTo>
                <a:lnTo>
                  <a:pt x="10126500" y="603538"/>
                </a:lnTo>
                <a:lnTo>
                  <a:pt x="10261101" y="615053"/>
                </a:lnTo>
                <a:cubicBezTo>
                  <a:pt x="10274744" y="622448"/>
                  <a:pt x="10323589" y="631514"/>
                  <a:pt x="10336855" y="624804"/>
                </a:cubicBezTo>
                <a:cubicBezTo>
                  <a:pt x="10347867" y="624959"/>
                  <a:pt x="10374830" y="633622"/>
                  <a:pt x="10383868" y="625415"/>
                </a:cubicBezTo>
                <a:cubicBezTo>
                  <a:pt x="10409284" y="632493"/>
                  <a:pt x="10436539" y="633300"/>
                  <a:pt x="10445984" y="629262"/>
                </a:cubicBezTo>
                <a:cubicBezTo>
                  <a:pt x="10473833" y="619395"/>
                  <a:pt x="10495464" y="632839"/>
                  <a:pt x="10519280" y="631320"/>
                </a:cubicBezTo>
                <a:cubicBezTo>
                  <a:pt x="10558606" y="636140"/>
                  <a:pt x="10616449" y="646751"/>
                  <a:pt x="10644619" y="651566"/>
                </a:cubicBezTo>
                <a:cubicBezTo>
                  <a:pt x="10707078" y="667239"/>
                  <a:pt x="10806649" y="700317"/>
                  <a:pt x="10857724" y="712684"/>
                </a:cubicBezTo>
                <a:cubicBezTo>
                  <a:pt x="10915291" y="725495"/>
                  <a:pt x="10885368" y="688933"/>
                  <a:pt x="10951063" y="725767"/>
                </a:cubicBezTo>
                <a:cubicBezTo>
                  <a:pt x="10982008" y="727705"/>
                  <a:pt x="11007787" y="723528"/>
                  <a:pt x="11030956" y="721011"/>
                </a:cubicBezTo>
                <a:cubicBezTo>
                  <a:pt x="11029909" y="706023"/>
                  <a:pt x="11057496" y="724188"/>
                  <a:pt x="11085938" y="723892"/>
                </a:cubicBezTo>
                <a:cubicBezTo>
                  <a:pt x="11102606" y="725362"/>
                  <a:pt x="11125909" y="729502"/>
                  <a:pt x="11143411" y="733141"/>
                </a:cubicBezTo>
                <a:cubicBezTo>
                  <a:pt x="11171652" y="736317"/>
                  <a:pt x="11164089" y="762276"/>
                  <a:pt x="11195087" y="732494"/>
                </a:cubicBezTo>
                <a:cubicBezTo>
                  <a:pt x="11221976" y="745071"/>
                  <a:pt x="11231916" y="754905"/>
                  <a:pt x="11273972" y="753513"/>
                </a:cubicBezTo>
                <a:cubicBezTo>
                  <a:pt x="11288331" y="764337"/>
                  <a:pt x="11354320" y="819231"/>
                  <a:pt x="11369715" y="813181"/>
                </a:cubicBezTo>
                <a:cubicBezTo>
                  <a:pt x="11408024" y="821140"/>
                  <a:pt x="11417570" y="873027"/>
                  <a:pt x="11462695" y="874654"/>
                </a:cubicBezTo>
                <a:cubicBezTo>
                  <a:pt x="11507338" y="891120"/>
                  <a:pt x="11468277" y="926374"/>
                  <a:pt x="11516473" y="928206"/>
                </a:cubicBezTo>
                <a:lnTo>
                  <a:pt x="11585369" y="1004898"/>
                </a:lnTo>
                <a:cubicBezTo>
                  <a:pt x="11627915" y="1047460"/>
                  <a:pt x="11688670" y="1023969"/>
                  <a:pt x="11712382" y="1047864"/>
                </a:cubicBezTo>
                <a:cubicBezTo>
                  <a:pt x="11736094" y="1071759"/>
                  <a:pt x="11860362" y="1135225"/>
                  <a:pt x="11894613" y="1148265"/>
                </a:cubicBezTo>
                <a:cubicBezTo>
                  <a:pt x="11928864" y="1161305"/>
                  <a:pt x="11872782" y="1124390"/>
                  <a:pt x="11917888" y="1126105"/>
                </a:cubicBezTo>
                <a:cubicBezTo>
                  <a:pt x="11967364" y="1138091"/>
                  <a:pt x="11978191" y="1115038"/>
                  <a:pt x="12080164" y="1090885"/>
                </a:cubicBezTo>
                <a:cubicBezTo>
                  <a:pt x="12093592" y="1092452"/>
                  <a:pt x="12126659" y="1037250"/>
                  <a:pt x="12140863" y="1035036"/>
                </a:cubicBezTo>
                <a:lnTo>
                  <a:pt x="12192002" y="1015838"/>
                </a:lnTo>
                <a:lnTo>
                  <a:pt x="12192002" y="1955549"/>
                </a:lnTo>
                <a:lnTo>
                  <a:pt x="12192000" y="1955549"/>
                </a:lnTo>
                <a:lnTo>
                  <a:pt x="12192000" y="2122526"/>
                </a:lnTo>
                <a:lnTo>
                  <a:pt x="0" y="2122526"/>
                </a:lnTo>
                <a:lnTo>
                  <a:pt x="0" y="1348327"/>
                </a:lnTo>
                <a:lnTo>
                  <a:pt x="2" y="1348327"/>
                </a:lnTo>
                <a:lnTo>
                  <a:pt x="2" y="592017"/>
                </a:lnTo>
                <a:lnTo>
                  <a:pt x="15526" y="586548"/>
                </a:lnTo>
                <a:cubicBezTo>
                  <a:pt x="35255" y="585160"/>
                  <a:pt x="72229" y="592802"/>
                  <a:pt x="118381" y="583692"/>
                </a:cubicBezTo>
                <a:lnTo>
                  <a:pt x="292435" y="531887"/>
                </a:lnTo>
                <a:cubicBezTo>
                  <a:pt x="333820" y="524854"/>
                  <a:pt x="366418" y="510849"/>
                  <a:pt x="404015" y="511191"/>
                </a:cubicBezTo>
                <a:cubicBezTo>
                  <a:pt x="415660" y="502454"/>
                  <a:pt x="428065" y="497716"/>
                  <a:pt x="445099" y="505368"/>
                </a:cubicBezTo>
                <a:cubicBezTo>
                  <a:pt x="473049" y="498059"/>
                  <a:pt x="549479" y="473644"/>
                  <a:pt x="571717" y="467338"/>
                </a:cubicBezTo>
                <a:lnTo>
                  <a:pt x="578535" y="467527"/>
                </a:lnTo>
                <a:cubicBezTo>
                  <a:pt x="582714" y="467117"/>
                  <a:pt x="586282" y="465474"/>
                  <a:pt x="596792" y="464875"/>
                </a:cubicBezTo>
                <a:cubicBezTo>
                  <a:pt x="618517" y="457289"/>
                  <a:pt x="688384" y="430106"/>
                  <a:pt x="708875" y="422017"/>
                </a:cubicBezTo>
                <a:cubicBezTo>
                  <a:pt x="714996" y="421315"/>
                  <a:pt x="718074" y="419183"/>
                  <a:pt x="719742" y="416340"/>
                </a:cubicBezTo>
                <a:cubicBezTo>
                  <a:pt x="719843" y="415919"/>
                  <a:pt x="719947" y="415498"/>
                  <a:pt x="720047" y="415078"/>
                </a:cubicBezTo>
                <a:lnTo>
                  <a:pt x="763053" y="414307"/>
                </a:lnTo>
                <a:lnTo>
                  <a:pt x="767901" y="412086"/>
                </a:lnTo>
                <a:lnTo>
                  <a:pt x="797041" y="414293"/>
                </a:lnTo>
                <a:lnTo>
                  <a:pt x="811506" y="413988"/>
                </a:lnTo>
                <a:lnTo>
                  <a:pt x="816809" y="416882"/>
                </a:lnTo>
                <a:cubicBezTo>
                  <a:pt x="821862" y="418352"/>
                  <a:pt x="828232" y="418327"/>
                  <a:pt x="837540" y="414918"/>
                </a:cubicBezTo>
                <a:lnTo>
                  <a:pt x="858269" y="416131"/>
                </a:lnTo>
                <a:cubicBezTo>
                  <a:pt x="864622" y="417683"/>
                  <a:pt x="943264" y="400945"/>
                  <a:pt x="948732" y="404293"/>
                </a:cubicBezTo>
                <a:cubicBezTo>
                  <a:pt x="1007438" y="402718"/>
                  <a:pt x="1078958" y="412604"/>
                  <a:pt x="1149979" y="406698"/>
                </a:cubicBezTo>
                <a:cubicBezTo>
                  <a:pt x="1264076" y="391985"/>
                  <a:pt x="1418281" y="371972"/>
                  <a:pt x="1496110" y="357263"/>
                </a:cubicBezTo>
                <a:cubicBezTo>
                  <a:pt x="1524373" y="323194"/>
                  <a:pt x="1569686" y="343349"/>
                  <a:pt x="1608669" y="331673"/>
                </a:cubicBezTo>
                <a:cubicBezTo>
                  <a:pt x="1628634" y="319376"/>
                  <a:pt x="1652708" y="325981"/>
                  <a:pt x="1675071" y="324776"/>
                </a:cubicBezTo>
                <a:cubicBezTo>
                  <a:pt x="1696661" y="320902"/>
                  <a:pt x="1719608" y="311993"/>
                  <a:pt x="1738204" y="308427"/>
                </a:cubicBezTo>
                <a:lnTo>
                  <a:pt x="1786655" y="303376"/>
                </a:lnTo>
                <a:cubicBezTo>
                  <a:pt x="1814690" y="308462"/>
                  <a:pt x="1843563" y="316239"/>
                  <a:pt x="1873080" y="330998"/>
                </a:cubicBezTo>
                <a:cubicBezTo>
                  <a:pt x="1885328" y="340074"/>
                  <a:pt x="1907076" y="340787"/>
                  <a:pt x="1921650" y="332593"/>
                </a:cubicBezTo>
                <a:cubicBezTo>
                  <a:pt x="1924160" y="331181"/>
                  <a:pt x="1926358" y="329554"/>
                  <a:pt x="1928172" y="327762"/>
                </a:cubicBezTo>
                <a:cubicBezTo>
                  <a:pt x="1964849" y="349443"/>
                  <a:pt x="1978703" y="334060"/>
                  <a:pt x="1997356" y="349707"/>
                </a:cubicBezTo>
                <a:cubicBezTo>
                  <a:pt x="2045552" y="350382"/>
                  <a:pt x="2077539" y="328078"/>
                  <a:pt x="2094665" y="341687"/>
                </a:cubicBezTo>
                <a:cubicBezTo>
                  <a:pt x="2129868" y="337565"/>
                  <a:pt x="2171836" y="328633"/>
                  <a:pt x="2208578" y="324976"/>
                </a:cubicBezTo>
                <a:cubicBezTo>
                  <a:pt x="2233182" y="323400"/>
                  <a:pt x="2276000" y="319205"/>
                  <a:pt x="2315112" y="319743"/>
                </a:cubicBezTo>
                <a:cubicBezTo>
                  <a:pt x="2354027" y="341739"/>
                  <a:pt x="2411581" y="311650"/>
                  <a:pt x="2443255" y="328210"/>
                </a:cubicBezTo>
                <a:lnTo>
                  <a:pt x="2568028" y="342111"/>
                </a:lnTo>
                <a:cubicBezTo>
                  <a:pt x="2608701" y="337537"/>
                  <a:pt x="2582516" y="375805"/>
                  <a:pt x="2646527" y="315870"/>
                </a:cubicBezTo>
                <a:cubicBezTo>
                  <a:pt x="2717602" y="329320"/>
                  <a:pt x="2719299" y="298751"/>
                  <a:pt x="2781569" y="326406"/>
                </a:cubicBezTo>
                <a:lnTo>
                  <a:pt x="3030291" y="348227"/>
                </a:lnTo>
                <a:cubicBezTo>
                  <a:pt x="3072289" y="343635"/>
                  <a:pt x="3082691" y="349641"/>
                  <a:pt x="3142556" y="350870"/>
                </a:cubicBezTo>
                <a:cubicBezTo>
                  <a:pt x="3203390" y="348332"/>
                  <a:pt x="3209724" y="356304"/>
                  <a:pt x="3262356" y="358645"/>
                </a:cubicBezTo>
                <a:cubicBezTo>
                  <a:pt x="3295546" y="360921"/>
                  <a:pt x="3336380" y="362051"/>
                  <a:pt x="3341698" y="364522"/>
                </a:cubicBezTo>
                <a:lnTo>
                  <a:pt x="3344026" y="363547"/>
                </a:lnTo>
                <a:cubicBezTo>
                  <a:pt x="3353997" y="361853"/>
                  <a:pt x="3359859" y="362931"/>
                  <a:pt x="3363888" y="365229"/>
                </a:cubicBezTo>
                <a:lnTo>
                  <a:pt x="3400728" y="382181"/>
                </a:lnTo>
                <a:lnTo>
                  <a:pt x="3473223" y="370133"/>
                </a:lnTo>
                <a:cubicBezTo>
                  <a:pt x="3488625" y="364503"/>
                  <a:pt x="3513943" y="370768"/>
                  <a:pt x="3536135" y="366472"/>
                </a:cubicBezTo>
                <a:cubicBezTo>
                  <a:pt x="3549392" y="369181"/>
                  <a:pt x="3571626" y="354982"/>
                  <a:pt x="3585978" y="356773"/>
                </a:cubicBezTo>
                <a:lnTo>
                  <a:pt x="3594501" y="357463"/>
                </a:lnTo>
                <a:lnTo>
                  <a:pt x="3594736" y="357194"/>
                </a:lnTo>
                <a:cubicBezTo>
                  <a:pt x="3596729" y="356739"/>
                  <a:pt x="3599583" y="356739"/>
                  <a:pt x="3603855" y="357358"/>
                </a:cubicBezTo>
                <a:lnTo>
                  <a:pt x="3610035" y="358720"/>
                </a:lnTo>
                <a:lnTo>
                  <a:pt x="3682513" y="326449"/>
                </a:lnTo>
                <a:cubicBezTo>
                  <a:pt x="3725132" y="319209"/>
                  <a:pt x="3741010" y="317232"/>
                  <a:pt x="3789760" y="302526"/>
                </a:cubicBezTo>
                <a:cubicBezTo>
                  <a:pt x="3829631" y="295662"/>
                  <a:pt x="3861095" y="281792"/>
                  <a:pt x="3897275" y="282288"/>
                </a:cubicBezTo>
                <a:cubicBezTo>
                  <a:pt x="3908538" y="273598"/>
                  <a:pt x="3920509" y="268909"/>
                  <a:pt x="3936846" y="276633"/>
                </a:cubicBezTo>
                <a:cubicBezTo>
                  <a:pt x="3972980" y="267440"/>
                  <a:pt x="3976670" y="252111"/>
                  <a:pt x="4004538" y="259176"/>
                </a:cubicBezTo>
                <a:cubicBezTo>
                  <a:pt x="4016877" y="233368"/>
                  <a:pt x="4021427" y="241744"/>
                  <a:pt x="4033778" y="246608"/>
                </a:cubicBezTo>
                <a:lnTo>
                  <a:pt x="4035363" y="246843"/>
                </a:lnTo>
                <a:lnTo>
                  <a:pt x="4036996" y="243176"/>
                </a:lnTo>
                <a:lnTo>
                  <a:pt x="4042364" y="240742"/>
                </a:lnTo>
                <a:lnTo>
                  <a:pt x="4058954" y="239121"/>
                </a:lnTo>
                <a:lnTo>
                  <a:pt x="4065510" y="239339"/>
                </a:lnTo>
                <a:cubicBezTo>
                  <a:pt x="4069909" y="239180"/>
                  <a:pt x="4072681" y="238679"/>
                  <a:pt x="4074427" y="237895"/>
                </a:cubicBezTo>
                <a:cubicBezTo>
                  <a:pt x="4074466" y="237796"/>
                  <a:pt x="4074507" y="237697"/>
                  <a:pt x="4074546" y="237596"/>
                </a:cubicBezTo>
                <a:lnTo>
                  <a:pt x="4083097" y="236761"/>
                </a:lnTo>
                <a:cubicBezTo>
                  <a:pt x="4099102" y="230874"/>
                  <a:pt x="4124720" y="217294"/>
                  <a:pt x="4142745" y="210228"/>
                </a:cubicBezTo>
                <a:cubicBezTo>
                  <a:pt x="4161277" y="209757"/>
                  <a:pt x="4204215" y="211652"/>
                  <a:pt x="4191248" y="194363"/>
                </a:cubicBezTo>
                <a:cubicBezTo>
                  <a:pt x="4197143" y="193685"/>
                  <a:pt x="4200119" y="191566"/>
                  <a:pt x="4201744" y="188729"/>
                </a:cubicBezTo>
                <a:cubicBezTo>
                  <a:pt x="4201845" y="188309"/>
                  <a:pt x="4201947" y="187890"/>
                  <a:pt x="4202048" y="187470"/>
                </a:cubicBezTo>
                <a:lnTo>
                  <a:pt x="4248116" y="184675"/>
                </a:lnTo>
                <a:lnTo>
                  <a:pt x="4276141" y="186999"/>
                </a:lnTo>
                <a:lnTo>
                  <a:pt x="4290062" y="186753"/>
                </a:lnTo>
                <a:lnTo>
                  <a:pt x="4295143" y="189670"/>
                </a:lnTo>
                <a:cubicBezTo>
                  <a:pt x="4299996" y="191161"/>
                  <a:pt x="4306126" y="191162"/>
                  <a:pt x="4315108" y="187791"/>
                </a:cubicBezTo>
                <a:lnTo>
                  <a:pt x="4316965" y="186450"/>
                </a:lnTo>
                <a:lnTo>
                  <a:pt x="4362875" y="193065"/>
                </a:lnTo>
                <a:cubicBezTo>
                  <a:pt x="4368977" y="194642"/>
                  <a:pt x="4423306" y="188348"/>
                  <a:pt x="4428542" y="191719"/>
                </a:cubicBezTo>
                <a:cubicBezTo>
                  <a:pt x="4462662" y="194921"/>
                  <a:pt x="4457822" y="194180"/>
                  <a:pt x="4515813" y="181068"/>
                </a:cubicBezTo>
                <a:cubicBezTo>
                  <a:pt x="4524746" y="178930"/>
                  <a:pt x="4680151" y="178122"/>
                  <a:pt x="4715526" y="171166"/>
                </a:cubicBezTo>
                <a:cubicBezTo>
                  <a:pt x="4741916" y="171832"/>
                  <a:pt x="4677963" y="180680"/>
                  <a:pt x="4762447" y="162678"/>
                </a:cubicBezTo>
                <a:cubicBezTo>
                  <a:pt x="4784109" y="162698"/>
                  <a:pt x="4806742" y="151552"/>
                  <a:pt x="4840439" y="134910"/>
                </a:cubicBezTo>
                <a:cubicBezTo>
                  <a:pt x="4916356" y="97503"/>
                  <a:pt x="4937025" y="110510"/>
                  <a:pt x="5011513" y="110893"/>
                </a:cubicBezTo>
                <a:cubicBezTo>
                  <a:pt x="5038947" y="76939"/>
                  <a:pt x="5028196" y="106028"/>
                  <a:pt x="5065790" y="94512"/>
                </a:cubicBezTo>
                <a:cubicBezTo>
                  <a:pt x="5064856" y="121900"/>
                  <a:pt x="5108319" y="72464"/>
                  <a:pt x="5121659" y="101083"/>
                </a:cubicBezTo>
                <a:cubicBezTo>
                  <a:pt x="5128079" y="98081"/>
                  <a:pt x="5133876" y="94270"/>
                  <a:pt x="5139595" y="90230"/>
                </a:cubicBezTo>
                <a:lnTo>
                  <a:pt x="5142598" y="88129"/>
                </a:lnTo>
                <a:lnTo>
                  <a:pt x="5156554" y="84729"/>
                </a:lnTo>
                <a:lnTo>
                  <a:pt x="5174660" y="77506"/>
                </a:lnTo>
                <a:lnTo>
                  <a:pt x="5222961" y="74516"/>
                </a:lnTo>
                <a:cubicBezTo>
                  <a:pt x="5230550" y="71886"/>
                  <a:pt x="5251598" y="63576"/>
                  <a:pt x="5261763" y="63392"/>
                </a:cubicBezTo>
                <a:lnTo>
                  <a:pt x="5381667" y="42975"/>
                </a:lnTo>
                <a:cubicBezTo>
                  <a:pt x="5391827" y="39989"/>
                  <a:pt x="5429368" y="35305"/>
                  <a:pt x="5432760" y="25273"/>
                </a:cubicBezTo>
                <a:cubicBezTo>
                  <a:pt x="5439009" y="12982"/>
                  <a:pt x="5478134" y="27048"/>
                  <a:pt x="5470905" y="14020"/>
                </a:cubicBezTo>
                <a:lnTo>
                  <a:pt x="5626960" y="0"/>
                </a:lnTo>
                <a:close/>
              </a:path>
            </a:pathLst>
          </a:custGeom>
          <a:solidFill>
            <a:srgbClr val="82766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Bembo"/>
              <a:ea typeface="+mn-ea"/>
              <a:cs typeface="+mn-cs"/>
            </a:endParaRPr>
          </a:p>
        </p:txBody>
      </p:sp>
      <p:sp>
        <p:nvSpPr>
          <p:cNvPr id="55" name="Picture Placeholder 54">
            <a:extLst>
              <a:ext uri="{FF2B5EF4-FFF2-40B4-BE49-F238E27FC236}">
                <a16:creationId xmlns:a16="http://schemas.microsoft.com/office/drawing/2014/main" id="{F3CA1D1D-8AC9-4DC2-B4AE-56AEBDEFC7BA}"/>
              </a:ext>
            </a:extLst>
          </p:cNvPr>
          <p:cNvSpPr>
            <a:spLocks noGrp="1"/>
          </p:cNvSpPr>
          <p:nvPr>
            <p:ph type="pic" sz="quarter" idx="10" hasCustomPrompt="1"/>
          </p:nvPr>
        </p:nvSpPr>
        <p:spPr>
          <a:xfrm>
            <a:off x="1" y="0"/>
            <a:ext cx="12191999" cy="6062663"/>
          </a:xfrm>
          <a:custGeom>
            <a:avLst/>
            <a:gdLst>
              <a:gd name="connsiteX0" fmla="*/ 0 w 12191999"/>
              <a:gd name="connsiteY0" fmla="*/ 0 h 6062663"/>
              <a:gd name="connsiteX1" fmla="*/ 12191999 w 12191999"/>
              <a:gd name="connsiteY1" fmla="*/ 0 h 6062663"/>
              <a:gd name="connsiteX2" fmla="*/ 12191999 w 12191999"/>
              <a:gd name="connsiteY2" fmla="*/ 6062663 h 6062663"/>
              <a:gd name="connsiteX3" fmla="*/ 12191998 w 12191999"/>
              <a:gd name="connsiteY3" fmla="*/ 6062663 h 6062663"/>
              <a:gd name="connsiteX4" fmla="*/ 12191998 w 12191999"/>
              <a:gd name="connsiteY4" fmla="*/ 5840727 h 6062663"/>
              <a:gd name="connsiteX5" fmla="*/ 12140859 w 12191999"/>
              <a:gd name="connsiteY5" fmla="*/ 5858383 h 6062663"/>
              <a:gd name="connsiteX6" fmla="*/ 12080160 w 12191999"/>
              <a:gd name="connsiteY6" fmla="*/ 5909745 h 6062663"/>
              <a:gd name="connsiteX7" fmla="*/ 11917884 w 12191999"/>
              <a:gd name="connsiteY7" fmla="*/ 5942135 h 6062663"/>
              <a:gd name="connsiteX8" fmla="*/ 11894609 w 12191999"/>
              <a:gd name="connsiteY8" fmla="*/ 5962515 h 6062663"/>
              <a:gd name="connsiteX9" fmla="*/ 11712378 w 12191999"/>
              <a:gd name="connsiteY9" fmla="*/ 5870180 h 6062663"/>
              <a:gd name="connsiteX10" fmla="*/ 11585365 w 12191999"/>
              <a:gd name="connsiteY10" fmla="*/ 5830666 h 6062663"/>
              <a:gd name="connsiteX11" fmla="*/ 11516469 w 12191999"/>
              <a:gd name="connsiteY11" fmla="*/ 5760136 h 6062663"/>
              <a:gd name="connsiteX12" fmla="*/ 11462691 w 12191999"/>
              <a:gd name="connsiteY12" fmla="*/ 5710886 h 6062663"/>
              <a:gd name="connsiteX13" fmla="*/ 11369711 w 12191999"/>
              <a:gd name="connsiteY13" fmla="*/ 5654352 h 6062663"/>
              <a:gd name="connsiteX14" fmla="*/ 11273968 w 12191999"/>
              <a:gd name="connsiteY14" fmla="*/ 5599478 h 6062663"/>
              <a:gd name="connsiteX15" fmla="*/ 11195083 w 12191999"/>
              <a:gd name="connsiteY15" fmla="*/ 5580148 h 6062663"/>
              <a:gd name="connsiteX16" fmla="*/ 11143407 w 12191999"/>
              <a:gd name="connsiteY16" fmla="*/ 5580743 h 6062663"/>
              <a:gd name="connsiteX17" fmla="*/ 11085934 w 12191999"/>
              <a:gd name="connsiteY17" fmla="*/ 5572237 h 6062663"/>
              <a:gd name="connsiteX18" fmla="*/ 11030952 w 12191999"/>
              <a:gd name="connsiteY18" fmla="*/ 5569587 h 6062663"/>
              <a:gd name="connsiteX19" fmla="*/ 10951059 w 12191999"/>
              <a:gd name="connsiteY19" fmla="*/ 5573961 h 6062663"/>
              <a:gd name="connsiteX20" fmla="*/ 10857720 w 12191999"/>
              <a:gd name="connsiteY20" fmla="*/ 5561929 h 6062663"/>
              <a:gd name="connsiteX21" fmla="*/ 10644615 w 12191999"/>
              <a:gd name="connsiteY21" fmla="*/ 5505722 h 6062663"/>
              <a:gd name="connsiteX22" fmla="*/ 10519276 w 12191999"/>
              <a:gd name="connsiteY22" fmla="*/ 5487102 h 6062663"/>
              <a:gd name="connsiteX23" fmla="*/ 10445980 w 12191999"/>
              <a:gd name="connsiteY23" fmla="*/ 5485210 h 6062663"/>
              <a:gd name="connsiteX24" fmla="*/ 10383864 w 12191999"/>
              <a:gd name="connsiteY24" fmla="*/ 5481672 h 6062663"/>
              <a:gd name="connsiteX25" fmla="*/ 10336851 w 12191999"/>
              <a:gd name="connsiteY25" fmla="*/ 5481110 h 6062663"/>
              <a:gd name="connsiteX26" fmla="*/ 10261097 w 12191999"/>
              <a:gd name="connsiteY26" fmla="*/ 5472142 h 6062663"/>
              <a:gd name="connsiteX27" fmla="*/ 10126496 w 12191999"/>
              <a:gd name="connsiteY27" fmla="*/ 5461552 h 6062663"/>
              <a:gd name="connsiteX28" fmla="*/ 10082165 w 12191999"/>
              <a:gd name="connsiteY28" fmla="*/ 5459626 h 6062663"/>
              <a:gd name="connsiteX29" fmla="*/ 10039236 w 12191999"/>
              <a:gd name="connsiteY29" fmla="*/ 5461156 h 6062663"/>
              <a:gd name="connsiteX30" fmla="*/ 9960015 w 12191999"/>
              <a:gd name="connsiteY30" fmla="*/ 5446888 h 6062663"/>
              <a:gd name="connsiteX31" fmla="*/ 9847788 w 12191999"/>
              <a:gd name="connsiteY31" fmla="*/ 5440663 h 6062663"/>
              <a:gd name="connsiteX32" fmla="*/ 9728305 w 12191999"/>
              <a:gd name="connsiteY32" fmla="*/ 5422080 h 6062663"/>
              <a:gd name="connsiteX33" fmla="*/ 9584503 w 12191999"/>
              <a:gd name="connsiteY33" fmla="*/ 5411577 h 6062663"/>
              <a:gd name="connsiteX34" fmla="*/ 9343048 w 12191999"/>
              <a:gd name="connsiteY34" fmla="*/ 5369547 h 6062663"/>
              <a:gd name="connsiteX35" fmla="*/ 9231366 w 12191999"/>
              <a:gd name="connsiteY35" fmla="*/ 5321812 h 6062663"/>
              <a:gd name="connsiteX36" fmla="*/ 9194806 w 12191999"/>
              <a:gd name="connsiteY36" fmla="*/ 5312543 h 6062663"/>
              <a:gd name="connsiteX37" fmla="*/ 9189242 w 12191999"/>
              <a:gd name="connsiteY37" fmla="*/ 5304046 h 6062663"/>
              <a:gd name="connsiteX38" fmla="*/ 9151228 w 12191999"/>
              <a:gd name="connsiteY38" fmla="*/ 5293744 h 6062663"/>
              <a:gd name="connsiteX39" fmla="*/ 9150206 w 12191999"/>
              <a:gd name="connsiteY39" fmla="*/ 5294724 h 6062663"/>
              <a:gd name="connsiteX40" fmla="*/ 9137315 w 12191999"/>
              <a:gd name="connsiteY40" fmla="*/ 5296719 h 6062663"/>
              <a:gd name="connsiteX41" fmla="*/ 9113809 w 12191999"/>
              <a:gd name="connsiteY41" fmla="*/ 5297975 h 6062663"/>
              <a:gd name="connsiteX42" fmla="*/ 9053450 w 12191999"/>
              <a:gd name="connsiteY42" fmla="*/ 5305621 h 6062663"/>
              <a:gd name="connsiteX43" fmla="*/ 9005483 w 12191999"/>
              <a:gd name="connsiteY43" fmla="*/ 5302600 h 6062663"/>
              <a:gd name="connsiteX44" fmla="*/ 9005198 w 12191999"/>
              <a:gd name="connsiteY44" fmla="*/ 5302821 h 6062663"/>
              <a:gd name="connsiteX45" fmla="*/ 8996229 w 12191999"/>
              <a:gd name="connsiteY45" fmla="*/ 5301707 h 6062663"/>
              <a:gd name="connsiteX46" fmla="*/ 8990391 w 12191999"/>
              <a:gd name="connsiteY46" fmla="*/ 5299811 h 6062663"/>
              <a:gd name="connsiteX47" fmla="*/ 8974334 w 12191999"/>
              <a:gd name="connsiteY47" fmla="*/ 5296845 h 6062663"/>
              <a:gd name="connsiteX48" fmla="*/ 8968008 w 12191999"/>
              <a:gd name="connsiteY48" fmla="*/ 5297488 h 6062663"/>
              <a:gd name="connsiteX49" fmla="*/ 8963045 w 12191999"/>
              <a:gd name="connsiteY49" fmla="*/ 5299535 h 6062663"/>
              <a:gd name="connsiteX50" fmla="*/ 8928985 w 12191999"/>
              <a:gd name="connsiteY50" fmla="*/ 5302466 h 6062663"/>
              <a:gd name="connsiteX51" fmla="*/ 8752441 w 12191999"/>
              <a:gd name="connsiteY51" fmla="*/ 5284780 h 6062663"/>
              <a:gd name="connsiteX52" fmla="*/ 8707844 w 12191999"/>
              <a:gd name="connsiteY52" fmla="*/ 5282847 h 6062663"/>
              <a:gd name="connsiteX53" fmla="*/ 8596068 w 12191999"/>
              <a:gd name="connsiteY53" fmla="*/ 5274964 h 6062663"/>
              <a:gd name="connsiteX54" fmla="*/ 8525227 w 12191999"/>
              <a:gd name="connsiteY54" fmla="*/ 5288614 h 6062663"/>
              <a:gd name="connsiteX55" fmla="*/ 8510980 w 12191999"/>
              <a:gd name="connsiteY55" fmla="*/ 5283174 h 6062663"/>
              <a:gd name="connsiteX56" fmla="*/ 8506164 w 12191999"/>
              <a:gd name="connsiteY56" fmla="*/ 5280414 h 6062663"/>
              <a:gd name="connsiteX57" fmla="*/ 8497965 w 12191999"/>
              <a:gd name="connsiteY57" fmla="*/ 5277896 h 6062663"/>
              <a:gd name="connsiteX58" fmla="*/ 8497591 w 12191999"/>
              <a:gd name="connsiteY58" fmla="*/ 5278061 h 6062663"/>
              <a:gd name="connsiteX59" fmla="*/ 8490246 w 12191999"/>
              <a:gd name="connsiteY59" fmla="*/ 5275256 h 6062663"/>
              <a:gd name="connsiteX60" fmla="*/ 8367179 w 12191999"/>
              <a:gd name="connsiteY60" fmla="*/ 5262342 h 6062663"/>
              <a:gd name="connsiteX61" fmla="*/ 8353796 w 12191999"/>
              <a:gd name="connsiteY61" fmla="*/ 5262163 h 6062663"/>
              <a:gd name="connsiteX62" fmla="*/ 8352369 w 12191999"/>
              <a:gd name="connsiteY62" fmla="*/ 5262936 h 6062663"/>
              <a:gd name="connsiteX63" fmla="*/ 8320101 w 12191999"/>
              <a:gd name="connsiteY63" fmla="*/ 5246917 h 6062663"/>
              <a:gd name="connsiteX64" fmla="*/ 8314429 w 12191999"/>
              <a:gd name="connsiteY64" fmla="*/ 5246617 h 6062663"/>
              <a:gd name="connsiteX65" fmla="*/ 8295170 w 12191999"/>
              <a:gd name="connsiteY65" fmla="*/ 5233839 h 6062663"/>
              <a:gd name="connsiteX66" fmla="*/ 8284273 w 12191999"/>
              <a:gd name="connsiteY66" fmla="*/ 5228484 h 6062663"/>
              <a:gd name="connsiteX67" fmla="*/ 8283146 w 12191999"/>
              <a:gd name="connsiteY67" fmla="*/ 5224398 h 6062663"/>
              <a:gd name="connsiteX68" fmla="*/ 8266072 w 12191999"/>
              <a:gd name="connsiteY68" fmla="*/ 5217799 h 6062663"/>
              <a:gd name="connsiteX69" fmla="*/ 8263373 w 12191999"/>
              <a:gd name="connsiteY69" fmla="*/ 5218011 h 6062663"/>
              <a:gd name="connsiteX70" fmla="*/ 8252030 w 12191999"/>
              <a:gd name="connsiteY70" fmla="*/ 5208958 h 6062663"/>
              <a:gd name="connsiteX71" fmla="*/ 8245831 w 12191999"/>
              <a:gd name="connsiteY71" fmla="*/ 5197010 h 6062663"/>
              <a:gd name="connsiteX72" fmla="*/ 8090268 w 12191999"/>
              <a:gd name="connsiteY72" fmla="*/ 5154558 h 6062663"/>
              <a:gd name="connsiteX73" fmla="*/ 7905404 w 12191999"/>
              <a:gd name="connsiteY73" fmla="*/ 5115957 h 6062663"/>
              <a:gd name="connsiteX74" fmla="*/ 7718741 w 12191999"/>
              <a:gd name="connsiteY74" fmla="*/ 5092308 h 6062663"/>
              <a:gd name="connsiteX75" fmla="*/ 7614343 w 12191999"/>
              <a:gd name="connsiteY75" fmla="*/ 5095500 h 6062663"/>
              <a:gd name="connsiteX76" fmla="*/ 7527539 w 12191999"/>
              <a:gd name="connsiteY76" fmla="*/ 5090141 h 6062663"/>
              <a:gd name="connsiteX77" fmla="*/ 7519567 w 12191999"/>
              <a:gd name="connsiteY77" fmla="*/ 5087793 h 6062663"/>
              <a:gd name="connsiteX78" fmla="*/ 7507408 w 12191999"/>
              <a:gd name="connsiteY78" fmla="*/ 5086565 h 6062663"/>
              <a:gd name="connsiteX79" fmla="*/ 7507036 w 12191999"/>
              <a:gd name="connsiteY79" fmla="*/ 5086866 h 6062663"/>
              <a:gd name="connsiteX80" fmla="*/ 7495791 w 12191999"/>
              <a:gd name="connsiteY80" fmla="*/ 5085070 h 6062663"/>
              <a:gd name="connsiteX81" fmla="*/ 7405387 w 12191999"/>
              <a:gd name="connsiteY81" fmla="*/ 5092524 h 6062663"/>
              <a:gd name="connsiteX82" fmla="*/ 7312176 w 12191999"/>
              <a:gd name="connsiteY82" fmla="*/ 5101348 h 6062663"/>
              <a:gd name="connsiteX83" fmla="*/ 7310849 w 12191999"/>
              <a:gd name="connsiteY83" fmla="*/ 5102675 h 6062663"/>
              <a:gd name="connsiteX84" fmla="*/ 7218556 w 12191999"/>
              <a:gd name="connsiteY84" fmla="*/ 5079454 h 6062663"/>
              <a:gd name="connsiteX85" fmla="*/ 7201098 w 12191999"/>
              <a:gd name="connsiteY85" fmla="*/ 5075270 h 6062663"/>
              <a:gd name="connsiteX86" fmla="*/ 7197000 w 12191999"/>
              <a:gd name="connsiteY86" fmla="*/ 5070342 h 6062663"/>
              <a:gd name="connsiteX87" fmla="*/ 7170804 w 12191999"/>
              <a:gd name="connsiteY87" fmla="*/ 5066068 h 6062663"/>
              <a:gd name="connsiteX88" fmla="*/ 7096984 w 12191999"/>
              <a:gd name="connsiteY88" fmla="*/ 5054822 h 6062663"/>
              <a:gd name="connsiteX89" fmla="*/ 7018492 w 12191999"/>
              <a:gd name="connsiteY89" fmla="*/ 5055166 h 6062663"/>
              <a:gd name="connsiteX90" fmla="*/ 6904142 w 12191999"/>
              <a:gd name="connsiteY90" fmla="*/ 5028031 h 6062663"/>
              <a:gd name="connsiteX91" fmla="*/ 6708218 w 12191999"/>
              <a:gd name="connsiteY91" fmla="*/ 5002322 h 6062663"/>
              <a:gd name="connsiteX92" fmla="*/ 6549451 w 12191999"/>
              <a:gd name="connsiteY92" fmla="*/ 4975857 h 6062663"/>
              <a:gd name="connsiteX93" fmla="*/ 6317556 w 12191999"/>
              <a:gd name="connsiteY93" fmla="*/ 4932817 h 6062663"/>
              <a:gd name="connsiteX94" fmla="*/ 6168670 w 12191999"/>
              <a:gd name="connsiteY94" fmla="*/ 4930898 h 6062663"/>
              <a:gd name="connsiteX95" fmla="*/ 6073844 w 12191999"/>
              <a:gd name="connsiteY95" fmla="*/ 4912080 h 6062663"/>
              <a:gd name="connsiteX96" fmla="*/ 6068526 w 12191999"/>
              <a:gd name="connsiteY96" fmla="*/ 4913494 h 6062663"/>
              <a:gd name="connsiteX97" fmla="*/ 6048634 w 12191999"/>
              <a:gd name="connsiteY97" fmla="*/ 4912866 h 6062663"/>
              <a:gd name="connsiteX98" fmla="*/ 6041279 w 12191999"/>
              <a:gd name="connsiteY98" fmla="*/ 4920544 h 6062663"/>
              <a:gd name="connsiteX99" fmla="*/ 6010087 w 12191999"/>
              <a:gd name="connsiteY99" fmla="*/ 4925228 h 6062663"/>
              <a:gd name="connsiteX100" fmla="*/ 5957372 w 12191999"/>
              <a:gd name="connsiteY100" fmla="*/ 4921876 h 6062663"/>
              <a:gd name="connsiteX101" fmla="*/ 5758915 w 12191999"/>
              <a:gd name="connsiteY101" fmla="*/ 4907445 h 6062663"/>
              <a:gd name="connsiteX102" fmla="*/ 5626957 w 12191999"/>
              <a:gd name="connsiteY102" fmla="*/ 4906504 h 6062663"/>
              <a:gd name="connsiteX103" fmla="*/ 5470902 w 12191999"/>
              <a:gd name="connsiteY103" fmla="*/ 4919398 h 6062663"/>
              <a:gd name="connsiteX104" fmla="*/ 5432757 w 12191999"/>
              <a:gd name="connsiteY104" fmla="*/ 4929747 h 6062663"/>
              <a:gd name="connsiteX105" fmla="*/ 5381664 w 12191999"/>
              <a:gd name="connsiteY105" fmla="*/ 4946027 h 6062663"/>
              <a:gd name="connsiteX106" fmla="*/ 5261760 w 12191999"/>
              <a:gd name="connsiteY106" fmla="*/ 4964803 h 6062663"/>
              <a:gd name="connsiteX107" fmla="*/ 5222958 w 12191999"/>
              <a:gd name="connsiteY107" fmla="*/ 4975033 h 6062663"/>
              <a:gd name="connsiteX108" fmla="*/ 5174658 w 12191999"/>
              <a:gd name="connsiteY108" fmla="*/ 4977783 h 6062663"/>
              <a:gd name="connsiteX109" fmla="*/ 5156551 w 12191999"/>
              <a:gd name="connsiteY109" fmla="*/ 4984426 h 6062663"/>
              <a:gd name="connsiteX110" fmla="*/ 5142596 w 12191999"/>
              <a:gd name="connsiteY110" fmla="*/ 4987553 h 6062663"/>
              <a:gd name="connsiteX111" fmla="*/ 5139592 w 12191999"/>
              <a:gd name="connsiteY111" fmla="*/ 4989485 h 6062663"/>
              <a:gd name="connsiteX112" fmla="*/ 5121656 w 12191999"/>
              <a:gd name="connsiteY112" fmla="*/ 4999466 h 6062663"/>
              <a:gd name="connsiteX113" fmla="*/ 5065787 w 12191999"/>
              <a:gd name="connsiteY113" fmla="*/ 4993423 h 6062663"/>
              <a:gd name="connsiteX114" fmla="*/ 5011510 w 12191999"/>
              <a:gd name="connsiteY114" fmla="*/ 5008488 h 6062663"/>
              <a:gd name="connsiteX115" fmla="*/ 4840436 w 12191999"/>
              <a:gd name="connsiteY115" fmla="*/ 5030575 h 6062663"/>
              <a:gd name="connsiteX116" fmla="*/ 4762444 w 12191999"/>
              <a:gd name="connsiteY116" fmla="*/ 5056112 h 6062663"/>
              <a:gd name="connsiteX117" fmla="*/ 4723182 w 12191999"/>
              <a:gd name="connsiteY117" fmla="*/ 5064402 h 6062663"/>
              <a:gd name="connsiteX118" fmla="*/ 4721836 w 12191999"/>
              <a:gd name="connsiteY118" fmla="*/ 5064781 h 6062663"/>
              <a:gd name="connsiteX119" fmla="*/ 4721651 w 12191999"/>
              <a:gd name="connsiteY119" fmla="*/ 5064438 h 6062663"/>
              <a:gd name="connsiteX120" fmla="*/ 4715523 w 12191999"/>
              <a:gd name="connsiteY120" fmla="*/ 5063918 h 6062663"/>
              <a:gd name="connsiteX121" fmla="*/ 4515811 w 12191999"/>
              <a:gd name="connsiteY121" fmla="*/ 5073025 h 6062663"/>
              <a:gd name="connsiteX122" fmla="*/ 4428540 w 12191999"/>
              <a:gd name="connsiteY122" fmla="*/ 5082820 h 6062663"/>
              <a:gd name="connsiteX123" fmla="*/ 4362873 w 12191999"/>
              <a:gd name="connsiteY123" fmla="*/ 5084058 h 6062663"/>
              <a:gd name="connsiteX124" fmla="*/ 4316963 w 12191999"/>
              <a:gd name="connsiteY124" fmla="*/ 5077974 h 6062663"/>
              <a:gd name="connsiteX125" fmla="*/ 4315106 w 12191999"/>
              <a:gd name="connsiteY125" fmla="*/ 5079208 h 6062663"/>
              <a:gd name="connsiteX126" fmla="*/ 4295141 w 12191999"/>
              <a:gd name="connsiteY126" fmla="*/ 5080936 h 6062663"/>
              <a:gd name="connsiteX127" fmla="*/ 4290060 w 12191999"/>
              <a:gd name="connsiteY127" fmla="*/ 5078253 h 6062663"/>
              <a:gd name="connsiteX128" fmla="*/ 4276139 w 12191999"/>
              <a:gd name="connsiteY128" fmla="*/ 5078479 h 6062663"/>
              <a:gd name="connsiteX129" fmla="*/ 4248114 w 12191999"/>
              <a:gd name="connsiteY129" fmla="*/ 5076342 h 6062663"/>
              <a:gd name="connsiteX130" fmla="*/ 4202046 w 12191999"/>
              <a:gd name="connsiteY130" fmla="*/ 5078912 h 6062663"/>
              <a:gd name="connsiteX131" fmla="*/ 4201742 w 12191999"/>
              <a:gd name="connsiteY131" fmla="*/ 5080070 h 6062663"/>
              <a:gd name="connsiteX132" fmla="*/ 4191245 w 12191999"/>
              <a:gd name="connsiteY132" fmla="*/ 5085252 h 6062663"/>
              <a:gd name="connsiteX133" fmla="*/ 4142742 w 12191999"/>
              <a:gd name="connsiteY133" fmla="*/ 5099842 h 6062663"/>
              <a:gd name="connsiteX134" fmla="*/ 4083094 w 12191999"/>
              <a:gd name="connsiteY134" fmla="*/ 5124243 h 6062663"/>
              <a:gd name="connsiteX135" fmla="*/ 4074543 w 12191999"/>
              <a:gd name="connsiteY135" fmla="*/ 5125011 h 6062663"/>
              <a:gd name="connsiteX136" fmla="*/ 4074424 w 12191999"/>
              <a:gd name="connsiteY136" fmla="*/ 5125286 h 6062663"/>
              <a:gd name="connsiteX137" fmla="*/ 4065507 w 12191999"/>
              <a:gd name="connsiteY137" fmla="*/ 5126614 h 6062663"/>
              <a:gd name="connsiteX138" fmla="*/ 4058951 w 12191999"/>
              <a:gd name="connsiteY138" fmla="*/ 5126414 h 6062663"/>
              <a:gd name="connsiteX139" fmla="*/ 4042361 w 12191999"/>
              <a:gd name="connsiteY139" fmla="*/ 5127904 h 6062663"/>
              <a:gd name="connsiteX140" fmla="*/ 4036993 w 12191999"/>
              <a:gd name="connsiteY140" fmla="*/ 5130143 h 6062663"/>
              <a:gd name="connsiteX141" fmla="*/ 4035360 w 12191999"/>
              <a:gd name="connsiteY141" fmla="*/ 5133515 h 6062663"/>
              <a:gd name="connsiteX142" fmla="*/ 4033775 w 12191999"/>
              <a:gd name="connsiteY142" fmla="*/ 5133299 h 6062663"/>
              <a:gd name="connsiteX143" fmla="*/ 4004535 w 12191999"/>
              <a:gd name="connsiteY143" fmla="*/ 5144857 h 6062663"/>
              <a:gd name="connsiteX144" fmla="*/ 3936843 w 12191999"/>
              <a:gd name="connsiteY144" fmla="*/ 5160912 h 6062663"/>
              <a:gd name="connsiteX145" fmla="*/ 3897272 w 12191999"/>
              <a:gd name="connsiteY145" fmla="*/ 5166113 h 6062663"/>
              <a:gd name="connsiteX146" fmla="*/ 3789758 w 12191999"/>
              <a:gd name="connsiteY146" fmla="*/ 5184725 h 6062663"/>
              <a:gd name="connsiteX147" fmla="*/ 3682511 w 12191999"/>
              <a:gd name="connsiteY147" fmla="*/ 5206726 h 6062663"/>
              <a:gd name="connsiteX148" fmla="*/ 3610033 w 12191999"/>
              <a:gd name="connsiteY148" fmla="*/ 5236404 h 6062663"/>
              <a:gd name="connsiteX149" fmla="*/ 3603853 w 12191999"/>
              <a:gd name="connsiteY149" fmla="*/ 5235151 h 6062663"/>
              <a:gd name="connsiteX150" fmla="*/ 3594734 w 12191999"/>
              <a:gd name="connsiteY150" fmla="*/ 5235000 h 6062663"/>
              <a:gd name="connsiteX151" fmla="*/ 3594499 w 12191999"/>
              <a:gd name="connsiteY151" fmla="*/ 5235248 h 6062663"/>
              <a:gd name="connsiteX152" fmla="*/ 3585976 w 12191999"/>
              <a:gd name="connsiteY152" fmla="*/ 5234613 h 6062663"/>
              <a:gd name="connsiteX153" fmla="*/ 3536133 w 12191999"/>
              <a:gd name="connsiteY153" fmla="*/ 5243533 h 6062663"/>
              <a:gd name="connsiteX154" fmla="*/ 3473221 w 12191999"/>
              <a:gd name="connsiteY154" fmla="*/ 5246900 h 6062663"/>
              <a:gd name="connsiteX155" fmla="*/ 3400726 w 12191999"/>
              <a:gd name="connsiteY155" fmla="*/ 5257980 h 6062663"/>
              <a:gd name="connsiteX156" fmla="*/ 3363886 w 12191999"/>
              <a:gd name="connsiteY156" fmla="*/ 5242390 h 6062663"/>
              <a:gd name="connsiteX157" fmla="*/ 3344024 w 12191999"/>
              <a:gd name="connsiteY157" fmla="*/ 5240843 h 6062663"/>
              <a:gd name="connsiteX158" fmla="*/ 3341696 w 12191999"/>
              <a:gd name="connsiteY158" fmla="*/ 5241740 h 6062663"/>
              <a:gd name="connsiteX159" fmla="*/ 3262354 w 12191999"/>
              <a:gd name="connsiteY159" fmla="*/ 5236335 h 6062663"/>
              <a:gd name="connsiteX160" fmla="*/ 3142554 w 12191999"/>
              <a:gd name="connsiteY160" fmla="*/ 5229184 h 6062663"/>
              <a:gd name="connsiteX161" fmla="*/ 3030289 w 12191999"/>
              <a:gd name="connsiteY161" fmla="*/ 5226754 h 6062663"/>
              <a:gd name="connsiteX162" fmla="*/ 2781567 w 12191999"/>
              <a:gd name="connsiteY162" fmla="*/ 5206686 h 6062663"/>
              <a:gd name="connsiteX163" fmla="*/ 2646525 w 12191999"/>
              <a:gd name="connsiteY163" fmla="*/ 5196996 h 6062663"/>
              <a:gd name="connsiteX164" fmla="*/ 2568026 w 12191999"/>
              <a:gd name="connsiteY164" fmla="*/ 5221129 h 6062663"/>
              <a:gd name="connsiteX165" fmla="*/ 2443253 w 12191999"/>
              <a:gd name="connsiteY165" fmla="*/ 5208345 h 6062663"/>
              <a:gd name="connsiteX166" fmla="*/ 2315110 w 12191999"/>
              <a:gd name="connsiteY166" fmla="*/ 5200558 h 6062663"/>
              <a:gd name="connsiteX167" fmla="*/ 2208576 w 12191999"/>
              <a:gd name="connsiteY167" fmla="*/ 5205371 h 6062663"/>
              <a:gd name="connsiteX168" fmla="*/ 2094663 w 12191999"/>
              <a:gd name="connsiteY168" fmla="*/ 5220739 h 6062663"/>
              <a:gd name="connsiteX169" fmla="*/ 1997354 w 12191999"/>
              <a:gd name="connsiteY169" fmla="*/ 5228115 h 6062663"/>
              <a:gd name="connsiteX170" fmla="*/ 1928170 w 12191999"/>
              <a:gd name="connsiteY170" fmla="*/ 5207933 h 6062663"/>
              <a:gd name="connsiteX171" fmla="*/ 1921648 w 12191999"/>
              <a:gd name="connsiteY171" fmla="*/ 5212376 h 6062663"/>
              <a:gd name="connsiteX172" fmla="*/ 1873078 w 12191999"/>
              <a:gd name="connsiteY172" fmla="*/ 5210909 h 6062663"/>
              <a:gd name="connsiteX173" fmla="*/ 1786653 w 12191999"/>
              <a:gd name="connsiteY173" fmla="*/ 5185506 h 6062663"/>
              <a:gd name="connsiteX174" fmla="*/ 1738202 w 12191999"/>
              <a:gd name="connsiteY174" fmla="*/ 5190151 h 6062663"/>
              <a:gd name="connsiteX175" fmla="*/ 1675069 w 12191999"/>
              <a:gd name="connsiteY175" fmla="*/ 5205187 h 6062663"/>
              <a:gd name="connsiteX176" fmla="*/ 1608667 w 12191999"/>
              <a:gd name="connsiteY176" fmla="*/ 5211530 h 6062663"/>
              <a:gd name="connsiteX177" fmla="*/ 1496108 w 12191999"/>
              <a:gd name="connsiteY177" fmla="*/ 5235064 h 6062663"/>
              <a:gd name="connsiteX178" fmla="*/ 1149977 w 12191999"/>
              <a:gd name="connsiteY178" fmla="*/ 5280527 h 6062663"/>
              <a:gd name="connsiteX179" fmla="*/ 948730 w 12191999"/>
              <a:gd name="connsiteY179" fmla="*/ 5278315 h 6062663"/>
              <a:gd name="connsiteX180" fmla="*/ 858267 w 12191999"/>
              <a:gd name="connsiteY180" fmla="*/ 5289202 h 6062663"/>
              <a:gd name="connsiteX181" fmla="*/ 837538 w 12191999"/>
              <a:gd name="connsiteY181" fmla="*/ 5288087 h 6062663"/>
              <a:gd name="connsiteX182" fmla="*/ 816807 w 12191999"/>
              <a:gd name="connsiteY182" fmla="*/ 5289893 h 6062663"/>
              <a:gd name="connsiteX183" fmla="*/ 811504 w 12191999"/>
              <a:gd name="connsiteY183" fmla="*/ 5287231 h 6062663"/>
              <a:gd name="connsiteX184" fmla="*/ 797039 w 12191999"/>
              <a:gd name="connsiteY184" fmla="*/ 5287512 h 6062663"/>
              <a:gd name="connsiteX185" fmla="*/ 767899 w 12191999"/>
              <a:gd name="connsiteY185" fmla="*/ 5285482 h 6062663"/>
              <a:gd name="connsiteX186" fmla="*/ 763051 w 12191999"/>
              <a:gd name="connsiteY186" fmla="*/ 5287525 h 6062663"/>
              <a:gd name="connsiteX187" fmla="*/ 720045 w 12191999"/>
              <a:gd name="connsiteY187" fmla="*/ 5288234 h 6062663"/>
              <a:gd name="connsiteX188" fmla="*/ 719740 w 12191999"/>
              <a:gd name="connsiteY188" fmla="*/ 5289394 h 6062663"/>
              <a:gd name="connsiteX189" fmla="*/ 708873 w 12191999"/>
              <a:gd name="connsiteY189" fmla="*/ 5294615 h 6062663"/>
              <a:gd name="connsiteX190" fmla="*/ 596790 w 12191999"/>
              <a:gd name="connsiteY190" fmla="*/ 5334030 h 6062663"/>
              <a:gd name="connsiteX191" fmla="*/ 578533 w 12191999"/>
              <a:gd name="connsiteY191" fmla="*/ 5336469 h 6062663"/>
              <a:gd name="connsiteX192" fmla="*/ 571715 w 12191999"/>
              <a:gd name="connsiteY192" fmla="*/ 5336295 h 6062663"/>
              <a:gd name="connsiteX193" fmla="*/ 445097 w 12191999"/>
              <a:gd name="connsiteY193" fmla="*/ 5371270 h 6062663"/>
              <a:gd name="connsiteX194" fmla="*/ 404013 w 12191999"/>
              <a:gd name="connsiteY194" fmla="*/ 5376625 h 6062663"/>
              <a:gd name="connsiteX195" fmla="*/ 292433 w 12191999"/>
              <a:gd name="connsiteY195" fmla="*/ 5395658 h 6062663"/>
              <a:gd name="connsiteX196" fmla="*/ 118379 w 12191999"/>
              <a:gd name="connsiteY196" fmla="*/ 5443301 h 6062663"/>
              <a:gd name="connsiteX197" fmla="*/ 15524 w 12191999"/>
              <a:gd name="connsiteY197" fmla="*/ 5445927 h 6062663"/>
              <a:gd name="connsiteX198" fmla="*/ 0 w 12191999"/>
              <a:gd name="connsiteY198" fmla="*/ 5450957 h 6062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12191999" h="6062663">
                <a:moveTo>
                  <a:pt x="0" y="0"/>
                </a:moveTo>
                <a:lnTo>
                  <a:pt x="12191999" y="0"/>
                </a:lnTo>
                <a:lnTo>
                  <a:pt x="12191999" y="6062663"/>
                </a:lnTo>
                <a:lnTo>
                  <a:pt x="12191998" y="6062663"/>
                </a:lnTo>
                <a:lnTo>
                  <a:pt x="12191998" y="5840727"/>
                </a:lnTo>
                <a:lnTo>
                  <a:pt x="12140859" y="5858383"/>
                </a:lnTo>
                <a:cubicBezTo>
                  <a:pt x="12126655" y="5860419"/>
                  <a:pt x="12093588" y="5911186"/>
                  <a:pt x="12080160" y="5909745"/>
                </a:cubicBezTo>
                <a:cubicBezTo>
                  <a:pt x="11978187" y="5931957"/>
                  <a:pt x="11967360" y="5953158"/>
                  <a:pt x="11917884" y="5942135"/>
                </a:cubicBezTo>
                <a:cubicBezTo>
                  <a:pt x="11872778" y="5940558"/>
                  <a:pt x="11928860" y="5974507"/>
                  <a:pt x="11894609" y="5962515"/>
                </a:cubicBezTo>
                <a:cubicBezTo>
                  <a:pt x="11860358" y="5950522"/>
                  <a:pt x="11736090" y="5892155"/>
                  <a:pt x="11712378" y="5870180"/>
                </a:cubicBezTo>
                <a:cubicBezTo>
                  <a:pt x="11688666" y="5848205"/>
                  <a:pt x="11627911" y="5869809"/>
                  <a:pt x="11585365" y="5830666"/>
                </a:cubicBezTo>
                <a:lnTo>
                  <a:pt x="11516469" y="5760136"/>
                </a:lnTo>
                <a:cubicBezTo>
                  <a:pt x="11468273" y="5758451"/>
                  <a:pt x="11507334" y="5726029"/>
                  <a:pt x="11462691" y="5710886"/>
                </a:cubicBezTo>
                <a:cubicBezTo>
                  <a:pt x="11417566" y="5709390"/>
                  <a:pt x="11408020" y="5661672"/>
                  <a:pt x="11369711" y="5654352"/>
                </a:cubicBezTo>
                <a:cubicBezTo>
                  <a:pt x="11354316" y="5659916"/>
                  <a:pt x="11288327" y="5609432"/>
                  <a:pt x="11273968" y="5599478"/>
                </a:cubicBezTo>
                <a:cubicBezTo>
                  <a:pt x="11231912" y="5600758"/>
                  <a:pt x="11221972" y="5591714"/>
                  <a:pt x="11195083" y="5580148"/>
                </a:cubicBezTo>
                <a:cubicBezTo>
                  <a:pt x="11164085" y="5607537"/>
                  <a:pt x="11171648" y="5583664"/>
                  <a:pt x="11143407" y="5580743"/>
                </a:cubicBezTo>
                <a:cubicBezTo>
                  <a:pt x="11125905" y="5577396"/>
                  <a:pt x="11102602" y="5573589"/>
                  <a:pt x="11085934" y="5572237"/>
                </a:cubicBezTo>
                <a:cubicBezTo>
                  <a:pt x="11057492" y="5572509"/>
                  <a:pt x="11029905" y="5555804"/>
                  <a:pt x="11030952" y="5569587"/>
                </a:cubicBezTo>
                <a:cubicBezTo>
                  <a:pt x="11007783" y="5571902"/>
                  <a:pt x="10982004" y="5575744"/>
                  <a:pt x="10951059" y="5573961"/>
                </a:cubicBezTo>
                <a:cubicBezTo>
                  <a:pt x="10885364" y="5540087"/>
                  <a:pt x="10915287" y="5573711"/>
                  <a:pt x="10857720" y="5561929"/>
                </a:cubicBezTo>
                <a:cubicBezTo>
                  <a:pt x="10806645" y="5550556"/>
                  <a:pt x="10707074" y="5520136"/>
                  <a:pt x="10644615" y="5505722"/>
                </a:cubicBezTo>
                <a:cubicBezTo>
                  <a:pt x="10616445" y="5501294"/>
                  <a:pt x="10558602" y="5491535"/>
                  <a:pt x="10519276" y="5487102"/>
                </a:cubicBezTo>
                <a:cubicBezTo>
                  <a:pt x="10495460" y="5488499"/>
                  <a:pt x="10473829" y="5476135"/>
                  <a:pt x="10445980" y="5485210"/>
                </a:cubicBezTo>
                <a:cubicBezTo>
                  <a:pt x="10436535" y="5488923"/>
                  <a:pt x="10409280" y="5488181"/>
                  <a:pt x="10383864" y="5481672"/>
                </a:cubicBezTo>
                <a:cubicBezTo>
                  <a:pt x="10374826" y="5489219"/>
                  <a:pt x="10347863" y="5481252"/>
                  <a:pt x="10336851" y="5481110"/>
                </a:cubicBezTo>
                <a:cubicBezTo>
                  <a:pt x="10323585" y="5487281"/>
                  <a:pt x="10274740" y="5478943"/>
                  <a:pt x="10261097" y="5472142"/>
                </a:cubicBezTo>
                <a:lnTo>
                  <a:pt x="10126496" y="5461552"/>
                </a:lnTo>
                <a:lnTo>
                  <a:pt x="10082165" y="5459626"/>
                </a:lnTo>
                <a:cubicBezTo>
                  <a:pt x="10074566" y="5461529"/>
                  <a:pt x="10046859" y="5460307"/>
                  <a:pt x="10039236" y="5461156"/>
                </a:cubicBezTo>
                <a:cubicBezTo>
                  <a:pt x="9998457" y="5451867"/>
                  <a:pt x="9984393" y="5451416"/>
                  <a:pt x="9960015" y="5446888"/>
                </a:cubicBezTo>
                <a:cubicBezTo>
                  <a:pt x="9918979" y="5446757"/>
                  <a:pt x="9888740" y="5449699"/>
                  <a:pt x="9847788" y="5440663"/>
                </a:cubicBezTo>
                <a:lnTo>
                  <a:pt x="9728305" y="5422080"/>
                </a:lnTo>
                <a:cubicBezTo>
                  <a:pt x="9675055" y="5430896"/>
                  <a:pt x="9602034" y="5423176"/>
                  <a:pt x="9584503" y="5411577"/>
                </a:cubicBezTo>
                <a:cubicBezTo>
                  <a:pt x="9518951" y="5398448"/>
                  <a:pt x="9415428" y="5374421"/>
                  <a:pt x="9343048" y="5369547"/>
                </a:cubicBezTo>
                <a:lnTo>
                  <a:pt x="9231366" y="5321812"/>
                </a:lnTo>
                <a:lnTo>
                  <a:pt x="9194806" y="5312543"/>
                </a:lnTo>
                <a:lnTo>
                  <a:pt x="9189242" y="5304046"/>
                </a:lnTo>
                <a:lnTo>
                  <a:pt x="9151228" y="5293744"/>
                </a:lnTo>
                <a:lnTo>
                  <a:pt x="9150206" y="5294724"/>
                </a:lnTo>
                <a:cubicBezTo>
                  <a:pt x="9147044" y="5296684"/>
                  <a:pt x="9143081" y="5297688"/>
                  <a:pt x="9137315" y="5296719"/>
                </a:cubicBezTo>
                <a:cubicBezTo>
                  <a:pt x="9138862" y="5314637"/>
                  <a:pt x="9130952" y="5302416"/>
                  <a:pt x="9113809" y="5297975"/>
                </a:cubicBezTo>
                <a:cubicBezTo>
                  <a:pt x="9112388" y="5324813"/>
                  <a:pt x="9068114" y="5293146"/>
                  <a:pt x="9053450" y="5305621"/>
                </a:cubicBezTo>
                <a:lnTo>
                  <a:pt x="9005483" y="5302600"/>
                </a:lnTo>
                <a:lnTo>
                  <a:pt x="9005198" y="5302821"/>
                </a:lnTo>
                <a:cubicBezTo>
                  <a:pt x="9003143" y="5303023"/>
                  <a:pt x="9000324" y="5302721"/>
                  <a:pt x="8996229" y="5301707"/>
                </a:cubicBezTo>
                <a:lnTo>
                  <a:pt x="8990391" y="5299811"/>
                </a:lnTo>
                <a:lnTo>
                  <a:pt x="8974334" y="5296845"/>
                </a:lnTo>
                <a:lnTo>
                  <a:pt x="8968008" y="5297488"/>
                </a:lnTo>
                <a:lnTo>
                  <a:pt x="8963045" y="5299535"/>
                </a:lnTo>
                <a:cubicBezTo>
                  <a:pt x="8954690" y="5292222"/>
                  <a:pt x="8955517" y="5283993"/>
                  <a:pt x="8928985" y="5302466"/>
                </a:cubicBezTo>
                <a:cubicBezTo>
                  <a:pt x="8898031" y="5301528"/>
                  <a:pt x="8789300" y="5288051"/>
                  <a:pt x="8752441" y="5284780"/>
                </a:cubicBezTo>
                <a:cubicBezTo>
                  <a:pt x="8719819" y="5274921"/>
                  <a:pt x="8748194" y="5287484"/>
                  <a:pt x="8707844" y="5282847"/>
                </a:cubicBezTo>
                <a:cubicBezTo>
                  <a:pt x="8671606" y="5264882"/>
                  <a:pt x="8639142" y="5280001"/>
                  <a:pt x="8596068" y="5274964"/>
                </a:cubicBezTo>
                <a:lnTo>
                  <a:pt x="8525227" y="5288614"/>
                </a:lnTo>
                <a:lnTo>
                  <a:pt x="8510980" y="5283174"/>
                </a:lnTo>
                <a:lnTo>
                  <a:pt x="8506164" y="5280414"/>
                </a:lnTo>
                <a:cubicBezTo>
                  <a:pt x="8502646" y="5278780"/>
                  <a:pt x="8500045" y="5278034"/>
                  <a:pt x="8497965" y="5277896"/>
                </a:cubicBezTo>
                <a:lnTo>
                  <a:pt x="8497591" y="5278061"/>
                </a:lnTo>
                <a:lnTo>
                  <a:pt x="8490246" y="5275256"/>
                </a:lnTo>
                <a:lnTo>
                  <a:pt x="8367179" y="5262342"/>
                </a:lnTo>
                <a:cubicBezTo>
                  <a:pt x="8362021" y="5260479"/>
                  <a:pt x="8357730" y="5260800"/>
                  <a:pt x="8353796" y="5262163"/>
                </a:cubicBezTo>
                <a:lnTo>
                  <a:pt x="8352369" y="5262936"/>
                </a:lnTo>
                <a:lnTo>
                  <a:pt x="8320101" y="5246917"/>
                </a:lnTo>
                <a:lnTo>
                  <a:pt x="8314429" y="5246617"/>
                </a:lnTo>
                <a:lnTo>
                  <a:pt x="8295170" y="5233839"/>
                </a:lnTo>
                <a:lnTo>
                  <a:pt x="8284273" y="5228484"/>
                </a:lnTo>
                <a:lnTo>
                  <a:pt x="8283146" y="5224398"/>
                </a:lnTo>
                <a:cubicBezTo>
                  <a:pt x="8280842" y="5221413"/>
                  <a:pt x="8276148" y="5218978"/>
                  <a:pt x="8266072" y="5217799"/>
                </a:cubicBezTo>
                <a:lnTo>
                  <a:pt x="8263373" y="5218011"/>
                </a:lnTo>
                <a:lnTo>
                  <a:pt x="8252030" y="5208958"/>
                </a:lnTo>
                <a:cubicBezTo>
                  <a:pt x="8248856" y="5205418"/>
                  <a:pt x="8246644" y="5201480"/>
                  <a:pt x="8245831" y="5197010"/>
                </a:cubicBezTo>
                <a:cubicBezTo>
                  <a:pt x="8181824" y="5199684"/>
                  <a:pt x="8147127" y="5168303"/>
                  <a:pt x="8090268" y="5154558"/>
                </a:cubicBezTo>
                <a:cubicBezTo>
                  <a:pt x="8025464" y="5133275"/>
                  <a:pt x="7967067" y="5113745"/>
                  <a:pt x="7905404" y="5115957"/>
                </a:cubicBezTo>
                <a:cubicBezTo>
                  <a:pt x="7835116" y="5102243"/>
                  <a:pt x="7780962" y="5100191"/>
                  <a:pt x="7718741" y="5092308"/>
                </a:cubicBezTo>
                <a:lnTo>
                  <a:pt x="7614343" y="5095500"/>
                </a:lnTo>
                <a:lnTo>
                  <a:pt x="7527539" y="5090141"/>
                </a:lnTo>
                <a:lnTo>
                  <a:pt x="7519567" y="5087793"/>
                </a:lnTo>
                <a:cubicBezTo>
                  <a:pt x="7513989" y="5086561"/>
                  <a:pt x="7510169" y="5086239"/>
                  <a:pt x="7507408" y="5086565"/>
                </a:cubicBezTo>
                <a:lnTo>
                  <a:pt x="7507036" y="5086866"/>
                </a:lnTo>
                <a:lnTo>
                  <a:pt x="7495791" y="5085070"/>
                </a:lnTo>
                <a:cubicBezTo>
                  <a:pt x="7476982" y="5081283"/>
                  <a:pt x="7422524" y="5097300"/>
                  <a:pt x="7405387" y="5092524"/>
                </a:cubicBezTo>
                <a:cubicBezTo>
                  <a:pt x="7374785" y="5095237"/>
                  <a:pt x="7333986" y="5096253"/>
                  <a:pt x="7312176" y="5101348"/>
                </a:cubicBezTo>
                <a:lnTo>
                  <a:pt x="7310849" y="5102675"/>
                </a:lnTo>
                <a:lnTo>
                  <a:pt x="7218556" y="5079454"/>
                </a:lnTo>
                <a:lnTo>
                  <a:pt x="7201098" y="5075270"/>
                </a:lnTo>
                <a:lnTo>
                  <a:pt x="7197000" y="5070342"/>
                </a:lnTo>
                <a:cubicBezTo>
                  <a:pt x="7192108" y="5067102"/>
                  <a:pt x="7184502" y="5065135"/>
                  <a:pt x="7170804" y="5066068"/>
                </a:cubicBezTo>
                <a:lnTo>
                  <a:pt x="7096984" y="5054822"/>
                </a:lnTo>
                <a:cubicBezTo>
                  <a:pt x="7061144" y="5053923"/>
                  <a:pt x="7050185" y="5053024"/>
                  <a:pt x="7018492" y="5055166"/>
                </a:cubicBezTo>
                <a:cubicBezTo>
                  <a:pt x="6937524" y="5045107"/>
                  <a:pt x="6943641" y="5022882"/>
                  <a:pt x="6904142" y="5028031"/>
                </a:cubicBezTo>
                <a:cubicBezTo>
                  <a:pt x="6871918" y="5032820"/>
                  <a:pt x="6787985" y="5015279"/>
                  <a:pt x="6708218" y="5002322"/>
                </a:cubicBezTo>
                <a:cubicBezTo>
                  <a:pt x="6649102" y="4993626"/>
                  <a:pt x="6628102" y="4980658"/>
                  <a:pt x="6549451" y="4975857"/>
                </a:cubicBezTo>
                <a:cubicBezTo>
                  <a:pt x="6472150" y="4935310"/>
                  <a:pt x="6409692" y="4957127"/>
                  <a:pt x="6317556" y="4932817"/>
                </a:cubicBezTo>
                <a:cubicBezTo>
                  <a:pt x="6297547" y="4918543"/>
                  <a:pt x="6209288" y="4934354"/>
                  <a:pt x="6168670" y="4930898"/>
                </a:cubicBezTo>
                <a:cubicBezTo>
                  <a:pt x="6128052" y="4927442"/>
                  <a:pt x="6090536" y="4914983"/>
                  <a:pt x="6073844" y="4912080"/>
                </a:cubicBezTo>
                <a:lnTo>
                  <a:pt x="6068526" y="4913494"/>
                </a:lnTo>
                <a:lnTo>
                  <a:pt x="6048634" y="4912866"/>
                </a:lnTo>
                <a:lnTo>
                  <a:pt x="6041279" y="4920544"/>
                </a:lnTo>
                <a:lnTo>
                  <a:pt x="6010087" y="4925228"/>
                </a:lnTo>
                <a:cubicBezTo>
                  <a:pt x="5998676" y="4925767"/>
                  <a:pt x="5970124" y="4924928"/>
                  <a:pt x="5957372" y="4921876"/>
                </a:cubicBezTo>
                <a:lnTo>
                  <a:pt x="5758915" y="4907445"/>
                </a:lnTo>
                <a:lnTo>
                  <a:pt x="5626957" y="4906504"/>
                </a:lnTo>
                <a:lnTo>
                  <a:pt x="5470902" y="4919398"/>
                </a:lnTo>
                <a:cubicBezTo>
                  <a:pt x="5478131" y="4931379"/>
                  <a:pt x="5439006" y="4918443"/>
                  <a:pt x="5432757" y="4929747"/>
                </a:cubicBezTo>
                <a:cubicBezTo>
                  <a:pt x="5429365" y="4938973"/>
                  <a:pt x="5391824" y="4943280"/>
                  <a:pt x="5381664" y="4946027"/>
                </a:cubicBezTo>
                <a:lnTo>
                  <a:pt x="5261760" y="4964803"/>
                </a:lnTo>
                <a:cubicBezTo>
                  <a:pt x="5251595" y="4964972"/>
                  <a:pt x="5230547" y="4972615"/>
                  <a:pt x="5222958" y="4975033"/>
                </a:cubicBezTo>
                <a:lnTo>
                  <a:pt x="5174658" y="4977783"/>
                </a:lnTo>
                <a:lnTo>
                  <a:pt x="5156551" y="4984426"/>
                </a:lnTo>
                <a:lnTo>
                  <a:pt x="5142596" y="4987553"/>
                </a:lnTo>
                <a:lnTo>
                  <a:pt x="5139592" y="4989485"/>
                </a:lnTo>
                <a:cubicBezTo>
                  <a:pt x="5133873" y="4993200"/>
                  <a:pt x="5128076" y="4996705"/>
                  <a:pt x="5121656" y="4999466"/>
                </a:cubicBezTo>
                <a:cubicBezTo>
                  <a:pt x="5108317" y="4973146"/>
                  <a:pt x="5064853" y="5018610"/>
                  <a:pt x="5065787" y="4993423"/>
                </a:cubicBezTo>
                <a:cubicBezTo>
                  <a:pt x="5028193" y="5004014"/>
                  <a:pt x="5038944" y="4977262"/>
                  <a:pt x="5011510" y="5008488"/>
                </a:cubicBezTo>
                <a:cubicBezTo>
                  <a:pt x="4937022" y="5008136"/>
                  <a:pt x="4916353" y="4996174"/>
                  <a:pt x="4840436" y="5030575"/>
                </a:cubicBezTo>
                <a:cubicBezTo>
                  <a:pt x="4806739" y="5045880"/>
                  <a:pt x="4784106" y="5056131"/>
                  <a:pt x="4762444" y="5056112"/>
                </a:cubicBezTo>
                <a:cubicBezTo>
                  <a:pt x="4741323" y="5060251"/>
                  <a:pt x="4729480" y="5062847"/>
                  <a:pt x="4723182" y="5064402"/>
                </a:cubicBezTo>
                <a:lnTo>
                  <a:pt x="4721836" y="5064781"/>
                </a:lnTo>
                <a:lnTo>
                  <a:pt x="4721651" y="5064438"/>
                </a:lnTo>
                <a:cubicBezTo>
                  <a:pt x="4720709" y="5064189"/>
                  <a:pt x="4718822" y="5063995"/>
                  <a:pt x="4715523" y="5063918"/>
                </a:cubicBezTo>
                <a:cubicBezTo>
                  <a:pt x="4680149" y="5070315"/>
                  <a:pt x="4524744" y="5071059"/>
                  <a:pt x="4515811" y="5073025"/>
                </a:cubicBezTo>
                <a:cubicBezTo>
                  <a:pt x="4457820" y="5085083"/>
                  <a:pt x="4462660" y="5085765"/>
                  <a:pt x="4428540" y="5082820"/>
                </a:cubicBezTo>
                <a:cubicBezTo>
                  <a:pt x="4423304" y="5079720"/>
                  <a:pt x="4368975" y="5085508"/>
                  <a:pt x="4362873" y="5084058"/>
                </a:cubicBezTo>
                <a:lnTo>
                  <a:pt x="4316963" y="5077974"/>
                </a:lnTo>
                <a:lnTo>
                  <a:pt x="4315106" y="5079208"/>
                </a:lnTo>
                <a:cubicBezTo>
                  <a:pt x="4306124" y="5082308"/>
                  <a:pt x="4299994" y="5082307"/>
                  <a:pt x="4295141" y="5080936"/>
                </a:cubicBezTo>
                <a:lnTo>
                  <a:pt x="4290060" y="5078253"/>
                </a:lnTo>
                <a:lnTo>
                  <a:pt x="4276139" y="5078479"/>
                </a:lnTo>
                <a:lnTo>
                  <a:pt x="4248114" y="5076342"/>
                </a:lnTo>
                <a:lnTo>
                  <a:pt x="4202046" y="5078912"/>
                </a:lnTo>
                <a:cubicBezTo>
                  <a:pt x="4201945" y="5079299"/>
                  <a:pt x="4201843" y="5079684"/>
                  <a:pt x="4201742" y="5080070"/>
                </a:cubicBezTo>
                <a:cubicBezTo>
                  <a:pt x="4200117" y="5082679"/>
                  <a:pt x="4197141" y="5084628"/>
                  <a:pt x="4191245" y="5085252"/>
                </a:cubicBezTo>
                <a:cubicBezTo>
                  <a:pt x="4204213" y="5101152"/>
                  <a:pt x="4161274" y="5099409"/>
                  <a:pt x="4142742" y="5099842"/>
                </a:cubicBezTo>
                <a:cubicBezTo>
                  <a:pt x="4124717" y="5106340"/>
                  <a:pt x="4099099" y="5118829"/>
                  <a:pt x="4083094" y="5124243"/>
                </a:cubicBezTo>
                <a:lnTo>
                  <a:pt x="4074543" y="5125011"/>
                </a:lnTo>
                <a:cubicBezTo>
                  <a:pt x="4074504" y="5125104"/>
                  <a:pt x="4074463" y="5125195"/>
                  <a:pt x="4074424" y="5125286"/>
                </a:cubicBezTo>
                <a:cubicBezTo>
                  <a:pt x="4072678" y="5126007"/>
                  <a:pt x="4069906" y="5126468"/>
                  <a:pt x="4065507" y="5126614"/>
                </a:cubicBezTo>
                <a:lnTo>
                  <a:pt x="4058951" y="5126414"/>
                </a:lnTo>
                <a:lnTo>
                  <a:pt x="4042361" y="5127904"/>
                </a:lnTo>
                <a:lnTo>
                  <a:pt x="4036993" y="5130143"/>
                </a:lnTo>
                <a:lnTo>
                  <a:pt x="4035360" y="5133515"/>
                </a:lnTo>
                <a:lnTo>
                  <a:pt x="4033775" y="5133299"/>
                </a:lnTo>
                <a:cubicBezTo>
                  <a:pt x="4021424" y="5128826"/>
                  <a:pt x="4016874" y="5121123"/>
                  <a:pt x="4004535" y="5144857"/>
                </a:cubicBezTo>
                <a:cubicBezTo>
                  <a:pt x="3976667" y="5138360"/>
                  <a:pt x="3972977" y="5152457"/>
                  <a:pt x="3936843" y="5160912"/>
                </a:cubicBezTo>
                <a:cubicBezTo>
                  <a:pt x="3920506" y="5153808"/>
                  <a:pt x="3908535" y="5158121"/>
                  <a:pt x="3897272" y="5166113"/>
                </a:cubicBezTo>
                <a:cubicBezTo>
                  <a:pt x="3861092" y="5165656"/>
                  <a:pt x="3829628" y="5178412"/>
                  <a:pt x="3789758" y="5184725"/>
                </a:cubicBezTo>
                <a:cubicBezTo>
                  <a:pt x="3741008" y="5198249"/>
                  <a:pt x="3725130" y="5200067"/>
                  <a:pt x="3682511" y="5206726"/>
                </a:cubicBezTo>
                <a:lnTo>
                  <a:pt x="3610033" y="5236404"/>
                </a:lnTo>
                <a:lnTo>
                  <a:pt x="3603853" y="5235151"/>
                </a:lnTo>
                <a:cubicBezTo>
                  <a:pt x="3599581" y="5234582"/>
                  <a:pt x="3596727" y="5234582"/>
                  <a:pt x="3594734" y="5235000"/>
                </a:cubicBezTo>
                <a:lnTo>
                  <a:pt x="3594499" y="5235248"/>
                </a:lnTo>
                <a:lnTo>
                  <a:pt x="3585976" y="5234613"/>
                </a:lnTo>
                <a:cubicBezTo>
                  <a:pt x="3571624" y="5232966"/>
                  <a:pt x="3549390" y="5246024"/>
                  <a:pt x="3536133" y="5243533"/>
                </a:cubicBezTo>
                <a:cubicBezTo>
                  <a:pt x="3513941" y="5247484"/>
                  <a:pt x="3488623" y="5241722"/>
                  <a:pt x="3473221" y="5246900"/>
                </a:cubicBezTo>
                <a:lnTo>
                  <a:pt x="3400726" y="5257980"/>
                </a:lnTo>
                <a:lnTo>
                  <a:pt x="3363886" y="5242390"/>
                </a:lnTo>
                <a:cubicBezTo>
                  <a:pt x="3359857" y="5240276"/>
                  <a:pt x="3353995" y="5239285"/>
                  <a:pt x="3344024" y="5240843"/>
                </a:cubicBezTo>
                <a:lnTo>
                  <a:pt x="3341696" y="5241740"/>
                </a:lnTo>
                <a:cubicBezTo>
                  <a:pt x="3336378" y="5239467"/>
                  <a:pt x="3295544" y="5238428"/>
                  <a:pt x="3262354" y="5236335"/>
                </a:cubicBezTo>
                <a:cubicBezTo>
                  <a:pt x="3209722" y="5234182"/>
                  <a:pt x="3203388" y="5226850"/>
                  <a:pt x="3142554" y="5229184"/>
                </a:cubicBezTo>
                <a:cubicBezTo>
                  <a:pt x="3082689" y="5228054"/>
                  <a:pt x="3072287" y="5222531"/>
                  <a:pt x="3030289" y="5226754"/>
                </a:cubicBezTo>
                <a:lnTo>
                  <a:pt x="2781567" y="5206686"/>
                </a:lnTo>
                <a:cubicBezTo>
                  <a:pt x="2719297" y="5181253"/>
                  <a:pt x="2717600" y="5209366"/>
                  <a:pt x="2646525" y="5196996"/>
                </a:cubicBezTo>
                <a:cubicBezTo>
                  <a:pt x="2582514" y="5252116"/>
                  <a:pt x="2608699" y="5216923"/>
                  <a:pt x="2568026" y="5221129"/>
                </a:cubicBezTo>
                <a:lnTo>
                  <a:pt x="2443253" y="5208345"/>
                </a:lnTo>
                <a:cubicBezTo>
                  <a:pt x="2411579" y="5193116"/>
                  <a:pt x="2354025" y="5220787"/>
                  <a:pt x="2315110" y="5200558"/>
                </a:cubicBezTo>
                <a:cubicBezTo>
                  <a:pt x="2275998" y="5200064"/>
                  <a:pt x="2233180" y="5203921"/>
                  <a:pt x="2208576" y="5205371"/>
                </a:cubicBezTo>
                <a:cubicBezTo>
                  <a:pt x="2171834" y="5208734"/>
                  <a:pt x="2129866" y="5216948"/>
                  <a:pt x="2094663" y="5220739"/>
                </a:cubicBezTo>
                <a:cubicBezTo>
                  <a:pt x="2077537" y="5208224"/>
                  <a:pt x="2045550" y="5228736"/>
                  <a:pt x="1997354" y="5228115"/>
                </a:cubicBezTo>
                <a:cubicBezTo>
                  <a:pt x="1978701" y="5213725"/>
                  <a:pt x="1964847" y="5227872"/>
                  <a:pt x="1928170" y="5207933"/>
                </a:cubicBezTo>
                <a:cubicBezTo>
                  <a:pt x="1926356" y="5209581"/>
                  <a:pt x="1924158" y="5211077"/>
                  <a:pt x="1921648" y="5212376"/>
                </a:cubicBezTo>
                <a:cubicBezTo>
                  <a:pt x="1907074" y="5219912"/>
                  <a:pt x="1885326" y="5219256"/>
                  <a:pt x="1873078" y="5210909"/>
                </a:cubicBezTo>
                <a:cubicBezTo>
                  <a:pt x="1843561" y="5197336"/>
                  <a:pt x="1814688" y="5190184"/>
                  <a:pt x="1786653" y="5185506"/>
                </a:cubicBezTo>
                <a:lnTo>
                  <a:pt x="1738202" y="5190151"/>
                </a:lnTo>
                <a:cubicBezTo>
                  <a:pt x="1719606" y="5193431"/>
                  <a:pt x="1696659" y="5201624"/>
                  <a:pt x="1675069" y="5205187"/>
                </a:cubicBezTo>
                <a:cubicBezTo>
                  <a:pt x="1652706" y="5206295"/>
                  <a:pt x="1628632" y="5200221"/>
                  <a:pt x="1608667" y="5211530"/>
                </a:cubicBezTo>
                <a:cubicBezTo>
                  <a:pt x="1569684" y="5222268"/>
                  <a:pt x="1524371" y="5203732"/>
                  <a:pt x="1496108" y="5235064"/>
                </a:cubicBezTo>
                <a:cubicBezTo>
                  <a:pt x="1418279" y="5248591"/>
                  <a:pt x="1264074" y="5266996"/>
                  <a:pt x="1149977" y="5280527"/>
                </a:cubicBezTo>
                <a:cubicBezTo>
                  <a:pt x="1078956" y="5285959"/>
                  <a:pt x="1007436" y="5276867"/>
                  <a:pt x="948730" y="5278315"/>
                </a:cubicBezTo>
                <a:cubicBezTo>
                  <a:pt x="943262" y="5275236"/>
                  <a:pt x="864620" y="5290630"/>
                  <a:pt x="858267" y="5289202"/>
                </a:cubicBezTo>
                <a:lnTo>
                  <a:pt x="837538" y="5288087"/>
                </a:lnTo>
                <a:cubicBezTo>
                  <a:pt x="828230" y="5291222"/>
                  <a:pt x="821860" y="5291245"/>
                  <a:pt x="816807" y="5289893"/>
                </a:cubicBezTo>
                <a:lnTo>
                  <a:pt x="811504" y="5287231"/>
                </a:lnTo>
                <a:lnTo>
                  <a:pt x="797039" y="5287512"/>
                </a:lnTo>
                <a:lnTo>
                  <a:pt x="767899" y="5285482"/>
                </a:lnTo>
                <a:lnTo>
                  <a:pt x="763051" y="5287525"/>
                </a:lnTo>
                <a:lnTo>
                  <a:pt x="720045" y="5288234"/>
                </a:lnTo>
                <a:cubicBezTo>
                  <a:pt x="719945" y="5288620"/>
                  <a:pt x="719841" y="5289007"/>
                  <a:pt x="719740" y="5289394"/>
                </a:cubicBezTo>
                <a:cubicBezTo>
                  <a:pt x="718072" y="5292009"/>
                  <a:pt x="714994" y="5293970"/>
                  <a:pt x="708873" y="5294615"/>
                </a:cubicBezTo>
                <a:cubicBezTo>
                  <a:pt x="688382" y="5302054"/>
                  <a:pt x="618515" y="5327054"/>
                  <a:pt x="596790" y="5334030"/>
                </a:cubicBezTo>
                <a:cubicBezTo>
                  <a:pt x="586280" y="5334581"/>
                  <a:pt x="582712" y="5336092"/>
                  <a:pt x="578533" y="5336469"/>
                </a:cubicBezTo>
                <a:lnTo>
                  <a:pt x="571715" y="5336295"/>
                </a:lnTo>
                <a:cubicBezTo>
                  <a:pt x="549477" y="5342095"/>
                  <a:pt x="473047" y="5364548"/>
                  <a:pt x="445097" y="5371270"/>
                </a:cubicBezTo>
                <a:cubicBezTo>
                  <a:pt x="428063" y="5364232"/>
                  <a:pt x="415658" y="5368590"/>
                  <a:pt x="404013" y="5376625"/>
                </a:cubicBezTo>
                <a:cubicBezTo>
                  <a:pt x="366416" y="5376310"/>
                  <a:pt x="333818" y="5389190"/>
                  <a:pt x="292433" y="5395658"/>
                </a:cubicBezTo>
                <a:lnTo>
                  <a:pt x="118379" y="5443301"/>
                </a:lnTo>
                <a:cubicBezTo>
                  <a:pt x="72227" y="5451679"/>
                  <a:pt x="35253" y="5444651"/>
                  <a:pt x="15524" y="5445927"/>
                </a:cubicBezTo>
                <a:lnTo>
                  <a:pt x="0" y="5450957"/>
                </a:lnTo>
                <a:close/>
              </a:path>
            </a:pathLst>
          </a:custGeom>
        </p:spPr>
        <p:txBody>
          <a:bodyPr wrap="square">
            <a:noAutofit/>
          </a:bodyPr>
          <a:lstStyle>
            <a:lvl1pPr marL="0" indent="0" algn="ctr">
              <a:buNone/>
              <a:defRPr/>
            </a:lvl1pPr>
          </a:lstStyle>
          <a:p>
            <a:r>
              <a:rPr lang="en-US" dirty="0"/>
              <a:t>Click to add photo</a:t>
            </a:r>
          </a:p>
        </p:txBody>
      </p:sp>
      <p:sp>
        <p:nvSpPr>
          <p:cNvPr id="24" name="Title 1">
            <a:extLst>
              <a:ext uri="{FF2B5EF4-FFF2-40B4-BE49-F238E27FC236}">
                <a16:creationId xmlns:a16="http://schemas.microsoft.com/office/drawing/2014/main" id="{1D6E0D65-9776-491D-8E3D-8FD9375B26D1}"/>
              </a:ext>
            </a:extLst>
          </p:cNvPr>
          <p:cNvSpPr>
            <a:spLocks noGrp="1"/>
          </p:cNvSpPr>
          <p:nvPr>
            <p:ph type="ctrTitle"/>
          </p:nvPr>
        </p:nvSpPr>
        <p:spPr>
          <a:xfrm>
            <a:off x="723900" y="5492887"/>
            <a:ext cx="10750253" cy="632588"/>
          </a:xfrm>
        </p:spPr>
        <p:txBody>
          <a:bodyPr/>
          <a:lstStyle>
            <a:lvl1pPr algn="ctr">
              <a:defRPr/>
            </a:lvl1pPr>
          </a:lstStyle>
          <a:p>
            <a:r>
              <a:rPr lang="en-US"/>
              <a:t>Click to edit Master title style</a:t>
            </a:r>
            <a:endParaRPr lang="en-US" dirty="0"/>
          </a:p>
        </p:txBody>
      </p:sp>
      <p:sp>
        <p:nvSpPr>
          <p:cNvPr id="25" name="Subtitle 2">
            <a:extLst>
              <a:ext uri="{FF2B5EF4-FFF2-40B4-BE49-F238E27FC236}">
                <a16:creationId xmlns:a16="http://schemas.microsoft.com/office/drawing/2014/main" id="{B1E8DB09-DDC5-4A27-9DF1-7FCD28BEBA36}"/>
              </a:ext>
            </a:extLst>
          </p:cNvPr>
          <p:cNvSpPr>
            <a:spLocks noGrp="1"/>
          </p:cNvSpPr>
          <p:nvPr>
            <p:ph type="subTitle" idx="1"/>
          </p:nvPr>
        </p:nvSpPr>
        <p:spPr>
          <a:xfrm>
            <a:off x="1697411" y="6137069"/>
            <a:ext cx="8803231" cy="494419"/>
          </a:xfrm>
        </p:spPr>
        <p:txBody>
          <a:bodyPr>
            <a:normAutofit/>
          </a:bodyPr>
          <a:lstStyle>
            <a:lvl1pPr marL="0" indent="0" algn="ctr">
              <a:buNone/>
              <a:defRPr/>
            </a:lvl1pPr>
          </a:lstStyle>
          <a:p>
            <a:r>
              <a:rPr lang="en-US"/>
              <a:t>Click to edit Master subtitle style</a:t>
            </a:r>
            <a:endParaRPr lang="en-US" dirty="0"/>
          </a:p>
        </p:txBody>
      </p:sp>
    </p:spTree>
    <p:extLst>
      <p:ext uri="{BB962C8B-B14F-4D97-AF65-F5344CB8AC3E}">
        <p14:creationId xmlns:p14="http://schemas.microsoft.com/office/powerpoint/2010/main" val="31327660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ntent 2 Column">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25674CD2-0113-4C47-91D3-14BC669D469F}"/>
              </a:ext>
            </a:extLst>
          </p:cNvPr>
          <p:cNvSpPr>
            <a:spLocks noGrp="1"/>
          </p:cNvSpPr>
          <p:nvPr>
            <p:ph type="title"/>
          </p:nvPr>
        </p:nvSpPr>
        <p:spPr>
          <a:xfrm>
            <a:off x="1054681" y="609601"/>
            <a:ext cx="9810604" cy="422365"/>
          </a:xfrm>
        </p:spPr>
        <p:txBody>
          <a:bodyPr/>
          <a:lstStyle>
            <a:lvl1pPr algn="ctr">
              <a:defRPr/>
            </a:lvl1pPr>
          </a:lstStyle>
          <a:p>
            <a:pPr algn="ctr"/>
            <a:r>
              <a:rPr lang="en-US"/>
              <a:t>Click to edit Master title style</a:t>
            </a:r>
            <a:endParaRPr lang="en-US" dirty="0"/>
          </a:p>
        </p:txBody>
      </p:sp>
      <p:sp>
        <p:nvSpPr>
          <p:cNvPr id="13" name="Freeform: Shape 12">
            <a:extLst>
              <a:ext uri="{FF2B5EF4-FFF2-40B4-BE49-F238E27FC236}">
                <a16:creationId xmlns:a16="http://schemas.microsoft.com/office/drawing/2014/main" id="{E58C4B7E-8AD2-4DB7-8297-2C077FA87BBC}"/>
              </a:ext>
              <a:ext uri="{C183D7F6-B498-43B3-948B-1728B52AA6E4}">
                <adec:decorative xmlns:adec="http://schemas.microsoft.com/office/drawing/2017/decorative" val="1"/>
              </a:ext>
            </a:extLst>
          </p:cNvPr>
          <p:cNvSpPr/>
          <p:nvPr userDrawn="1"/>
        </p:nvSpPr>
        <p:spPr>
          <a:xfrm>
            <a:off x="0" y="6248399"/>
            <a:ext cx="12192000" cy="609602"/>
          </a:xfrm>
          <a:custGeom>
            <a:avLst/>
            <a:gdLst>
              <a:gd name="connsiteX0" fmla="*/ 5427496 w 12192000"/>
              <a:gd name="connsiteY0" fmla="*/ 48 h 843657"/>
              <a:gd name="connsiteX1" fmla="*/ 5725893 w 12192000"/>
              <a:gd name="connsiteY1" fmla="*/ 21789 h 843657"/>
              <a:gd name="connsiteX2" fmla="*/ 5843016 w 12192000"/>
              <a:gd name="connsiteY2" fmla="*/ 15229 h 843657"/>
              <a:gd name="connsiteX3" fmla="*/ 5846849 w 12192000"/>
              <a:gd name="connsiteY3" fmla="*/ 32983 h 843657"/>
              <a:gd name="connsiteX4" fmla="*/ 5899818 w 12192000"/>
              <a:gd name="connsiteY4" fmla="*/ 25502 h 843657"/>
              <a:gd name="connsiteX5" fmla="*/ 6034990 w 12192000"/>
              <a:gd name="connsiteY5" fmla="*/ 39501 h 843657"/>
              <a:gd name="connsiteX6" fmla="*/ 6231181 w 12192000"/>
              <a:gd name="connsiteY6" fmla="*/ 59432 h 843657"/>
              <a:gd name="connsiteX7" fmla="*/ 6336161 w 12192000"/>
              <a:gd name="connsiteY7" fmla="*/ 80469 h 843657"/>
              <a:gd name="connsiteX8" fmla="*/ 6424286 w 12192000"/>
              <a:gd name="connsiteY8" fmla="*/ 80202 h 843657"/>
              <a:gd name="connsiteX9" fmla="*/ 6498206 w 12192000"/>
              <a:gd name="connsiteY9" fmla="*/ 88921 h 843657"/>
              <a:gd name="connsiteX10" fmla="*/ 6524438 w 12192000"/>
              <a:gd name="connsiteY10" fmla="*/ 92235 h 843657"/>
              <a:gd name="connsiteX11" fmla="*/ 6528543 w 12192000"/>
              <a:gd name="connsiteY11" fmla="*/ 96055 h 843657"/>
              <a:gd name="connsiteX12" fmla="*/ 6550787 w 12192000"/>
              <a:gd name="connsiteY12" fmla="*/ 79748 h 843657"/>
              <a:gd name="connsiteX13" fmla="*/ 6638443 w 12192000"/>
              <a:gd name="connsiteY13" fmla="*/ 117301 h 843657"/>
              <a:gd name="connsiteX14" fmla="*/ 6639771 w 12192000"/>
              <a:gd name="connsiteY14" fmla="*/ 116273 h 843657"/>
              <a:gd name="connsiteX15" fmla="*/ 6733110 w 12192000"/>
              <a:gd name="connsiteY15" fmla="*/ 109431 h 843657"/>
              <a:gd name="connsiteX16" fmla="*/ 6823638 w 12192000"/>
              <a:gd name="connsiteY16" fmla="*/ 103653 h 843657"/>
              <a:gd name="connsiteX17" fmla="*/ 6834898 w 12192000"/>
              <a:gd name="connsiteY17" fmla="*/ 105044 h 843657"/>
              <a:gd name="connsiteX18" fmla="*/ 6835271 w 12192000"/>
              <a:gd name="connsiteY18" fmla="*/ 104811 h 843657"/>
              <a:gd name="connsiteX19" fmla="*/ 6847445 w 12192000"/>
              <a:gd name="connsiteY19" fmla="*/ 105763 h 843657"/>
              <a:gd name="connsiteX20" fmla="*/ 6855429 w 12192000"/>
              <a:gd name="connsiteY20" fmla="*/ 107584 h 843657"/>
              <a:gd name="connsiteX21" fmla="*/ 6923302 w 12192000"/>
              <a:gd name="connsiteY21" fmla="*/ 131290 h 843657"/>
              <a:gd name="connsiteX22" fmla="*/ 7046891 w 12192000"/>
              <a:gd name="connsiteY22" fmla="*/ 109264 h 843657"/>
              <a:gd name="connsiteX23" fmla="*/ 7233811 w 12192000"/>
              <a:gd name="connsiteY23" fmla="*/ 127598 h 843657"/>
              <a:gd name="connsiteX24" fmla="*/ 7371301 w 12192000"/>
              <a:gd name="connsiteY24" fmla="*/ 118421 h 843657"/>
              <a:gd name="connsiteX25" fmla="*/ 7574701 w 12192000"/>
              <a:gd name="connsiteY25" fmla="*/ 190435 h 843657"/>
              <a:gd name="connsiteX26" fmla="*/ 7580910 w 12192000"/>
              <a:gd name="connsiteY26" fmla="*/ 199699 h 843657"/>
              <a:gd name="connsiteX27" fmla="*/ 7592267 w 12192000"/>
              <a:gd name="connsiteY27" fmla="*/ 206716 h 843657"/>
              <a:gd name="connsiteX28" fmla="*/ 7594969 w 12192000"/>
              <a:gd name="connsiteY28" fmla="*/ 206552 h 843657"/>
              <a:gd name="connsiteX29" fmla="*/ 7612066 w 12192000"/>
              <a:gd name="connsiteY29" fmla="*/ 211669 h 843657"/>
              <a:gd name="connsiteX30" fmla="*/ 7613197 w 12192000"/>
              <a:gd name="connsiteY30" fmla="*/ 214836 h 843657"/>
              <a:gd name="connsiteX31" fmla="*/ 7624109 w 12192000"/>
              <a:gd name="connsiteY31" fmla="*/ 218987 h 843657"/>
              <a:gd name="connsiteX32" fmla="*/ 7643393 w 12192000"/>
              <a:gd name="connsiteY32" fmla="*/ 228895 h 843657"/>
              <a:gd name="connsiteX33" fmla="*/ 7649074 w 12192000"/>
              <a:gd name="connsiteY33" fmla="*/ 229127 h 843657"/>
              <a:gd name="connsiteX34" fmla="*/ 7681385 w 12192000"/>
              <a:gd name="connsiteY34" fmla="*/ 241546 h 843657"/>
              <a:gd name="connsiteX35" fmla="*/ 7682814 w 12192000"/>
              <a:gd name="connsiteY35" fmla="*/ 240947 h 843657"/>
              <a:gd name="connsiteX36" fmla="*/ 7696214 w 12192000"/>
              <a:gd name="connsiteY36" fmla="*/ 241085 h 843657"/>
              <a:gd name="connsiteX37" fmla="*/ 7819450 w 12192000"/>
              <a:gd name="connsiteY37" fmla="*/ 251097 h 843657"/>
              <a:gd name="connsiteX38" fmla="*/ 7826804 w 12192000"/>
              <a:gd name="connsiteY38" fmla="*/ 253271 h 843657"/>
              <a:gd name="connsiteX39" fmla="*/ 7827179 w 12192000"/>
              <a:gd name="connsiteY39" fmla="*/ 253144 h 843657"/>
              <a:gd name="connsiteX40" fmla="*/ 7835389 w 12192000"/>
              <a:gd name="connsiteY40" fmla="*/ 255095 h 843657"/>
              <a:gd name="connsiteX41" fmla="*/ 7840212 w 12192000"/>
              <a:gd name="connsiteY41" fmla="*/ 257235 h 843657"/>
              <a:gd name="connsiteX42" fmla="*/ 7854477 w 12192000"/>
              <a:gd name="connsiteY42" fmla="*/ 261452 h 843657"/>
              <a:gd name="connsiteX43" fmla="*/ 7925416 w 12192000"/>
              <a:gd name="connsiteY43" fmla="*/ 250871 h 843657"/>
              <a:gd name="connsiteX44" fmla="*/ 8027820 w 12192000"/>
              <a:gd name="connsiteY44" fmla="*/ 237431 h 843657"/>
              <a:gd name="connsiteX45" fmla="*/ 8082003 w 12192000"/>
              <a:gd name="connsiteY45" fmla="*/ 258480 h 843657"/>
              <a:gd name="connsiteX46" fmla="*/ 8258788 w 12192000"/>
              <a:gd name="connsiteY46" fmla="*/ 272192 h 843657"/>
              <a:gd name="connsiteX47" fmla="*/ 8292894 w 12192000"/>
              <a:gd name="connsiteY47" fmla="*/ 269919 h 843657"/>
              <a:gd name="connsiteX48" fmla="*/ 8297864 w 12192000"/>
              <a:gd name="connsiteY48" fmla="*/ 268332 h 843657"/>
              <a:gd name="connsiteX49" fmla="*/ 8304197 w 12192000"/>
              <a:gd name="connsiteY49" fmla="*/ 267834 h 843657"/>
              <a:gd name="connsiteX50" fmla="*/ 8320276 w 12192000"/>
              <a:gd name="connsiteY50" fmla="*/ 270133 h 843657"/>
              <a:gd name="connsiteX51" fmla="*/ 8326122 w 12192000"/>
              <a:gd name="connsiteY51" fmla="*/ 271603 h 843657"/>
              <a:gd name="connsiteX52" fmla="*/ 8335105 w 12192000"/>
              <a:gd name="connsiteY52" fmla="*/ 272466 h 843657"/>
              <a:gd name="connsiteX53" fmla="*/ 8335390 w 12192000"/>
              <a:gd name="connsiteY53" fmla="*/ 272295 h 843657"/>
              <a:gd name="connsiteX54" fmla="*/ 8383421 w 12192000"/>
              <a:gd name="connsiteY54" fmla="*/ 274638 h 843657"/>
              <a:gd name="connsiteX55" fmla="*/ 8443863 w 12192000"/>
              <a:gd name="connsiteY55" fmla="*/ 268710 h 843657"/>
              <a:gd name="connsiteX56" fmla="*/ 8467401 w 12192000"/>
              <a:gd name="connsiteY56" fmla="*/ 267736 h 843657"/>
              <a:gd name="connsiteX57" fmla="*/ 8480310 w 12192000"/>
              <a:gd name="connsiteY57" fmla="*/ 266190 h 843657"/>
              <a:gd name="connsiteX58" fmla="*/ 8481334 w 12192000"/>
              <a:gd name="connsiteY58" fmla="*/ 265430 h 843657"/>
              <a:gd name="connsiteX59" fmla="*/ 8519400 w 12192000"/>
              <a:gd name="connsiteY59" fmla="*/ 273417 h 843657"/>
              <a:gd name="connsiteX60" fmla="*/ 8673416 w 12192000"/>
              <a:gd name="connsiteY60" fmla="*/ 324197 h 843657"/>
              <a:gd name="connsiteX61" fmla="*/ 8915200 w 12192000"/>
              <a:gd name="connsiteY61" fmla="*/ 356781 h 843657"/>
              <a:gd name="connsiteX62" fmla="*/ 9059198 w 12192000"/>
              <a:gd name="connsiteY62" fmla="*/ 364924 h 843657"/>
              <a:gd name="connsiteX63" fmla="*/ 9178845 w 12192000"/>
              <a:gd name="connsiteY63" fmla="*/ 379331 h 843657"/>
              <a:gd name="connsiteX64" fmla="*/ 9291225 w 12192000"/>
              <a:gd name="connsiteY64" fmla="*/ 384156 h 843657"/>
              <a:gd name="connsiteX65" fmla="*/ 9370554 w 12192000"/>
              <a:gd name="connsiteY65" fmla="*/ 395218 h 843657"/>
              <a:gd name="connsiteX66" fmla="*/ 9413541 w 12192000"/>
              <a:gd name="connsiteY66" fmla="*/ 394032 h 843657"/>
              <a:gd name="connsiteX67" fmla="*/ 9457933 w 12192000"/>
              <a:gd name="connsiteY67" fmla="*/ 395525 h 843657"/>
              <a:gd name="connsiteX68" fmla="*/ 9592718 w 12192000"/>
              <a:gd name="connsiteY68" fmla="*/ 403735 h 843657"/>
              <a:gd name="connsiteX69" fmla="*/ 9668575 w 12192000"/>
              <a:gd name="connsiteY69" fmla="*/ 410688 h 843657"/>
              <a:gd name="connsiteX70" fmla="*/ 9715652 w 12192000"/>
              <a:gd name="connsiteY70" fmla="*/ 411123 h 843657"/>
              <a:gd name="connsiteX71" fmla="*/ 9777853 w 12192000"/>
              <a:gd name="connsiteY71" fmla="*/ 400831 h 843657"/>
              <a:gd name="connsiteX72" fmla="*/ 9851249 w 12192000"/>
              <a:gd name="connsiteY72" fmla="*/ 415333 h 843657"/>
              <a:gd name="connsiteX73" fmla="*/ 9976759 w 12192000"/>
              <a:gd name="connsiteY73" fmla="*/ 429768 h 843657"/>
              <a:gd name="connsiteX74" fmla="*/ 10190155 w 12192000"/>
              <a:gd name="connsiteY74" fmla="*/ 473343 h 843657"/>
              <a:gd name="connsiteX75" fmla="*/ 10283621 w 12192000"/>
              <a:gd name="connsiteY75" fmla="*/ 482672 h 843657"/>
              <a:gd name="connsiteX76" fmla="*/ 10363623 w 12192000"/>
              <a:gd name="connsiteY76" fmla="*/ 479281 h 843657"/>
              <a:gd name="connsiteX77" fmla="*/ 10418680 w 12192000"/>
              <a:gd name="connsiteY77" fmla="*/ 481335 h 843657"/>
              <a:gd name="connsiteX78" fmla="*/ 10476232 w 12192000"/>
              <a:gd name="connsiteY78" fmla="*/ 487929 h 843657"/>
              <a:gd name="connsiteX79" fmla="*/ 10477443 w 12192000"/>
              <a:gd name="connsiteY79" fmla="*/ 488348 h 843657"/>
              <a:gd name="connsiteX80" fmla="*/ 10478546 w 12192000"/>
              <a:gd name="connsiteY80" fmla="*/ 484593 h 843657"/>
              <a:gd name="connsiteX81" fmla="*/ 10522544 w 12192000"/>
              <a:gd name="connsiteY81" fmla="*/ 483599 h 843657"/>
              <a:gd name="connsiteX82" fmla="*/ 10525940 w 12192000"/>
              <a:gd name="connsiteY82" fmla="*/ 488575 h 843657"/>
              <a:gd name="connsiteX83" fmla="*/ 10527978 w 12192000"/>
              <a:gd name="connsiteY83" fmla="*/ 487468 h 843657"/>
              <a:gd name="connsiteX84" fmla="*/ 10551856 w 12192000"/>
              <a:gd name="connsiteY84" fmla="*/ 495400 h 843657"/>
              <a:gd name="connsiteX85" fmla="*/ 10651180 w 12192000"/>
              <a:gd name="connsiteY85" fmla="*/ 481776 h 843657"/>
              <a:gd name="connsiteX86" fmla="*/ 10692407 w 12192000"/>
              <a:gd name="connsiteY86" fmla="*/ 479535 h 843657"/>
              <a:gd name="connsiteX87" fmla="*/ 10805173 w 12192000"/>
              <a:gd name="connsiteY87" fmla="*/ 469286 h 843657"/>
              <a:gd name="connsiteX88" fmla="*/ 10918240 w 12192000"/>
              <a:gd name="connsiteY88" fmla="*/ 455873 h 843657"/>
              <a:gd name="connsiteX89" fmla="*/ 10985893 w 12192000"/>
              <a:gd name="connsiteY89" fmla="*/ 430155 h 843657"/>
              <a:gd name="connsiteX90" fmla="*/ 11078762 w 12192000"/>
              <a:gd name="connsiteY90" fmla="*/ 421051 h 843657"/>
              <a:gd name="connsiteX91" fmla="*/ 11113454 w 12192000"/>
              <a:gd name="connsiteY91" fmla="*/ 390853 h 843657"/>
              <a:gd name="connsiteX92" fmla="*/ 11262187 w 12192000"/>
              <a:gd name="connsiteY92" fmla="*/ 378634 h 843657"/>
              <a:gd name="connsiteX93" fmla="*/ 11357725 w 12192000"/>
              <a:gd name="connsiteY93" fmla="*/ 347628 h 843657"/>
              <a:gd name="connsiteX94" fmla="*/ 11514053 w 12192000"/>
              <a:gd name="connsiteY94" fmla="*/ 323566 h 843657"/>
              <a:gd name="connsiteX95" fmla="*/ 11560799 w 12192000"/>
              <a:gd name="connsiteY95" fmla="*/ 310945 h 843657"/>
              <a:gd name="connsiteX96" fmla="*/ 11555095 w 12192000"/>
              <a:gd name="connsiteY96" fmla="*/ 330247 h 843657"/>
              <a:gd name="connsiteX97" fmla="*/ 11601935 w 12192000"/>
              <a:gd name="connsiteY97" fmla="*/ 336765 h 843657"/>
              <a:gd name="connsiteX98" fmla="*/ 11689326 w 12192000"/>
              <a:gd name="connsiteY98" fmla="*/ 303103 h 843657"/>
              <a:gd name="connsiteX99" fmla="*/ 11889311 w 12192000"/>
              <a:gd name="connsiteY99" fmla="*/ 296043 h 843657"/>
              <a:gd name="connsiteX100" fmla="*/ 11894969 w 12192000"/>
              <a:gd name="connsiteY100" fmla="*/ 296953 h 843657"/>
              <a:gd name="connsiteX101" fmla="*/ 11890989 w 12192000"/>
              <a:gd name="connsiteY101" fmla="*/ 298008 h 843657"/>
              <a:gd name="connsiteX102" fmla="*/ 11895904 w 12192000"/>
              <a:gd name="connsiteY102" fmla="*/ 297102 h 843657"/>
              <a:gd name="connsiteX103" fmla="*/ 11894969 w 12192000"/>
              <a:gd name="connsiteY103" fmla="*/ 296953 h 843657"/>
              <a:gd name="connsiteX104" fmla="*/ 11896981 w 12192000"/>
              <a:gd name="connsiteY104" fmla="*/ 296418 h 843657"/>
              <a:gd name="connsiteX105" fmla="*/ 11931533 w 12192000"/>
              <a:gd name="connsiteY105" fmla="*/ 322577 h 843657"/>
              <a:gd name="connsiteX106" fmla="*/ 11970826 w 12192000"/>
              <a:gd name="connsiteY106" fmla="*/ 284547 h 843657"/>
              <a:gd name="connsiteX107" fmla="*/ 11998411 w 12192000"/>
              <a:gd name="connsiteY107" fmla="*/ 275459 h 843657"/>
              <a:gd name="connsiteX108" fmla="*/ 12070284 w 12192000"/>
              <a:gd name="connsiteY108" fmla="*/ 252823 h 843657"/>
              <a:gd name="connsiteX109" fmla="*/ 12149273 w 12192000"/>
              <a:gd name="connsiteY109" fmla="*/ 283340 h 843657"/>
              <a:gd name="connsiteX110" fmla="*/ 12192000 w 12192000"/>
              <a:gd name="connsiteY110" fmla="*/ 293933 h 843657"/>
              <a:gd name="connsiteX111" fmla="*/ 12192000 w 12192000"/>
              <a:gd name="connsiteY111" fmla="*/ 843657 h 843657"/>
              <a:gd name="connsiteX112" fmla="*/ 0 w 12192000"/>
              <a:gd name="connsiteY112" fmla="*/ 843657 h 843657"/>
              <a:gd name="connsiteX113" fmla="*/ 0 w 12192000"/>
              <a:gd name="connsiteY113" fmla="*/ 517671 h 843657"/>
              <a:gd name="connsiteX114" fmla="*/ 62970 w 12192000"/>
              <a:gd name="connsiteY114" fmla="*/ 497349 h 843657"/>
              <a:gd name="connsiteX115" fmla="*/ 163102 w 12192000"/>
              <a:gd name="connsiteY115" fmla="*/ 486965 h 843657"/>
              <a:gd name="connsiteX116" fmla="*/ 327347 w 12192000"/>
              <a:gd name="connsiteY116" fmla="*/ 474218 h 843657"/>
              <a:gd name="connsiteX117" fmla="*/ 616456 w 12192000"/>
              <a:gd name="connsiteY117" fmla="*/ 448171 h 843657"/>
              <a:gd name="connsiteX118" fmla="*/ 805377 w 12192000"/>
              <a:gd name="connsiteY118" fmla="*/ 441830 h 843657"/>
              <a:gd name="connsiteX119" fmla="*/ 937261 w 12192000"/>
              <a:gd name="connsiteY119" fmla="*/ 436268 h 843657"/>
              <a:gd name="connsiteX120" fmla="*/ 1139080 w 12192000"/>
              <a:gd name="connsiteY120" fmla="*/ 358865 h 843657"/>
              <a:gd name="connsiteX121" fmla="*/ 1319302 w 12192000"/>
              <a:gd name="connsiteY121" fmla="*/ 308917 h 843657"/>
              <a:gd name="connsiteX122" fmla="*/ 1385386 w 12192000"/>
              <a:gd name="connsiteY122" fmla="*/ 296402 h 843657"/>
              <a:gd name="connsiteX123" fmla="*/ 1404278 w 12192000"/>
              <a:gd name="connsiteY123" fmla="*/ 282186 h 843657"/>
              <a:gd name="connsiteX124" fmla="*/ 1431509 w 12192000"/>
              <a:gd name="connsiteY124" fmla="*/ 282637 h 843657"/>
              <a:gd name="connsiteX125" fmla="*/ 1479635 w 12192000"/>
              <a:gd name="connsiteY125" fmla="*/ 281452 h 843657"/>
              <a:gd name="connsiteX126" fmla="*/ 1522846 w 12192000"/>
              <a:gd name="connsiteY126" fmla="*/ 286636 h 843657"/>
              <a:gd name="connsiteX127" fmla="*/ 1744857 w 12192000"/>
              <a:gd name="connsiteY127" fmla="*/ 299498 h 843657"/>
              <a:gd name="connsiteX128" fmla="*/ 1800399 w 12192000"/>
              <a:gd name="connsiteY128" fmla="*/ 286471 h 843657"/>
              <a:gd name="connsiteX129" fmla="*/ 1829679 w 12192000"/>
              <a:gd name="connsiteY129" fmla="*/ 279899 h 843657"/>
              <a:gd name="connsiteX130" fmla="*/ 1848467 w 12192000"/>
              <a:gd name="connsiteY130" fmla="*/ 280085 h 843657"/>
              <a:gd name="connsiteX131" fmla="*/ 1919990 w 12192000"/>
              <a:gd name="connsiteY131" fmla="*/ 280551 h 843657"/>
              <a:gd name="connsiteX132" fmla="*/ 1947318 w 12192000"/>
              <a:gd name="connsiteY132" fmla="*/ 275157 h 843657"/>
              <a:gd name="connsiteX133" fmla="*/ 2052662 w 12192000"/>
              <a:gd name="connsiteY133" fmla="*/ 260377 h 843657"/>
              <a:gd name="connsiteX134" fmla="*/ 2142850 w 12192000"/>
              <a:gd name="connsiteY134" fmla="*/ 253103 h 843657"/>
              <a:gd name="connsiteX135" fmla="*/ 2207849 w 12192000"/>
              <a:gd name="connsiteY135" fmla="*/ 271590 h 843657"/>
              <a:gd name="connsiteX136" fmla="*/ 2213757 w 12192000"/>
              <a:gd name="connsiteY136" fmla="*/ 267429 h 843657"/>
              <a:gd name="connsiteX137" fmla="*/ 2258954 w 12192000"/>
              <a:gd name="connsiteY137" fmla="*/ 268589 h 843657"/>
              <a:gd name="connsiteX138" fmla="*/ 2416183 w 12192000"/>
              <a:gd name="connsiteY138" fmla="*/ 301325 h 843657"/>
              <a:gd name="connsiteX139" fmla="*/ 2504536 w 12192000"/>
              <a:gd name="connsiteY139" fmla="*/ 302799 h 843657"/>
              <a:gd name="connsiteX140" fmla="*/ 2536071 w 12192000"/>
              <a:gd name="connsiteY140" fmla="*/ 298698 h 843657"/>
              <a:gd name="connsiteX141" fmla="*/ 2588893 w 12192000"/>
              <a:gd name="connsiteY141" fmla="*/ 292112 h 843657"/>
              <a:gd name="connsiteX142" fmla="*/ 2628809 w 12192000"/>
              <a:gd name="connsiteY142" fmla="*/ 275805 h 843657"/>
              <a:gd name="connsiteX143" fmla="*/ 2672807 w 12192000"/>
              <a:gd name="connsiteY143" fmla="*/ 274811 h 843657"/>
              <a:gd name="connsiteX144" fmla="*/ 2682466 w 12192000"/>
              <a:gd name="connsiteY144" fmla="*/ 289307 h 843657"/>
              <a:gd name="connsiteX145" fmla="*/ 2801443 w 12192000"/>
              <a:gd name="connsiteY145" fmla="*/ 272988 h 843657"/>
              <a:gd name="connsiteX146" fmla="*/ 2842670 w 12192000"/>
              <a:gd name="connsiteY146" fmla="*/ 270747 h 843657"/>
              <a:gd name="connsiteX147" fmla="*/ 2955436 w 12192000"/>
              <a:gd name="connsiteY147" fmla="*/ 260498 h 843657"/>
              <a:gd name="connsiteX148" fmla="*/ 3068503 w 12192000"/>
              <a:gd name="connsiteY148" fmla="*/ 247085 h 843657"/>
              <a:gd name="connsiteX149" fmla="*/ 3136157 w 12192000"/>
              <a:gd name="connsiteY149" fmla="*/ 221367 h 843657"/>
              <a:gd name="connsiteX150" fmla="*/ 3229025 w 12192000"/>
              <a:gd name="connsiteY150" fmla="*/ 212263 h 843657"/>
              <a:gd name="connsiteX151" fmla="*/ 3263717 w 12192000"/>
              <a:gd name="connsiteY151" fmla="*/ 182064 h 843657"/>
              <a:gd name="connsiteX152" fmla="*/ 3412450 w 12192000"/>
              <a:gd name="connsiteY152" fmla="*/ 169845 h 843657"/>
              <a:gd name="connsiteX153" fmla="*/ 3507988 w 12192000"/>
              <a:gd name="connsiteY153" fmla="*/ 138840 h 843657"/>
              <a:gd name="connsiteX154" fmla="*/ 3664316 w 12192000"/>
              <a:gd name="connsiteY154" fmla="*/ 114777 h 843657"/>
              <a:gd name="connsiteX155" fmla="*/ 3711062 w 12192000"/>
              <a:gd name="connsiteY155" fmla="*/ 102156 h 843657"/>
              <a:gd name="connsiteX156" fmla="*/ 3705359 w 12192000"/>
              <a:gd name="connsiteY156" fmla="*/ 121458 h 843657"/>
              <a:gd name="connsiteX157" fmla="*/ 3752198 w 12192000"/>
              <a:gd name="connsiteY157" fmla="*/ 127977 h 843657"/>
              <a:gd name="connsiteX158" fmla="*/ 3839589 w 12192000"/>
              <a:gd name="connsiteY158" fmla="*/ 94314 h 843657"/>
              <a:gd name="connsiteX159" fmla="*/ 4039575 w 12192000"/>
              <a:gd name="connsiteY159" fmla="*/ 87255 h 843657"/>
              <a:gd name="connsiteX160" fmla="*/ 4045232 w 12192000"/>
              <a:gd name="connsiteY160" fmla="*/ 88164 h 843657"/>
              <a:gd name="connsiteX161" fmla="*/ 4041253 w 12192000"/>
              <a:gd name="connsiteY161" fmla="*/ 89220 h 843657"/>
              <a:gd name="connsiteX162" fmla="*/ 4046168 w 12192000"/>
              <a:gd name="connsiteY162" fmla="*/ 88314 h 843657"/>
              <a:gd name="connsiteX163" fmla="*/ 4045232 w 12192000"/>
              <a:gd name="connsiteY163" fmla="*/ 88164 h 843657"/>
              <a:gd name="connsiteX164" fmla="*/ 4047244 w 12192000"/>
              <a:gd name="connsiteY164" fmla="*/ 87630 h 843657"/>
              <a:gd name="connsiteX165" fmla="*/ 4081797 w 12192000"/>
              <a:gd name="connsiteY165" fmla="*/ 113788 h 843657"/>
              <a:gd name="connsiteX166" fmla="*/ 4121089 w 12192000"/>
              <a:gd name="connsiteY166" fmla="*/ 75758 h 843657"/>
              <a:gd name="connsiteX167" fmla="*/ 4148674 w 12192000"/>
              <a:gd name="connsiteY167" fmla="*/ 66671 h 843657"/>
              <a:gd name="connsiteX168" fmla="*/ 4220548 w 12192000"/>
              <a:gd name="connsiteY168" fmla="*/ 44035 h 843657"/>
              <a:gd name="connsiteX169" fmla="*/ 4354249 w 12192000"/>
              <a:gd name="connsiteY169" fmla="*/ 88116 h 843657"/>
              <a:gd name="connsiteX170" fmla="*/ 4549237 w 12192000"/>
              <a:gd name="connsiteY170" fmla="*/ 79806 h 843657"/>
              <a:gd name="connsiteX171" fmla="*/ 4796679 w 12192000"/>
              <a:gd name="connsiteY171" fmla="*/ 108111 h 843657"/>
              <a:gd name="connsiteX172" fmla="*/ 4928657 w 12192000"/>
              <a:gd name="connsiteY172" fmla="*/ 111604 h 843657"/>
              <a:gd name="connsiteX173" fmla="*/ 5136768 w 12192000"/>
              <a:gd name="connsiteY173" fmla="*/ 48267 h 843657"/>
              <a:gd name="connsiteX174" fmla="*/ 5320899 w 12192000"/>
              <a:gd name="connsiteY174" fmla="*/ 10821 h 843657"/>
              <a:gd name="connsiteX175" fmla="*/ 5427496 w 12192000"/>
              <a:gd name="connsiteY175" fmla="*/ 48 h 84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12192000" h="843657">
                <a:moveTo>
                  <a:pt x="5427496" y="48"/>
                </a:moveTo>
                <a:cubicBezTo>
                  <a:pt x="5539522" y="-1167"/>
                  <a:pt x="5660629" y="21238"/>
                  <a:pt x="5725893" y="21789"/>
                </a:cubicBezTo>
                <a:cubicBezTo>
                  <a:pt x="5728883" y="21092"/>
                  <a:pt x="5807017" y="20526"/>
                  <a:pt x="5843016" y="15229"/>
                </a:cubicBezTo>
                <a:lnTo>
                  <a:pt x="5846849" y="32983"/>
                </a:lnTo>
                <a:lnTo>
                  <a:pt x="5899818" y="25502"/>
                </a:lnTo>
                <a:cubicBezTo>
                  <a:pt x="5978576" y="29224"/>
                  <a:pt x="5979762" y="33846"/>
                  <a:pt x="6034990" y="39501"/>
                </a:cubicBezTo>
                <a:cubicBezTo>
                  <a:pt x="6090217" y="45155"/>
                  <a:pt x="6180985" y="52604"/>
                  <a:pt x="6231181" y="59432"/>
                </a:cubicBezTo>
                <a:cubicBezTo>
                  <a:pt x="6281376" y="66260"/>
                  <a:pt x="6255083" y="72671"/>
                  <a:pt x="6336161" y="80469"/>
                </a:cubicBezTo>
                <a:cubicBezTo>
                  <a:pt x="6367899" y="78809"/>
                  <a:pt x="6388398" y="79505"/>
                  <a:pt x="6424286" y="80202"/>
                </a:cubicBezTo>
                <a:lnTo>
                  <a:pt x="6498206" y="88921"/>
                </a:lnTo>
                <a:cubicBezTo>
                  <a:pt x="6511924" y="88197"/>
                  <a:pt x="6519540" y="89722"/>
                  <a:pt x="6524438" y="92235"/>
                </a:cubicBezTo>
                <a:lnTo>
                  <a:pt x="6528543" y="96055"/>
                </a:lnTo>
                <a:lnTo>
                  <a:pt x="6550787" y="79748"/>
                </a:lnTo>
                <a:lnTo>
                  <a:pt x="6638443" y="117301"/>
                </a:lnTo>
                <a:lnTo>
                  <a:pt x="6639771" y="116273"/>
                </a:lnTo>
                <a:cubicBezTo>
                  <a:pt x="6661612" y="112323"/>
                  <a:pt x="6702466" y="111534"/>
                  <a:pt x="6733110" y="109431"/>
                </a:cubicBezTo>
                <a:cubicBezTo>
                  <a:pt x="6750270" y="113134"/>
                  <a:pt x="6804803" y="100717"/>
                  <a:pt x="6823638" y="103653"/>
                </a:cubicBezTo>
                <a:lnTo>
                  <a:pt x="6834898" y="105044"/>
                </a:lnTo>
                <a:lnTo>
                  <a:pt x="6835271" y="104811"/>
                </a:lnTo>
                <a:cubicBezTo>
                  <a:pt x="6838034" y="104559"/>
                  <a:pt x="6841861" y="104809"/>
                  <a:pt x="6847445" y="105763"/>
                </a:cubicBezTo>
                <a:lnTo>
                  <a:pt x="6855429" y="107584"/>
                </a:lnTo>
                <a:lnTo>
                  <a:pt x="6923302" y="131290"/>
                </a:lnTo>
                <a:lnTo>
                  <a:pt x="7046891" y="109264"/>
                </a:lnTo>
                <a:cubicBezTo>
                  <a:pt x="7109198" y="115376"/>
                  <a:pt x="7163425" y="116966"/>
                  <a:pt x="7233811" y="127598"/>
                </a:cubicBezTo>
                <a:cubicBezTo>
                  <a:pt x="7295557" y="125883"/>
                  <a:pt x="7306408" y="101921"/>
                  <a:pt x="7371301" y="118421"/>
                </a:cubicBezTo>
                <a:cubicBezTo>
                  <a:pt x="7428238" y="129077"/>
                  <a:pt x="7510607" y="192508"/>
                  <a:pt x="7574701" y="190435"/>
                </a:cubicBezTo>
                <a:cubicBezTo>
                  <a:pt x="7575517" y="193901"/>
                  <a:pt x="7577730" y="196953"/>
                  <a:pt x="7580910" y="199699"/>
                </a:cubicBezTo>
                <a:lnTo>
                  <a:pt x="7592267" y="206716"/>
                </a:lnTo>
                <a:lnTo>
                  <a:pt x="7594969" y="206552"/>
                </a:lnTo>
                <a:cubicBezTo>
                  <a:pt x="7605059" y="207466"/>
                  <a:pt x="7609760" y="209355"/>
                  <a:pt x="7612066" y="211669"/>
                </a:cubicBezTo>
                <a:lnTo>
                  <a:pt x="7613197" y="214836"/>
                </a:lnTo>
                <a:lnTo>
                  <a:pt x="7624109" y="218987"/>
                </a:lnTo>
                <a:lnTo>
                  <a:pt x="7643393" y="228895"/>
                </a:lnTo>
                <a:lnTo>
                  <a:pt x="7649074" y="229127"/>
                </a:lnTo>
                <a:lnTo>
                  <a:pt x="7681385" y="241546"/>
                </a:lnTo>
                <a:lnTo>
                  <a:pt x="7682814" y="240947"/>
                </a:lnTo>
                <a:cubicBezTo>
                  <a:pt x="7686754" y="239889"/>
                  <a:pt x="7691050" y="239641"/>
                  <a:pt x="7696214" y="241085"/>
                </a:cubicBezTo>
                <a:lnTo>
                  <a:pt x="7819450" y="251097"/>
                </a:lnTo>
                <a:lnTo>
                  <a:pt x="7826804" y="253271"/>
                </a:lnTo>
                <a:lnTo>
                  <a:pt x="7827179" y="253144"/>
                </a:lnTo>
                <a:cubicBezTo>
                  <a:pt x="7829262" y="253251"/>
                  <a:pt x="7831866" y="253829"/>
                  <a:pt x="7835389" y="255095"/>
                </a:cubicBezTo>
                <a:lnTo>
                  <a:pt x="7840212" y="257235"/>
                </a:lnTo>
                <a:lnTo>
                  <a:pt x="7854477" y="261452"/>
                </a:lnTo>
                <a:lnTo>
                  <a:pt x="7925416" y="250871"/>
                </a:lnTo>
                <a:cubicBezTo>
                  <a:pt x="7968549" y="254776"/>
                  <a:pt x="7991532" y="223503"/>
                  <a:pt x="8027820" y="237431"/>
                </a:cubicBezTo>
                <a:cubicBezTo>
                  <a:pt x="8068225" y="241026"/>
                  <a:pt x="8049335" y="250837"/>
                  <a:pt x="8082003" y="258480"/>
                </a:cubicBezTo>
                <a:cubicBezTo>
                  <a:pt x="8118911" y="261016"/>
                  <a:pt x="8227791" y="271465"/>
                  <a:pt x="8258788" y="272192"/>
                </a:cubicBezTo>
                <a:cubicBezTo>
                  <a:pt x="8285356" y="257871"/>
                  <a:pt x="8284528" y="264250"/>
                  <a:pt x="8292894" y="269919"/>
                </a:cubicBezTo>
                <a:lnTo>
                  <a:pt x="8297864" y="268332"/>
                </a:lnTo>
                <a:lnTo>
                  <a:pt x="8304197" y="267834"/>
                </a:lnTo>
                <a:lnTo>
                  <a:pt x="8320276" y="270133"/>
                </a:lnTo>
                <a:lnTo>
                  <a:pt x="8326122" y="271603"/>
                </a:lnTo>
                <a:cubicBezTo>
                  <a:pt x="8330224" y="272389"/>
                  <a:pt x="8333047" y="272623"/>
                  <a:pt x="8335105" y="272466"/>
                </a:cubicBezTo>
                <a:lnTo>
                  <a:pt x="8335390" y="272295"/>
                </a:lnTo>
                <a:lnTo>
                  <a:pt x="8383421" y="274638"/>
                </a:lnTo>
                <a:cubicBezTo>
                  <a:pt x="8398105" y="264966"/>
                  <a:pt x="8442440" y="289516"/>
                  <a:pt x="8443863" y="268710"/>
                </a:cubicBezTo>
                <a:cubicBezTo>
                  <a:pt x="8461029" y="272153"/>
                  <a:pt x="8468950" y="281627"/>
                  <a:pt x="8467401" y="267736"/>
                </a:cubicBezTo>
                <a:cubicBezTo>
                  <a:pt x="8473175" y="268487"/>
                  <a:pt x="8477144" y="267709"/>
                  <a:pt x="8480310" y="266190"/>
                </a:cubicBezTo>
                <a:lnTo>
                  <a:pt x="8481334" y="265430"/>
                </a:lnTo>
                <a:lnTo>
                  <a:pt x="8519400" y="273417"/>
                </a:lnTo>
                <a:lnTo>
                  <a:pt x="8673416" y="324197"/>
                </a:lnTo>
                <a:cubicBezTo>
                  <a:pt x="8745894" y="327976"/>
                  <a:pt x="8849559" y="346603"/>
                  <a:pt x="8915200" y="356781"/>
                </a:cubicBezTo>
                <a:cubicBezTo>
                  <a:pt x="8932755" y="365773"/>
                  <a:pt x="9005876" y="371758"/>
                  <a:pt x="9059198" y="364924"/>
                </a:cubicBezTo>
                <a:lnTo>
                  <a:pt x="9178845" y="379331"/>
                </a:lnTo>
                <a:cubicBezTo>
                  <a:pt x="9219852" y="386336"/>
                  <a:pt x="9250133" y="384055"/>
                  <a:pt x="9291225" y="384156"/>
                </a:cubicBezTo>
                <a:cubicBezTo>
                  <a:pt x="9315636" y="387667"/>
                  <a:pt x="9329719" y="388016"/>
                  <a:pt x="9370554" y="395218"/>
                </a:cubicBezTo>
                <a:cubicBezTo>
                  <a:pt x="9378187" y="394560"/>
                  <a:pt x="9405932" y="395507"/>
                  <a:pt x="9413541" y="394032"/>
                </a:cubicBezTo>
                <a:lnTo>
                  <a:pt x="9457933" y="395525"/>
                </a:lnTo>
                <a:lnTo>
                  <a:pt x="9592718" y="403735"/>
                </a:lnTo>
                <a:cubicBezTo>
                  <a:pt x="9606379" y="409007"/>
                  <a:pt x="9655291" y="415471"/>
                  <a:pt x="9668575" y="410688"/>
                </a:cubicBezTo>
                <a:cubicBezTo>
                  <a:pt x="9679602" y="410798"/>
                  <a:pt x="9706602" y="416975"/>
                  <a:pt x="9715652" y="411123"/>
                </a:cubicBezTo>
                <a:cubicBezTo>
                  <a:pt x="9741103" y="416170"/>
                  <a:pt x="9768395" y="403710"/>
                  <a:pt x="9777853" y="400831"/>
                </a:cubicBezTo>
                <a:cubicBezTo>
                  <a:pt x="9805740" y="393796"/>
                  <a:pt x="9827401" y="416417"/>
                  <a:pt x="9851249" y="415333"/>
                </a:cubicBezTo>
                <a:cubicBezTo>
                  <a:pt x="9890629" y="418769"/>
                  <a:pt x="9948551" y="426335"/>
                  <a:pt x="9976759" y="429768"/>
                </a:cubicBezTo>
                <a:cubicBezTo>
                  <a:pt x="10039303" y="440942"/>
                  <a:pt x="10139010" y="464526"/>
                  <a:pt x="10190155" y="473343"/>
                </a:cubicBezTo>
                <a:cubicBezTo>
                  <a:pt x="10247801" y="482478"/>
                  <a:pt x="10217837" y="456410"/>
                  <a:pt x="10283621" y="482672"/>
                </a:cubicBezTo>
                <a:cubicBezTo>
                  <a:pt x="10314609" y="484053"/>
                  <a:pt x="10340423" y="481075"/>
                  <a:pt x="10363623" y="479281"/>
                </a:cubicBezTo>
                <a:cubicBezTo>
                  <a:pt x="10362575" y="468594"/>
                  <a:pt x="10390200" y="481546"/>
                  <a:pt x="10418680" y="481335"/>
                </a:cubicBezTo>
                <a:cubicBezTo>
                  <a:pt x="10435371" y="482382"/>
                  <a:pt x="10458706" y="485335"/>
                  <a:pt x="10476232" y="487929"/>
                </a:cubicBezTo>
                <a:lnTo>
                  <a:pt x="10477443" y="488348"/>
                </a:lnTo>
                <a:lnTo>
                  <a:pt x="10478546" y="484593"/>
                </a:lnTo>
                <a:cubicBezTo>
                  <a:pt x="10496869" y="473932"/>
                  <a:pt x="10504440" y="492791"/>
                  <a:pt x="10522544" y="483599"/>
                </a:cubicBezTo>
                <a:lnTo>
                  <a:pt x="10525940" y="488575"/>
                </a:lnTo>
                <a:lnTo>
                  <a:pt x="10527978" y="487468"/>
                </a:lnTo>
                <a:lnTo>
                  <a:pt x="10551856" y="495400"/>
                </a:lnTo>
                <a:lnTo>
                  <a:pt x="10651180" y="481776"/>
                </a:lnTo>
                <a:cubicBezTo>
                  <a:pt x="10666635" y="489439"/>
                  <a:pt x="10679569" y="486219"/>
                  <a:pt x="10692407" y="479535"/>
                </a:cubicBezTo>
                <a:cubicBezTo>
                  <a:pt x="10729215" y="482326"/>
                  <a:pt x="10763453" y="472539"/>
                  <a:pt x="10805173" y="469286"/>
                </a:cubicBezTo>
                <a:cubicBezTo>
                  <a:pt x="10849593" y="478609"/>
                  <a:pt x="10873661" y="459268"/>
                  <a:pt x="10918240" y="455873"/>
                </a:cubicBezTo>
                <a:cubicBezTo>
                  <a:pt x="10961126" y="475397"/>
                  <a:pt x="10948597" y="428686"/>
                  <a:pt x="10985893" y="430155"/>
                </a:cubicBezTo>
                <a:cubicBezTo>
                  <a:pt x="11045792" y="447988"/>
                  <a:pt x="10985190" y="414687"/>
                  <a:pt x="11078762" y="421051"/>
                </a:cubicBezTo>
                <a:cubicBezTo>
                  <a:pt x="11083925" y="424015"/>
                  <a:pt x="11114482" y="394913"/>
                  <a:pt x="11113454" y="390853"/>
                </a:cubicBezTo>
                <a:cubicBezTo>
                  <a:pt x="11133947" y="392405"/>
                  <a:pt x="11233066" y="373732"/>
                  <a:pt x="11262187" y="378634"/>
                </a:cubicBezTo>
                <a:cubicBezTo>
                  <a:pt x="11320092" y="367389"/>
                  <a:pt x="11316005" y="350805"/>
                  <a:pt x="11357725" y="347628"/>
                </a:cubicBezTo>
                <a:cubicBezTo>
                  <a:pt x="11394272" y="337523"/>
                  <a:pt x="11451549" y="336224"/>
                  <a:pt x="11514053" y="323566"/>
                </a:cubicBezTo>
                <a:lnTo>
                  <a:pt x="11560799" y="310945"/>
                </a:lnTo>
                <a:lnTo>
                  <a:pt x="11555095" y="330247"/>
                </a:lnTo>
                <a:cubicBezTo>
                  <a:pt x="11570115" y="329566"/>
                  <a:pt x="11599314" y="335563"/>
                  <a:pt x="11601935" y="336765"/>
                </a:cubicBezTo>
                <a:cubicBezTo>
                  <a:pt x="11636102" y="339048"/>
                  <a:pt x="11641430" y="309890"/>
                  <a:pt x="11689326" y="303103"/>
                </a:cubicBezTo>
                <a:cubicBezTo>
                  <a:pt x="11737222" y="296316"/>
                  <a:pt x="11853888" y="301002"/>
                  <a:pt x="11889311" y="296043"/>
                </a:cubicBezTo>
                <a:lnTo>
                  <a:pt x="11894969" y="296953"/>
                </a:lnTo>
                <a:lnTo>
                  <a:pt x="11890989" y="298008"/>
                </a:lnTo>
                <a:cubicBezTo>
                  <a:pt x="11892055" y="297992"/>
                  <a:pt x="11894939" y="297561"/>
                  <a:pt x="11895904" y="297102"/>
                </a:cubicBezTo>
                <a:lnTo>
                  <a:pt x="11894969" y="296953"/>
                </a:lnTo>
                <a:lnTo>
                  <a:pt x="11896981" y="296418"/>
                </a:lnTo>
                <a:cubicBezTo>
                  <a:pt x="11903286" y="295212"/>
                  <a:pt x="11910383" y="325786"/>
                  <a:pt x="11931533" y="322577"/>
                </a:cubicBezTo>
                <a:cubicBezTo>
                  <a:pt x="11942379" y="322584"/>
                  <a:pt x="11958231" y="288015"/>
                  <a:pt x="11970826" y="284547"/>
                </a:cubicBezTo>
                <a:lnTo>
                  <a:pt x="11998411" y="275459"/>
                </a:lnTo>
                <a:cubicBezTo>
                  <a:pt x="12014431" y="274432"/>
                  <a:pt x="12054264" y="253851"/>
                  <a:pt x="12070284" y="252823"/>
                </a:cubicBezTo>
                <a:cubicBezTo>
                  <a:pt x="12101953" y="269774"/>
                  <a:pt x="12127636" y="277970"/>
                  <a:pt x="12149273" y="283340"/>
                </a:cubicBezTo>
                <a:lnTo>
                  <a:pt x="12192000" y="293933"/>
                </a:lnTo>
                <a:lnTo>
                  <a:pt x="12192000" y="843657"/>
                </a:lnTo>
                <a:lnTo>
                  <a:pt x="0" y="843657"/>
                </a:lnTo>
                <a:lnTo>
                  <a:pt x="0" y="517671"/>
                </a:lnTo>
                <a:lnTo>
                  <a:pt x="62970" y="497349"/>
                </a:lnTo>
                <a:cubicBezTo>
                  <a:pt x="96818" y="489349"/>
                  <a:pt x="130274" y="485131"/>
                  <a:pt x="163102" y="486965"/>
                </a:cubicBezTo>
                <a:cubicBezTo>
                  <a:pt x="229273" y="516421"/>
                  <a:pt x="295464" y="465077"/>
                  <a:pt x="327347" y="474218"/>
                </a:cubicBezTo>
                <a:cubicBezTo>
                  <a:pt x="398278" y="461559"/>
                  <a:pt x="524389" y="465494"/>
                  <a:pt x="616456" y="448171"/>
                </a:cubicBezTo>
                <a:cubicBezTo>
                  <a:pt x="689761" y="448930"/>
                  <a:pt x="725233" y="436443"/>
                  <a:pt x="805377" y="441830"/>
                </a:cubicBezTo>
                <a:cubicBezTo>
                  <a:pt x="856514" y="450042"/>
                  <a:pt x="903636" y="447034"/>
                  <a:pt x="937261" y="436268"/>
                </a:cubicBezTo>
                <a:cubicBezTo>
                  <a:pt x="984382" y="427633"/>
                  <a:pt x="1086871" y="383843"/>
                  <a:pt x="1139080" y="358865"/>
                </a:cubicBezTo>
                <a:cubicBezTo>
                  <a:pt x="1171293" y="330806"/>
                  <a:pt x="1269341" y="356187"/>
                  <a:pt x="1319302" y="308917"/>
                </a:cubicBezTo>
                <a:cubicBezTo>
                  <a:pt x="1351293" y="315381"/>
                  <a:pt x="1370639" y="306651"/>
                  <a:pt x="1385386" y="296402"/>
                </a:cubicBezTo>
                <a:lnTo>
                  <a:pt x="1404278" y="282186"/>
                </a:lnTo>
                <a:lnTo>
                  <a:pt x="1431509" y="282637"/>
                </a:lnTo>
                <a:lnTo>
                  <a:pt x="1479635" y="281452"/>
                </a:lnTo>
                <a:lnTo>
                  <a:pt x="1522846" y="286636"/>
                </a:lnTo>
                <a:cubicBezTo>
                  <a:pt x="1607746" y="295741"/>
                  <a:pt x="1658262" y="297408"/>
                  <a:pt x="1744857" y="299498"/>
                </a:cubicBezTo>
                <a:cubicBezTo>
                  <a:pt x="1746802" y="298898"/>
                  <a:pt x="1772794" y="292779"/>
                  <a:pt x="1800399" y="286471"/>
                </a:cubicBezTo>
                <a:lnTo>
                  <a:pt x="1829679" y="279899"/>
                </a:lnTo>
                <a:lnTo>
                  <a:pt x="1848467" y="280085"/>
                </a:lnTo>
                <a:cubicBezTo>
                  <a:pt x="1862541" y="284929"/>
                  <a:pt x="1909246" y="287572"/>
                  <a:pt x="1919990" y="280551"/>
                </a:cubicBezTo>
                <a:cubicBezTo>
                  <a:pt x="1930120" y="279552"/>
                  <a:pt x="1940770" y="283009"/>
                  <a:pt x="1947318" y="275157"/>
                </a:cubicBezTo>
                <a:cubicBezTo>
                  <a:pt x="1969430" y="271795"/>
                  <a:pt x="2020074" y="264052"/>
                  <a:pt x="2052662" y="260377"/>
                </a:cubicBezTo>
                <a:cubicBezTo>
                  <a:pt x="2069011" y="271949"/>
                  <a:pt x="2098031" y="252728"/>
                  <a:pt x="2142850" y="253103"/>
                </a:cubicBezTo>
                <a:cubicBezTo>
                  <a:pt x="2160684" y="266415"/>
                  <a:pt x="2173071" y="253191"/>
                  <a:pt x="2207849" y="271590"/>
                </a:cubicBezTo>
                <a:cubicBezTo>
                  <a:pt x="2209481" y="270048"/>
                  <a:pt x="2211471" y="268648"/>
                  <a:pt x="2213757" y="267429"/>
                </a:cubicBezTo>
                <a:cubicBezTo>
                  <a:pt x="2227043" y="260354"/>
                  <a:pt x="2247279" y="260873"/>
                  <a:pt x="2258954" y="268589"/>
                </a:cubicBezTo>
                <a:cubicBezTo>
                  <a:pt x="2314759" y="293598"/>
                  <a:pt x="2367284" y="294725"/>
                  <a:pt x="2416183" y="301325"/>
                </a:cubicBezTo>
                <a:cubicBezTo>
                  <a:pt x="2471682" y="306236"/>
                  <a:pt x="2436502" y="278448"/>
                  <a:pt x="2504536" y="302799"/>
                </a:cubicBezTo>
                <a:cubicBezTo>
                  <a:pt x="2512619" y="293910"/>
                  <a:pt x="2521472" y="293787"/>
                  <a:pt x="2536071" y="298698"/>
                </a:cubicBezTo>
                <a:cubicBezTo>
                  <a:pt x="2563080" y="300400"/>
                  <a:pt x="2562424" y="277303"/>
                  <a:pt x="2588893" y="292112"/>
                </a:cubicBezTo>
                <a:cubicBezTo>
                  <a:pt x="2584764" y="279571"/>
                  <a:pt x="2640519" y="289099"/>
                  <a:pt x="2628809" y="275805"/>
                </a:cubicBezTo>
                <a:cubicBezTo>
                  <a:pt x="2647132" y="265144"/>
                  <a:pt x="2654703" y="284003"/>
                  <a:pt x="2672807" y="274811"/>
                </a:cubicBezTo>
                <a:cubicBezTo>
                  <a:pt x="2692689" y="273207"/>
                  <a:pt x="2660665" y="287642"/>
                  <a:pt x="2682466" y="289307"/>
                </a:cubicBezTo>
                <a:lnTo>
                  <a:pt x="2801443" y="272988"/>
                </a:lnTo>
                <a:cubicBezTo>
                  <a:pt x="2816898" y="280651"/>
                  <a:pt x="2829832" y="277431"/>
                  <a:pt x="2842670" y="270747"/>
                </a:cubicBezTo>
                <a:cubicBezTo>
                  <a:pt x="2879478" y="273538"/>
                  <a:pt x="2913716" y="263751"/>
                  <a:pt x="2955436" y="260498"/>
                </a:cubicBezTo>
                <a:cubicBezTo>
                  <a:pt x="2999857" y="269821"/>
                  <a:pt x="3023924" y="250480"/>
                  <a:pt x="3068503" y="247085"/>
                </a:cubicBezTo>
                <a:cubicBezTo>
                  <a:pt x="3111389" y="266609"/>
                  <a:pt x="3098860" y="219898"/>
                  <a:pt x="3136157" y="221367"/>
                </a:cubicBezTo>
                <a:cubicBezTo>
                  <a:pt x="3196055" y="239200"/>
                  <a:pt x="3135454" y="205899"/>
                  <a:pt x="3229025" y="212263"/>
                </a:cubicBezTo>
                <a:cubicBezTo>
                  <a:pt x="3234188" y="215227"/>
                  <a:pt x="3264745" y="186124"/>
                  <a:pt x="3263717" y="182064"/>
                </a:cubicBezTo>
                <a:cubicBezTo>
                  <a:pt x="3284210" y="183616"/>
                  <a:pt x="3383330" y="164943"/>
                  <a:pt x="3412450" y="169845"/>
                </a:cubicBezTo>
                <a:cubicBezTo>
                  <a:pt x="3470355" y="158600"/>
                  <a:pt x="3466269" y="142016"/>
                  <a:pt x="3507988" y="138840"/>
                </a:cubicBezTo>
                <a:cubicBezTo>
                  <a:pt x="3544535" y="128734"/>
                  <a:pt x="3601812" y="127435"/>
                  <a:pt x="3664316" y="114777"/>
                </a:cubicBezTo>
                <a:lnTo>
                  <a:pt x="3711062" y="102156"/>
                </a:lnTo>
                <a:lnTo>
                  <a:pt x="3705359" y="121458"/>
                </a:lnTo>
                <a:cubicBezTo>
                  <a:pt x="3720379" y="120778"/>
                  <a:pt x="3749577" y="126775"/>
                  <a:pt x="3752198" y="127977"/>
                </a:cubicBezTo>
                <a:cubicBezTo>
                  <a:pt x="3786365" y="130259"/>
                  <a:pt x="3791694" y="101101"/>
                  <a:pt x="3839589" y="94314"/>
                </a:cubicBezTo>
                <a:cubicBezTo>
                  <a:pt x="3887485" y="87527"/>
                  <a:pt x="4004152" y="92214"/>
                  <a:pt x="4039575" y="87255"/>
                </a:cubicBezTo>
                <a:lnTo>
                  <a:pt x="4045232" y="88164"/>
                </a:lnTo>
                <a:lnTo>
                  <a:pt x="4041253" y="89220"/>
                </a:lnTo>
                <a:cubicBezTo>
                  <a:pt x="4042318" y="89204"/>
                  <a:pt x="4045202" y="88772"/>
                  <a:pt x="4046168" y="88314"/>
                </a:cubicBezTo>
                <a:lnTo>
                  <a:pt x="4045232" y="88164"/>
                </a:lnTo>
                <a:lnTo>
                  <a:pt x="4047244" y="87630"/>
                </a:lnTo>
                <a:cubicBezTo>
                  <a:pt x="4053549" y="86424"/>
                  <a:pt x="4060647" y="116997"/>
                  <a:pt x="4081797" y="113788"/>
                </a:cubicBezTo>
                <a:cubicBezTo>
                  <a:pt x="4092642" y="113795"/>
                  <a:pt x="4108495" y="79226"/>
                  <a:pt x="4121089" y="75758"/>
                </a:cubicBezTo>
                <a:lnTo>
                  <a:pt x="4148674" y="66671"/>
                </a:lnTo>
                <a:cubicBezTo>
                  <a:pt x="4164695" y="65643"/>
                  <a:pt x="4204528" y="45062"/>
                  <a:pt x="4220548" y="44035"/>
                </a:cubicBezTo>
                <a:cubicBezTo>
                  <a:pt x="4283885" y="77935"/>
                  <a:pt x="4323280" y="76818"/>
                  <a:pt x="4354249" y="88116"/>
                </a:cubicBezTo>
                <a:cubicBezTo>
                  <a:pt x="4424521" y="97907"/>
                  <a:pt x="4455906" y="90768"/>
                  <a:pt x="4549237" y="79806"/>
                </a:cubicBezTo>
                <a:cubicBezTo>
                  <a:pt x="4622250" y="85587"/>
                  <a:pt x="4717263" y="97250"/>
                  <a:pt x="4796679" y="108111"/>
                </a:cubicBezTo>
                <a:cubicBezTo>
                  <a:pt x="4846927" y="119802"/>
                  <a:pt x="4894173" y="120032"/>
                  <a:pt x="4928657" y="111604"/>
                </a:cubicBezTo>
                <a:cubicBezTo>
                  <a:pt x="4976404" y="106223"/>
                  <a:pt x="5082489" y="69591"/>
                  <a:pt x="5136768" y="48267"/>
                </a:cubicBezTo>
                <a:cubicBezTo>
                  <a:pt x="5171389" y="22501"/>
                  <a:pt x="5266869" y="54523"/>
                  <a:pt x="5320899" y="10821"/>
                </a:cubicBezTo>
                <a:cubicBezTo>
                  <a:pt x="5353820" y="3483"/>
                  <a:pt x="5390152" y="453"/>
                  <a:pt x="5427496" y="48"/>
                </a:cubicBezTo>
                <a:close/>
              </a:path>
            </a:pathLst>
          </a:custGeom>
          <a:solidFill>
            <a:srgbClr val="82766A">
              <a:alpha val="15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Bembo"/>
              <a:ea typeface="+mn-ea"/>
              <a:cs typeface="+mn-cs"/>
            </a:endParaRPr>
          </a:p>
        </p:txBody>
      </p:sp>
      <p:sp>
        <p:nvSpPr>
          <p:cNvPr id="15" name="Text Placeholder 14">
            <a:extLst>
              <a:ext uri="{FF2B5EF4-FFF2-40B4-BE49-F238E27FC236}">
                <a16:creationId xmlns:a16="http://schemas.microsoft.com/office/drawing/2014/main" id="{FDBEDC39-0C40-4877-A8FE-73980FE6D05B}"/>
              </a:ext>
            </a:extLst>
          </p:cNvPr>
          <p:cNvSpPr>
            <a:spLocks noGrp="1"/>
          </p:cNvSpPr>
          <p:nvPr>
            <p:ph type="body" sz="quarter" idx="13" hasCustomPrompt="1"/>
          </p:nvPr>
        </p:nvSpPr>
        <p:spPr>
          <a:xfrm>
            <a:off x="1054890" y="1619250"/>
            <a:ext cx="4736448" cy="422365"/>
          </a:xfrm>
        </p:spPr>
        <p:txBody>
          <a:bodyPr>
            <a:normAutofit/>
          </a:bodyPr>
          <a:lstStyle>
            <a:lvl1pPr marL="0" indent="0" algn="l">
              <a:buNone/>
              <a:defRPr sz="2400" b="0" i="0"/>
            </a:lvl1pPr>
          </a:lstStyle>
          <a:p>
            <a:pPr lvl="0"/>
            <a:r>
              <a:rPr lang="en-US" dirty="0"/>
              <a:t>Click to add subtitle here </a:t>
            </a:r>
          </a:p>
        </p:txBody>
      </p:sp>
      <p:sp>
        <p:nvSpPr>
          <p:cNvPr id="18" name="Text Placeholder 17">
            <a:extLst>
              <a:ext uri="{FF2B5EF4-FFF2-40B4-BE49-F238E27FC236}">
                <a16:creationId xmlns:a16="http://schemas.microsoft.com/office/drawing/2014/main" id="{A2AC0395-26DE-46D5-86B5-74E575713D45}"/>
              </a:ext>
            </a:extLst>
          </p:cNvPr>
          <p:cNvSpPr>
            <a:spLocks noGrp="1"/>
          </p:cNvSpPr>
          <p:nvPr>
            <p:ph type="body" sz="quarter" idx="15" hasCustomPrompt="1"/>
          </p:nvPr>
        </p:nvSpPr>
        <p:spPr>
          <a:xfrm>
            <a:off x="1054682" y="2142535"/>
            <a:ext cx="4735966" cy="3748087"/>
          </a:xfrm>
        </p:spPr>
        <p:txBody>
          <a:bodyPr/>
          <a:lstStyle>
            <a:lvl1pPr>
              <a:defRPr/>
            </a:lvl1pPr>
          </a:lstStyle>
          <a:p>
            <a:pPr lvl="0"/>
            <a:r>
              <a:rPr lang="en-US" dirty="0"/>
              <a:t>Click to add text</a:t>
            </a:r>
          </a:p>
        </p:txBody>
      </p:sp>
      <p:sp>
        <p:nvSpPr>
          <p:cNvPr id="16" name="Text Placeholder 14">
            <a:extLst>
              <a:ext uri="{FF2B5EF4-FFF2-40B4-BE49-F238E27FC236}">
                <a16:creationId xmlns:a16="http://schemas.microsoft.com/office/drawing/2014/main" id="{DD04A74F-DEC1-4C2F-BA56-2223DDF66670}"/>
              </a:ext>
            </a:extLst>
          </p:cNvPr>
          <p:cNvSpPr>
            <a:spLocks noGrp="1"/>
          </p:cNvSpPr>
          <p:nvPr>
            <p:ph type="body" sz="quarter" idx="14" hasCustomPrompt="1"/>
          </p:nvPr>
        </p:nvSpPr>
        <p:spPr>
          <a:xfrm>
            <a:off x="6128839" y="1619249"/>
            <a:ext cx="4736447" cy="422365"/>
          </a:xfrm>
        </p:spPr>
        <p:txBody>
          <a:bodyPr>
            <a:normAutofit/>
          </a:bodyPr>
          <a:lstStyle>
            <a:lvl1pPr marL="0" indent="0" algn="l">
              <a:buNone/>
              <a:defRPr sz="2400" b="0"/>
            </a:lvl1pPr>
          </a:lstStyle>
          <a:p>
            <a:pPr lvl="0"/>
            <a:r>
              <a:rPr lang="en-US" dirty="0"/>
              <a:t>Click to add subtitle here </a:t>
            </a:r>
          </a:p>
        </p:txBody>
      </p:sp>
      <p:sp>
        <p:nvSpPr>
          <p:cNvPr id="19" name="Text Placeholder 17">
            <a:extLst>
              <a:ext uri="{FF2B5EF4-FFF2-40B4-BE49-F238E27FC236}">
                <a16:creationId xmlns:a16="http://schemas.microsoft.com/office/drawing/2014/main" id="{5C05E3C7-9158-43D2-9CE3-55BE738A7CB5}"/>
              </a:ext>
            </a:extLst>
          </p:cNvPr>
          <p:cNvSpPr>
            <a:spLocks noGrp="1"/>
          </p:cNvSpPr>
          <p:nvPr>
            <p:ph type="body" sz="quarter" idx="16" hasCustomPrompt="1"/>
          </p:nvPr>
        </p:nvSpPr>
        <p:spPr>
          <a:xfrm>
            <a:off x="6129319" y="2142534"/>
            <a:ext cx="4735966" cy="3748087"/>
          </a:xfrm>
        </p:spPr>
        <p:txBody>
          <a:bodyPr/>
          <a:lstStyle>
            <a:lvl1pPr>
              <a:defRPr/>
            </a:lvl1pPr>
          </a:lstStyle>
          <a:p>
            <a:pPr lvl="0"/>
            <a:r>
              <a:rPr lang="en-US" dirty="0"/>
              <a:t>Click to add text</a:t>
            </a:r>
          </a:p>
        </p:txBody>
      </p:sp>
      <p:sp>
        <p:nvSpPr>
          <p:cNvPr id="11" name="Footer Placeholder 4">
            <a:extLst>
              <a:ext uri="{FF2B5EF4-FFF2-40B4-BE49-F238E27FC236}">
                <a16:creationId xmlns:a16="http://schemas.microsoft.com/office/drawing/2014/main" id="{539C1417-80EF-4E64-9656-5EEF1E94C4D9}"/>
              </a:ext>
            </a:extLst>
          </p:cNvPr>
          <p:cNvSpPr>
            <a:spLocks noGrp="1"/>
          </p:cNvSpPr>
          <p:nvPr>
            <p:ph type="ftr" sz="quarter" idx="11"/>
          </p:nvPr>
        </p:nvSpPr>
        <p:spPr>
          <a:xfrm rot="5400000">
            <a:off x="10451592" y="1408176"/>
            <a:ext cx="2770499" cy="365125"/>
          </a:xfrm>
        </p:spPr>
        <p:txBody>
          <a:bodyPr/>
          <a:lstStyle>
            <a:lvl1pPr>
              <a:defRPr/>
            </a:lvl1pPr>
          </a:lstStyle>
          <a:p>
            <a:r>
              <a:rPr lang="en-US" dirty="0">
                <a:solidFill>
                  <a:prstClr val="black">
                    <a:lumMod val="85000"/>
                    <a:lumOff val="15000"/>
                  </a:prstClr>
                </a:solidFill>
              </a:rPr>
              <a:t>PRESENTATION TITLE</a:t>
            </a:r>
          </a:p>
        </p:txBody>
      </p:sp>
      <p:sp>
        <p:nvSpPr>
          <p:cNvPr id="12" name="Slide Number Placeholder 5">
            <a:extLst>
              <a:ext uri="{FF2B5EF4-FFF2-40B4-BE49-F238E27FC236}">
                <a16:creationId xmlns:a16="http://schemas.microsoft.com/office/drawing/2014/main" id="{523C6CB9-7FD6-4D73-82C8-320B10A2F3CA}"/>
              </a:ext>
            </a:extLst>
          </p:cNvPr>
          <p:cNvSpPr>
            <a:spLocks noGrp="1"/>
          </p:cNvSpPr>
          <p:nvPr>
            <p:ph type="sldNum" sz="quarter" idx="12"/>
          </p:nvPr>
        </p:nvSpPr>
        <p:spPr>
          <a:xfrm>
            <a:off x="11558016" y="3136392"/>
            <a:ext cx="545911" cy="58002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4F66505-CBE9-4DDE-B6B8-8F5BDC18C943}" type="slidenum">
              <a:rPr kumimoji="0" lang="en-US" sz="1600" b="0" i="0" u="none" strike="noStrike" kern="1200" cap="none" spc="0" normalizeH="0" baseline="0" noProof="0" smtClean="0">
                <a:ln>
                  <a:noFill/>
                </a:ln>
                <a:solidFill>
                  <a:prstClr val="black">
                    <a:lumMod val="85000"/>
                    <a:lumOff val="15000"/>
                  </a:prstClr>
                </a:solidFill>
                <a:effectLst/>
                <a:uLnTx/>
                <a:uFillTx/>
                <a:latin typeface="Bembo"/>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prstClr val="black">
                  <a:lumMod val="85000"/>
                  <a:lumOff val="15000"/>
                </a:prstClr>
              </a:solidFill>
              <a:effectLst/>
              <a:uLnTx/>
              <a:uFillTx/>
              <a:latin typeface="Bembo"/>
              <a:ea typeface="+mn-ea"/>
              <a:cs typeface="+mn-cs"/>
            </a:endParaRPr>
          </a:p>
        </p:txBody>
      </p:sp>
      <p:sp>
        <p:nvSpPr>
          <p:cNvPr id="14" name="Date Placeholder 3">
            <a:extLst>
              <a:ext uri="{FF2B5EF4-FFF2-40B4-BE49-F238E27FC236}">
                <a16:creationId xmlns:a16="http://schemas.microsoft.com/office/drawing/2014/main" id="{57B47E85-DD05-4BF2-9AC7-35668D9BA751}"/>
              </a:ext>
            </a:extLst>
          </p:cNvPr>
          <p:cNvSpPr>
            <a:spLocks noGrp="1"/>
          </p:cNvSpPr>
          <p:nvPr>
            <p:ph type="dt" sz="half" idx="10"/>
          </p:nvPr>
        </p:nvSpPr>
        <p:spPr>
          <a:xfrm rot="5400000">
            <a:off x="10506456" y="5074920"/>
            <a:ext cx="264766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all" spc="300" normalizeH="0" baseline="0" noProof="0" dirty="0">
                <a:ln>
                  <a:noFill/>
                </a:ln>
                <a:solidFill>
                  <a:prstClr val="black">
                    <a:lumMod val="85000"/>
                    <a:lumOff val="15000"/>
                  </a:prstClr>
                </a:solidFill>
                <a:effectLst/>
                <a:uLnTx/>
                <a:uFillTx/>
                <a:latin typeface="Bembo"/>
                <a:ea typeface="+mn-ea"/>
                <a:cs typeface="+mn-cs"/>
              </a:rPr>
              <a:t>20XX</a:t>
            </a:r>
          </a:p>
        </p:txBody>
      </p:sp>
    </p:spTree>
    <p:extLst>
      <p:ext uri="{BB962C8B-B14F-4D97-AF65-F5344CB8AC3E}">
        <p14:creationId xmlns:p14="http://schemas.microsoft.com/office/powerpoint/2010/main" val="31526767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ntent 3 Column">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117A3ED9-579C-4A5D-B4F3-340A9F2A2C1C}"/>
              </a:ext>
              <a:ext uri="{C183D7F6-B498-43B3-948B-1728B52AA6E4}">
                <adec:decorative xmlns:adec="http://schemas.microsoft.com/office/drawing/2017/decorative" val="1"/>
              </a:ext>
            </a:extLst>
          </p:cNvPr>
          <p:cNvSpPr/>
          <p:nvPr userDrawn="1"/>
        </p:nvSpPr>
        <p:spPr>
          <a:xfrm>
            <a:off x="0" y="6248399"/>
            <a:ext cx="12192000" cy="609602"/>
          </a:xfrm>
          <a:custGeom>
            <a:avLst/>
            <a:gdLst>
              <a:gd name="connsiteX0" fmla="*/ 5427496 w 12192000"/>
              <a:gd name="connsiteY0" fmla="*/ 48 h 843657"/>
              <a:gd name="connsiteX1" fmla="*/ 5725893 w 12192000"/>
              <a:gd name="connsiteY1" fmla="*/ 21789 h 843657"/>
              <a:gd name="connsiteX2" fmla="*/ 5843016 w 12192000"/>
              <a:gd name="connsiteY2" fmla="*/ 15229 h 843657"/>
              <a:gd name="connsiteX3" fmla="*/ 5846849 w 12192000"/>
              <a:gd name="connsiteY3" fmla="*/ 32983 h 843657"/>
              <a:gd name="connsiteX4" fmla="*/ 5899818 w 12192000"/>
              <a:gd name="connsiteY4" fmla="*/ 25502 h 843657"/>
              <a:gd name="connsiteX5" fmla="*/ 6034990 w 12192000"/>
              <a:gd name="connsiteY5" fmla="*/ 39501 h 843657"/>
              <a:gd name="connsiteX6" fmla="*/ 6231181 w 12192000"/>
              <a:gd name="connsiteY6" fmla="*/ 59432 h 843657"/>
              <a:gd name="connsiteX7" fmla="*/ 6336161 w 12192000"/>
              <a:gd name="connsiteY7" fmla="*/ 80469 h 843657"/>
              <a:gd name="connsiteX8" fmla="*/ 6424286 w 12192000"/>
              <a:gd name="connsiteY8" fmla="*/ 80202 h 843657"/>
              <a:gd name="connsiteX9" fmla="*/ 6498206 w 12192000"/>
              <a:gd name="connsiteY9" fmla="*/ 88921 h 843657"/>
              <a:gd name="connsiteX10" fmla="*/ 6524438 w 12192000"/>
              <a:gd name="connsiteY10" fmla="*/ 92235 h 843657"/>
              <a:gd name="connsiteX11" fmla="*/ 6528543 w 12192000"/>
              <a:gd name="connsiteY11" fmla="*/ 96055 h 843657"/>
              <a:gd name="connsiteX12" fmla="*/ 6550787 w 12192000"/>
              <a:gd name="connsiteY12" fmla="*/ 79748 h 843657"/>
              <a:gd name="connsiteX13" fmla="*/ 6638443 w 12192000"/>
              <a:gd name="connsiteY13" fmla="*/ 117301 h 843657"/>
              <a:gd name="connsiteX14" fmla="*/ 6639771 w 12192000"/>
              <a:gd name="connsiteY14" fmla="*/ 116273 h 843657"/>
              <a:gd name="connsiteX15" fmla="*/ 6733110 w 12192000"/>
              <a:gd name="connsiteY15" fmla="*/ 109431 h 843657"/>
              <a:gd name="connsiteX16" fmla="*/ 6823638 w 12192000"/>
              <a:gd name="connsiteY16" fmla="*/ 103653 h 843657"/>
              <a:gd name="connsiteX17" fmla="*/ 6834898 w 12192000"/>
              <a:gd name="connsiteY17" fmla="*/ 105044 h 843657"/>
              <a:gd name="connsiteX18" fmla="*/ 6835271 w 12192000"/>
              <a:gd name="connsiteY18" fmla="*/ 104811 h 843657"/>
              <a:gd name="connsiteX19" fmla="*/ 6847445 w 12192000"/>
              <a:gd name="connsiteY19" fmla="*/ 105763 h 843657"/>
              <a:gd name="connsiteX20" fmla="*/ 6855429 w 12192000"/>
              <a:gd name="connsiteY20" fmla="*/ 107584 h 843657"/>
              <a:gd name="connsiteX21" fmla="*/ 6923302 w 12192000"/>
              <a:gd name="connsiteY21" fmla="*/ 131290 h 843657"/>
              <a:gd name="connsiteX22" fmla="*/ 7046891 w 12192000"/>
              <a:gd name="connsiteY22" fmla="*/ 109264 h 843657"/>
              <a:gd name="connsiteX23" fmla="*/ 7233811 w 12192000"/>
              <a:gd name="connsiteY23" fmla="*/ 127598 h 843657"/>
              <a:gd name="connsiteX24" fmla="*/ 7371301 w 12192000"/>
              <a:gd name="connsiteY24" fmla="*/ 118421 h 843657"/>
              <a:gd name="connsiteX25" fmla="*/ 7574701 w 12192000"/>
              <a:gd name="connsiteY25" fmla="*/ 190435 h 843657"/>
              <a:gd name="connsiteX26" fmla="*/ 7580910 w 12192000"/>
              <a:gd name="connsiteY26" fmla="*/ 199699 h 843657"/>
              <a:gd name="connsiteX27" fmla="*/ 7592267 w 12192000"/>
              <a:gd name="connsiteY27" fmla="*/ 206716 h 843657"/>
              <a:gd name="connsiteX28" fmla="*/ 7594969 w 12192000"/>
              <a:gd name="connsiteY28" fmla="*/ 206552 h 843657"/>
              <a:gd name="connsiteX29" fmla="*/ 7612066 w 12192000"/>
              <a:gd name="connsiteY29" fmla="*/ 211669 h 843657"/>
              <a:gd name="connsiteX30" fmla="*/ 7613197 w 12192000"/>
              <a:gd name="connsiteY30" fmla="*/ 214836 h 843657"/>
              <a:gd name="connsiteX31" fmla="*/ 7624109 w 12192000"/>
              <a:gd name="connsiteY31" fmla="*/ 218987 h 843657"/>
              <a:gd name="connsiteX32" fmla="*/ 7643393 w 12192000"/>
              <a:gd name="connsiteY32" fmla="*/ 228895 h 843657"/>
              <a:gd name="connsiteX33" fmla="*/ 7649074 w 12192000"/>
              <a:gd name="connsiteY33" fmla="*/ 229127 h 843657"/>
              <a:gd name="connsiteX34" fmla="*/ 7681385 w 12192000"/>
              <a:gd name="connsiteY34" fmla="*/ 241546 h 843657"/>
              <a:gd name="connsiteX35" fmla="*/ 7682814 w 12192000"/>
              <a:gd name="connsiteY35" fmla="*/ 240947 h 843657"/>
              <a:gd name="connsiteX36" fmla="*/ 7696214 w 12192000"/>
              <a:gd name="connsiteY36" fmla="*/ 241085 h 843657"/>
              <a:gd name="connsiteX37" fmla="*/ 7819450 w 12192000"/>
              <a:gd name="connsiteY37" fmla="*/ 251097 h 843657"/>
              <a:gd name="connsiteX38" fmla="*/ 7826804 w 12192000"/>
              <a:gd name="connsiteY38" fmla="*/ 253271 h 843657"/>
              <a:gd name="connsiteX39" fmla="*/ 7827179 w 12192000"/>
              <a:gd name="connsiteY39" fmla="*/ 253144 h 843657"/>
              <a:gd name="connsiteX40" fmla="*/ 7835389 w 12192000"/>
              <a:gd name="connsiteY40" fmla="*/ 255095 h 843657"/>
              <a:gd name="connsiteX41" fmla="*/ 7840212 w 12192000"/>
              <a:gd name="connsiteY41" fmla="*/ 257235 h 843657"/>
              <a:gd name="connsiteX42" fmla="*/ 7854477 w 12192000"/>
              <a:gd name="connsiteY42" fmla="*/ 261452 h 843657"/>
              <a:gd name="connsiteX43" fmla="*/ 7925416 w 12192000"/>
              <a:gd name="connsiteY43" fmla="*/ 250871 h 843657"/>
              <a:gd name="connsiteX44" fmla="*/ 8027820 w 12192000"/>
              <a:gd name="connsiteY44" fmla="*/ 237431 h 843657"/>
              <a:gd name="connsiteX45" fmla="*/ 8082003 w 12192000"/>
              <a:gd name="connsiteY45" fmla="*/ 258480 h 843657"/>
              <a:gd name="connsiteX46" fmla="*/ 8258788 w 12192000"/>
              <a:gd name="connsiteY46" fmla="*/ 272192 h 843657"/>
              <a:gd name="connsiteX47" fmla="*/ 8292894 w 12192000"/>
              <a:gd name="connsiteY47" fmla="*/ 269919 h 843657"/>
              <a:gd name="connsiteX48" fmla="*/ 8297864 w 12192000"/>
              <a:gd name="connsiteY48" fmla="*/ 268332 h 843657"/>
              <a:gd name="connsiteX49" fmla="*/ 8304197 w 12192000"/>
              <a:gd name="connsiteY49" fmla="*/ 267834 h 843657"/>
              <a:gd name="connsiteX50" fmla="*/ 8320276 w 12192000"/>
              <a:gd name="connsiteY50" fmla="*/ 270133 h 843657"/>
              <a:gd name="connsiteX51" fmla="*/ 8326122 w 12192000"/>
              <a:gd name="connsiteY51" fmla="*/ 271603 h 843657"/>
              <a:gd name="connsiteX52" fmla="*/ 8335105 w 12192000"/>
              <a:gd name="connsiteY52" fmla="*/ 272466 h 843657"/>
              <a:gd name="connsiteX53" fmla="*/ 8335390 w 12192000"/>
              <a:gd name="connsiteY53" fmla="*/ 272295 h 843657"/>
              <a:gd name="connsiteX54" fmla="*/ 8383421 w 12192000"/>
              <a:gd name="connsiteY54" fmla="*/ 274638 h 843657"/>
              <a:gd name="connsiteX55" fmla="*/ 8443863 w 12192000"/>
              <a:gd name="connsiteY55" fmla="*/ 268710 h 843657"/>
              <a:gd name="connsiteX56" fmla="*/ 8467401 w 12192000"/>
              <a:gd name="connsiteY56" fmla="*/ 267736 h 843657"/>
              <a:gd name="connsiteX57" fmla="*/ 8480310 w 12192000"/>
              <a:gd name="connsiteY57" fmla="*/ 266190 h 843657"/>
              <a:gd name="connsiteX58" fmla="*/ 8481334 w 12192000"/>
              <a:gd name="connsiteY58" fmla="*/ 265430 h 843657"/>
              <a:gd name="connsiteX59" fmla="*/ 8519400 w 12192000"/>
              <a:gd name="connsiteY59" fmla="*/ 273417 h 843657"/>
              <a:gd name="connsiteX60" fmla="*/ 8673416 w 12192000"/>
              <a:gd name="connsiteY60" fmla="*/ 324197 h 843657"/>
              <a:gd name="connsiteX61" fmla="*/ 8915200 w 12192000"/>
              <a:gd name="connsiteY61" fmla="*/ 356781 h 843657"/>
              <a:gd name="connsiteX62" fmla="*/ 9059198 w 12192000"/>
              <a:gd name="connsiteY62" fmla="*/ 364924 h 843657"/>
              <a:gd name="connsiteX63" fmla="*/ 9178845 w 12192000"/>
              <a:gd name="connsiteY63" fmla="*/ 379331 h 843657"/>
              <a:gd name="connsiteX64" fmla="*/ 9291225 w 12192000"/>
              <a:gd name="connsiteY64" fmla="*/ 384156 h 843657"/>
              <a:gd name="connsiteX65" fmla="*/ 9370554 w 12192000"/>
              <a:gd name="connsiteY65" fmla="*/ 395218 h 843657"/>
              <a:gd name="connsiteX66" fmla="*/ 9413541 w 12192000"/>
              <a:gd name="connsiteY66" fmla="*/ 394032 h 843657"/>
              <a:gd name="connsiteX67" fmla="*/ 9457933 w 12192000"/>
              <a:gd name="connsiteY67" fmla="*/ 395525 h 843657"/>
              <a:gd name="connsiteX68" fmla="*/ 9592718 w 12192000"/>
              <a:gd name="connsiteY68" fmla="*/ 403735 h 843657"/>
              <a:gd name="connsiteX69" fmla="*/ 9668575 w 12192000"/>
              <a:gd name="connsiteY69" fmla="*/ 410688 h 843657"/>
              <a:gd name="connsiteX70" fmla="*/ 9715652 w 12192000"/>
              <a:gd name="connsiteY70" fmla="*/ 411123 h 843657"/>
              <a:gd name="connsiteX71" fmla="*/ 9777853 w 12192000"/>
              <a:gd name="connsiteY71" fmla="*/ 400831 h 843657"/>
              <a:gd name="connsiteX72" fmla="*/ 9851249 w 12192000"/>
              <a:gd name="connsiteY72" fmla="*/ 415333 h 843657"/>
              <a:gd name="connsiteX73" fmla="*/ 9976759 w 12192000"/>
              <a:gd name="connsiteY73" fmla="*/ 429768 h 843657"/>
              <a:gd name="connsiteX74" fmla="*/ 10190155 w 12192000"/>
              <a:gd name="connsiteY74" fmla="*/ 473343 h 843657"/>
              <a:gd name="connsiteX75" fmla="*/ 10283621 w 12192000"/>
              <a:gd name="connsiteY75" fmla="*/ 482672 h 843657"/>
              <a:gd name="connsiteX76" fmla="*/ 10363623 w 12192000"/>
              <a:gd name="connsiteY76" fmla="*/ 479281 h 843657"/>
              <a:gd name="connsiteX77" fmla="*/ 10418680 w 12192000"/>
              <a:gd name="connsiteY77" fmla="*/ 481335 h 843657"/>
              <a:gd name="connsiteX78" fmla="*/ 10476232 w 12192000"/>
              <a:gd name="connsiteY78" fmla="*/ 487929 h 843657"/>
              <a:gd name="connsiteX79" fmla="*/ 10477443 w 12192000"/>
              <a:gd name="connsiteY79" fmla="*/ 488348 h 843657"/>
              <a:gd name="connsiteX80" fmla="*/ 10478546 w 12192000"/>
              <a:gd name="connsiteY80" fmla="*/ 484593 h 843657"/>
              <a:gd name="connsiteX81" fmla="*/ 10522544 w 12192000"/>
              <a:gd name="connsiteY81" fmla="*/ 483599 h 843657"/>
              <a:gd name="connsiteX82" fmla="*/ 10525940 w 12192000"/>
              <a:gd name="connsiteY82" fmla="*/ 488575 h 843657"/>
              <a:gd name="connsiteX83" fmla="*/ 10527978 w 12192000"/>
              <a:gd name="connsiteY83" fmla="*/ 487468 h 843657"/>
              <a:gd name="connsiteX84" fmla="*/ 10551856 w 12192000"/>
              <a:gd name="connsiteY84" fmla="*/ 495400 h 843657"/>
              <a:gd name="connsiteX85" fmla="*/ 10651180 w 12192000"/>
              <a:gd name="connsiteY85" fmla="*/ 481776 h 843657"/>
              <a:gd name="connsiteX86" fmla="*/ 10692407 w 12192000"/>
              <a:gd name="connsiteY86" fmla="*/ 479535 h 843657"/>
              <a:gd name="connsiteX87" fmla="*/ 10805173 w 12192000"/>
              <a:gd name="connsiteY87" fmla="*/ 469286 h 843657"/>
              <a:gd name="connsiteX88" fmla="*/ 10918240 w 12192000"/>
              <a:gd name="connsiteY88" fmla="*/ 455873 h 843657"/>
              <a:gd name="connsiteX89" fmla="*/ 10985893 w 12192000"/>
              <a:gd name="connsiteY89" fmla="*/ 430155 h 843657"/>
              <a:gd name="connsiteX90" fmla="*/ 11078762 w 12192000"/>
              <a:gd name="connsiteY90" fmla="*/ 421051 h 843657"/>
              <a:gd name="connsiteX91" fmla="*/ 11113454 w 12192000"/>
              <a:gd name="connsiteY91" fmla="*/ 390853 h 843657"/>
              <a:gd name="connsiteX92" fmla="*/ 11262187 w 12192000"/>
              <a:gd name="connsiteY92" fmla="*/ 378634 h 843657"/>
              <a:gd name="connsiteX93" fmla="*/ 11357725 w 12192000"/>
              <a:gd name="connsiteY93" fmla="*/ 347628 h 843657"/>
              <a:gd name="connsiteX94" fmla="*/ 11514053 w 12192000"/>
              <a:gd name="connsiteY94" fmla="*/ 323566 h 843657"/>
              <a:gd name="connsiteX95" fmla="*/ 11560799 w 12192000"/>
              <a:gd name="connsiteY95" fmla="*/ 310945 h 843657"/>
              <a:gd name="connsiteX96" fmla="*/ 11555095 w 12192000"/>
              <a:gd name="connsiteY96" fmla="*/ 330247 h 843657"/>
              <a:gd name="connsiteX97" fmla="*/ 11601935 w 12192000"/>
              <a:gd name="connsiteY97" fmla="*/ 336765 h 843657"/>
              <a:gd name="connsiteX98" fmla="*/ 11689326 w 12192000"/>
              <a:gd name="connsiteY98" fmla="*/ 303103 h 843657"/>
              <a:gd name="connsiteX99" fmla="*/ 11889311 w 12192000"/>
              <a:gd name="connsiteY99" fmla="*/ 296043 h 843657"/>
              <a:gd name="connsiteX100" fmla="*/ 11894969 w 12192000"/>
              <a:gd name="connsiteY100" fmla="*/ 296953 h 843657"/>
              <a:gd name="connsiteX101" fmla="*/ 11890989 w 12192000"/>
              <a:gd name="connsiteY101" fmla="*/ 298008 h 843657"/>
              <a:gd name="connsiteX102" fmla="*/ 11895904 w 12192000"/>
              <a:gd name="connsiteY102" fmla="*/ 297102 h 843657"/>
              <a:gd name="connsiteX103" fmla="*/ 11894969 w 12192000"/>
              <a:gd name="connsiteY103" fmla="*/ 296953 h 843657"/>
              <a:gd name="connsiteX104" fmla="*/ 11896981 w 12192000"/>
              <a:gd name="connsiteY104" fmla="*/ 296418 h 843657"/>
              <a:gd name="connsiteX105" fmla="*/ 11931533 w 12192000"/>
              <a:gd name="connsiteY105" fmla="*/ 322577 h 843657"/>
              <a:gd name="connsiteX106" fmla="*/ 11970826 w 12192000"/>
              <a:gd name="connsiteY106" fmla="*/ 284547 h 843657"/>
              <a:gd name="connsiteX107" fmla="*/ 11998411 w 12192000"/>
              <a:gd name="connsiteY107" fmla="*/ 275459 h 843657"/>
              <a:gd name="connsiteX108" fmla="*/ 12070284 w 12192000"/>
              <a:gd name="connsiteY108" fmla="*/ 252823 h 843657"/>
              <a:gd name="connsiteX109" fmla="*/ 12149273 w 12192000"/>
              <a:gd name="connsiteY109" fmla="*/ 283340 h 843657"/>
              <a:gd name="connsiteX110" fmla="*/ 12192000 w 12192000"/>
              <a:gd name="connsiteY110" fmla="*/ 293933 h 843657"/>
              <a:gd name="connsiteX111" fmla="*/ 12192000 w 12192000"/>
              <a:gd name="connsiteY111" fmla="*/ 843657 h 843657"/>
              <a:gd name="connsiteX112" fmla="*/ 0 w 12192000"/>
              <a:gd name="connsiteY112" fmla="*/ 843657 h 843657"/>
              <a:gd name="connsiteX113" fmla="*/ 0 w 12192000"/>
              <a:gd name="connsiteY113" fmla="*/ 517671 h 843657"/>
              <a:gd name="connsiteX114" fmla="*/ 62970 w 12192000"/>
              <a:gd name="connsiteY114" fmla="*/ 497349 h 843657"/>
              <a:gd name="connsiteX115" fmla="*/ 163102 w 12192000"/>
              <a:gd name="connsiteY115" fmla="*/ 486965 h 843657"/>
              <a:gd name="connsiteX116" fmla="*/ 327347 w 12192000"/>
              <a:gd name="connsiteY116" fmla="*/ 474218 h 843657"/>
              <a:gd name="connsiteX117" fmla="*/ 616456 w 12192000"/>
              <a:gd name="connsiteY117" fmla="*/ 448171 h 843657"/>
              <a:gd name="connsiteX118" fmla="*/ 805377 w 12192000"/>
              <a:gd name="connsiteY118" fmla="*/ 441830 h 843657"/>
              <a:gd name="connsiteX119" fmla="*/ 937261 w 12192000"/>
              <a:gd name="connsiteY119" fmla="*/ 436268 h 843657"/>
              <a:gd name="connsiteX120" fmla="*/ 1139080 w 12192000"/>
              <a:gd name="connsiteY120" fmla="*/ 358865 h 843657"/>
              <a:gd name="connsiteX121" fmla="*/ 1319302 w 12192000"/>
              <a:gd name="connsiteY121" fmla="*/ 308917 h 843657"/>
              <a:gd name="connsiteX122" fmla="*/ 1385386 w 12192000"/>
              <a:gd name="connsiteY122" fmla="*/ 296402 h 843657"/>
              <a:gd name="connsiteX123" fmla="*/ 1404278 w 12192000"/>
              <a:gd name="connsiteY123" fmla="*/ 282186 h 843657"/>
              <a:gd name="connsiteX124" fmla="*/ 1431509 w 12192000"/>
              <a:gd name="connsiteY124" fmla="*/ 282637 h 843657"/>
              <a:gd name="connsiteX125" fmla="*/ 1479635 w 12192000"/>
              <a:gd name="connsiteY125" fmla="*/ 281452 h 843657"/>
              <a:gd name="connsiteX126" fmla="*/ 1522846 w 12192000"/>
              <a:gd name="connsiteY126" fmla="*/ 286636 h 843657"/>
              <a:gd name="connsiteX127" fmla="*/ 1744857 w 12192000"/>
              <a:gd name="connsiteY127" fmla="*/ 299498 h 843657"/>
              <a:gd name="connsiteX128" fmla="*/ 1800399 w 12192000"/>
              <a:gd name="connsiteY128" fmla="*/ 286471 h 843657"/>
              <a:gd name="connsiteX129" fmla="*/ 1829679 w 12192000"/>
              <a:gd name="connsiteY129" fmla="*/ 279899 h 843657"/>
              <a:gd name="connsiteX130" fmla="*/ 1848467 w 12192000"/>
              <a:gd name="connsiteY130" fmla="*/ 280085 h 843657"/>
              <a:gd name="connsiteX131" fmla="*/ 1919990 w 12192000"/>
              <a:gd name="connsiteY131" fmla="*/ 280551 h 843657"/>
              <a:gd name="connsiteX132" fmla="*/ 1947318 w 12192000"/>
              <a:gd name="connsiteY132" fmla="*/ 275157 h 843657"/>
              <a:gd name="connsiteX133" fmla="*/ 2052662 w 12192000"/>
              <a:gd name="connsiteY133" fmla="*/ 260377 h 843657"/>
              <a:gd name="connsiteX134" fmla="*/ 2142850 w 12192000"/>
              <a:gd name="connsiteY134" fmla="*/ 253103 h 843657"/>
              <a:gd name="connsiteX135" fmla="*/ 2207849 w 12192000"/>
              <a:gd name="connsiteY135" fmla="*/ 271590 h 843657"/>
              <a:gd name="connsiteX136" fmla="*/ 2213757 w 12192000"/>
              <a:gd name="connsiteY136" fmla="*/ 267429 h 843657"/>
              <a:gd name="connsiteX137" fmla="*/ 2258954 w 12192000"/>
              <a:gd name="connsiteY137" fmla="*/ 268589 h 843657"/>
              <a:gd name="connsiteX138" fmla="*/ 2416183 w 12192000"/>
              <a:gd name="connsiteY138" fmla="*/ 301325 h 843657"/>
              <a:gd name="connsiteX139" fmla="*/ 2504536 w 12192000"/>
              <a:gd name="connsiteY139" fmla="*/ 302799 h 843657"/>
              <a:gd name="connsiteX140" fmla="*/ 2536071 w 12192000"/>
              <a:gd name="connsiteY140" fmla="*/ 298698 h 843657"/>
              <a:gd name="connsiteX141" fmla="*/ 2588893 w 12192000"/>
              <a:gd name="connsiteY141" fmla="*/ 292112 h 843657"/>
              <a:gd name="connsiteX142" fmla="*/ 2628809 w 12192000"/>
              <a:gd name="connsiteY142" fmla="*/ 275805 h 843657"/>
              <a:gd name="connsiteX143" fmla="*/ 2672807 w 12192000"/>
              <a:gd name="connsiteY143" fmla="*/ 274811 h 843657"/>
              <a:gd name="connsiteX144" fmla="*/ 2682466 w 12192000"/>
              <a:gd name="connsiteY144" fmla="*/ 289307 h 843657"/>
              <a:gd name="connsiteX145" fmla="*/ 2801443 w 12192000"/>
              <a:gd name="connsiteY145" fmla="*/ 272988 h 843657"/>
              <a:gd name="connsiteX146" fmla="*/ 2842670 w 12192000"/>
              <a:gd name="connsiteY146" fmla="*/ 270747 h 843657"/>
              <a:gd name="connsiteX147" fmla="*/ 2955436 w 12192000"/>
              <a:gd name="connsiteY147" fmla="*/ 260498 h 843657"/>
              <a:gd name="connsiteX148" fmla="*/ 3068503 w 12192000"/>
              <a:gd name="connsiteY148" fmla="*/ 247085 h 843657"/>
              <a:gd name="connsiteX149" fmla="*/ 3136157 w 12192000"/>
              <a:gd name="connsiteY149" fmla="*/ 221367 h 843657"/>
              <a:gd name="connsiteX150" fmla="*/ 3229025 w 12192000"/>
              <a:gd name="connsiteY150" fmla="*/ 212263 h 843657"/>
              <a:gd name="connsiteX151" fmla="*/ 3263717 w 12192000"/>
              <a:gd name="connsiteY151" fmla="*/ 182064 h 843657"/>
              <a:gd name="connsiteX152" fmla="*/ 3412450 w 12192000"/>
              <a:gd name="connsiteY152" fmla="*/ 169845 h 843657"/>
              <a:gd name="connsiteX153" fmla="*/ 3507988 w 12192000"/>
              <a:gd name="connsiteY153" fmla="*/ 138840 h 843657"/>
              <a:gd name="connsiteX154" fmla="*/ 3664316 w 12192000"/>
              <a:gd name="connsiteY154" fmla="*/ 114777 h 843657"/>
              <a:gd name="connsiteX155" fmla="*/ 3711062 w 12192000"/>
              <a:gd name="connsiteY155" fmla="*/ 102156 h 843657"/>
              <a:gd name="connsiteX156" fmla="*/ 3705359 w 12192000"/>
              <a:gd name="connsiteY156" fmla="*/ 121458 h 843657"/>
              <a:gd name="connsiteX157" fmla="*/ 3752198 w 12192000"/>
              <a:gd name="connsiteY157" fmla="*/ 127977 h 843657"/>
              <a:gd name="connsiteX158" fmla="*/ 3839589 w 12192000"/>
              <a:gd name="connsiteY158" fmla="*/ 94314 h 843657"/>
              <a:gd name="connsiteX159" fmla="*/ 4039575 w 12192000"/>
              <a:gd name="connsiteY159" fmla="*/ 87255 h 843657"/>
              <a:gd name="connsiteX160" fmla="*/ 4045232 w 12192000"/>
              <a:gd name="connsiteY160" fmla="*/ 88164 h 843657"/>
              <a:gd name="connsiteX161" fmla="*/ 4041253 w 12192000"/>
              <a:gd name="connsiteY161" fmla="*/ 89220 h 843657"/>
              <a:gd name="connsiteX162" fmla="*/ 4046168 w 12192000"/>
              <a:gd name="connsiteY162" fmla="*/ 88314 h 843657"/>
              <a:gd name="connsiteX163" fmla="*/ 4045232 w 12192000"/>
              <a:gd name="connsiteY163" fmla="*/ 88164 h 843657"/>
              <a:gd name="connsiteX164" fmla="*/ 4047244 w 12192000"/>
              <a:gd name="connsiteY164" fmla="*/ 87630 h 843657"/>
              <a:gd name="connsiteX165" fmla="*/ 4081797 w 12192000"/>
              <a:gd name="connsiteY165" fmla="*/ 113788 h 843657"/>
              <a:gd name="connsiteX166" fmla="*/ 4121089 w 12192000"/>
              <a:gd name="connsiteY166" fmla="*/ 75758 h 843657"/>
              <a:gd name="connsiteX167" fmla="*/ 4148674 w 12192000"/>
              <a:gd name="connsiteY167" fmla="*/ 66671 h 843657"/>
              <a:gd name="connsiteX168" fmla="*/ 4220548 w 12192000"/>
              <a:gd name="connsiteY168" fmla="*/ 44035 h 843657"/>
              <a:gd name="connsiteX169" fmla="*/ 4354249 w 12192000"/>
              <a:gd name="connsiteY169" fmla="*/ 88116 h 843657"/>
              <a:gd name="connsiteX170" fmla="*/ 4549237 w 12192000"/>
              <a:gd name="connsiteY170" fmla="*/ 79806 h 843657"/>
              <a:gd name="connsiteX171" fmla="*/ 4796679 w 12192000"/>
              <a:gd name="connsiteY171" fmla="*/ 108111 h 843657"/>
              <a:gd name="connsiteX172" fmla="*/ 4928657 w 12192000"/>
              <a:gd name="connsiteY172" fmla="*/ 111604 h 843657"/>
              <a:gd name="connsiteX173" fmla="*/ 5136768 w 12192000"/>
              <a:gd name="connsiteY173" fmla="*/ 48267 h 843657"/>
              <a:gd name="connsiteX174" fmla="*/ 5320899 w 12192000"/>
              <a:gd name="connsiteY174" fmla="*/ 10821 h 843657"/>
              <a:gd name="connsiteX175" fmla="*/ 5427496 w 12192000"/>
              <a:gd name="connsiteY175" fmla="*/ 48 h 84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12192000" h="843657">
                <a:moveTo>
                  <a:pt x="5427496" y="48"/>
                </a:moveTo>
                <a:cubicBezTo>
                  <a:pt x="5539522" y="-1167"/>
                  <a:pt x="5660629" y="21238"/>
                  <a:pt x="5725893" y="21789"/>
                </a:cubicBezTo>
                <a:cubicBezTo>
                  <a:pt x="5728883" y="21092"/>
                  <a:pt x="5807017" y="20526"/>
                  <a:pt x="5843016" y="15229"/>
                </a:cubicBezTo>
                <a:lnTo>
                  <a:pt x="5846849" y="32983"/>
                </a:lnTo>
                <a:lnTo>
                  <a:pt x="5899818" y="25502"/>
                </a:lnTo>
                <a:cubicBezTo>
                  <a:pt x="5978576" y="29224"/>
                  <a:pt x="5979762" y="33846"/>
                  <a:pt x="6034990" y="39501"/>
                </a:cubicBezTo>
                <a:cubicBezTo>
                  <a:pt x="6090217" y="45155"/>
                  <a:pt x="6180985" y="52604"/>
                  <a:pt x="6231181" y="59432"/>
                </a:cubicBezTo>
                <a:cubicBezTo>
                  <a:pt x="6281376" y="66260"/>
                  <a:pt x="6255083" y="72671"/>
                  <a:pt x="6336161" y="80469"/>
                </a:cubicBezTo>
                <a:cubicBezTo>
                  <a:pt x="6367899" y="78809"/>
                  <a:pt x="6388398" y="79505"/>
                  <a:pt x="6424286" y="80202"/>
                </a:cubicBezTo>
                <a:lnTo>
                  <a:pt x="6498206" y="88921"/>
                </a:lnTo>
                <a:cubicBezTo>
                  <a:pt x="6511924" y="88197"/>
                  <a:pt x="6519540" y="89722"/>
                  <a:pt x="6524438" y="92235"/>
                </a:cubicBezTo>
                <a:lnTo>
                  <a:pt x="6528543" y="96055"/>
                </a:lnTo>
                <a:lnTo>
                  <a:pt x="6550787" y="79748"/>
                </a:lnTo>
                <a:lnTo>
                  <a:pt x="6638443" y="117301"/>
                </a:lnTo>
                <a:lnTo>
                  <a:pt x="6639771" y="116273"/>
                </a:lnTo>
                <a:cubicBezTo>
                  <a:pt x="6661612" y="112323"/>
                  <a:pt x="6702466" y="111534"/>
                  <a:pt x="6733110" y="109431"/>
                </a:cubicBezTo>
                <a:cubicBezTo>
                  <a:pt x="6750270" y="113134"/>
                  <a:pt x="6804803" y="100717"/>
                  <a:pt x="6823638" y="103653"/>
                </a:cubicBezTo>
                <a:lnTo>
                  <a:pt x="6834898" y="105044"/>
                </a:lnTo>
                <a:lnTo>
                  <a:pt x="6835271" y="104811"/>
                </a:lnTo>
                <a:cubicBezTo>
                  <a:pt x="6838034" y="104559"/>
                  <a:pt x="6841861" y="104809"/>
                  <a:pt x="6847445" y="105763"/>
                </a:cubicBezTo>
                <a:lnTo>
                  <a:pt x="6855429" y="107584"/>
                </a:lnTo>
                <a:lnTo>
                  <a:pt x="6923302" y="131290"/>
                </a:lnTo>
                <a:lnTo>
                  <a:pt x="7046891" y="109264"/>
                </a:lnTo>
                <a:cubicBezTo>
                  <a:pt x="7109198" y="115376"/>
                  <a:pt x="7163425" y="116966"/>
                  <a:pt x="7233811" y="127598"/>
                </a:cubicBezTo>
                <a:cubicBezTo>
                  <a:pt x="7295557" y="125883"/>
                  <a:pt x="7306408" y="101921"/>
                  <a:pt x="7371301" y="118421"/>
                </a:cubicBezTo>
                <a:cubicBezTo>
                  <a:pt x="7428238" y="129077"/>
                  <a:pt x="7510607" y="192508"/>
                  <a:pt x="7574701" y="190435"/>
                </a:cubicBezTo>
                <a:cubicBezTo>
                  <a:pt x="7575517" y="193901"/>
                  <a:pt x="7577730" y="196953"/>
                  <a:pt x="7580910" y="199699"/>
                </a:cubicBezTo>
                <a:lnTo>
                  <a:pt x="7592267" y="206716"/>
                </a:lnTo>
                <a:lnTo>
                  <a:pt x="7594969" y="206552"/>
                </a:lnTo>
                <a:cubicBezTo>
                  <a:pt x="7605059" y="207466"/>
                  <a:pt x="7609760" y="209355"/>
                  <a:pt x="7612066" y="211669"/>
                </a:cubicBezTo>
                <a:lnTo>
                  <a:pt x="7613197" y="214836"/>
                </a:lnTo>
                <a:lnTo>
                  <a:pt x="7624109" y="218987"/>
                </a:lnTo>
                <a:lnTo>
                  <a:pt x="7643393" y="228895"/>
                </a:lnTo>
                <a:lnTo>
                  <a:pt x="7649074" y="229127"/>
                </a:lnTo>
                <a:lnTo>
                  <a:pt x="7681385" y="241546"/>
                </a:lnTo>
                <a:lnTo>
                  <a:pt x="7682814" y="240947"/>
                </a:lnTo>
                <a:cubicBezTo>
                  <a:pt x="7686754" y="239889"/>
                  <a:pt x="7691050" y="239641"/>
                  <a:pt x="7696214" y="241085"/>
                </a:cubicBezTo>
                <a:lnTo>
                  <a:pt x="7819450" y="251097"/>
                </a:lnTo>
                <a:lnTo>
                  <a:pt x="7826804" y="253271"/>
                </a:lnTo>
                <a:lnTo>
                  <a:pt x="7827179" y="253144"/>
                </a:lnTo>
                <a:cubicBezTo>
                  <a:pt x="7829262" y="253251"/>
                  <a:pt x="7831866" y="253829"/>
                  <a:pt x="7835389" y="255095"/>
                </a:cubicBezTo>
                <a:lnTo>
                  <a:pt x="7840212" y="257235"/>
                </a:lnTo>
                <a:lnTo>
                  <a:pt x="7854477" y="261452"/>
                </a:lnTo>
                <a:lnTo>
                  <a:pt x="7925416" y="250871"/>
                </a:lnTo>
                <a:cubicBezTo>
                  <a:pt x="7968549" y="254776"/>
                  <a:pt x="7991532" y="223503"/>
                  <a:pt x="8027820" y="237431"/>
                </a:cubicBezTo>
                <a:cubicBezTo>
                  <a:pt x="8068225" y="241026"/>
                  <a:pt x="8049335" y="250837"/>
                  <a:pt x="8082003" y="258480"/>
                </a:cubicBezTo>
                <a:cubicBezTo>
                  <a:pt x="8118911" y="261016"/>
                  <a:pt x="8227791" y="271465"/>
                  <a:pt x="8258788" y="272192"/>
                </a:cubicBezTo>
                <a:cubicBezTo>
                  <a:pt x="8285356" y="257871"/>
                  <a:pt x="8284528" y="264250"/>
                  <a:pt x="8292894" y="269919"/>
                </a:cubicBezTo>
                <a:lnTo>
                  <a:pt x="8297864" y="268332"/>
                </a:lnTo>
                <a:lnTo>
                  <a:pt x="8304197" y="267834"/>
                </a:lnTo>
                <a:lnTo>
                  <a:pt x="8320276" y="270133"/>
                </a:lnTo>
                <a:lnTo>
                  <a:pt x="8326122" y="271603"/>
                </a:lnTo>
                <a:cubicBezTo>
                  <a:pt x="8330224" y="272389"/>
                  <a:pt x="8333047" y="272623"/>
                  <a:pt x="8335105" y="272466"/>
                </a:cubicBezTo>
                <a:lnTo>
                  <a:pt x="8335390" y="272295"/>
                </a:lnTo>
                <a:lnTo>
                  <a:pt x="8383421" y="274638"/>
                </a:lnTo>
                <a:cubicBezTo>
                  <a:pt x="8398105" y="264966"/>
                  <a:pt x="8442440" y="289516"/>
                  <a:pt x="8443863" y="268710"/>
                </a:cubicBezTo>
                <a:cubicBezTo>
                  <a:pt x="8461029" y="272153"/>
                  <a:pt x="8468950" y="281627"/>
                  <a:pt x="8467401" y="267736"/>
                </a:cubicBezTo>
                <a:cubicBezTo>
                  <a:pt x="8473175" y="268487"/>
                  <a:pt x="8477144" y="267709"/>
                  <a:pt x="8480310" y="266190"/>
                </a:cubicBezTo>
                <a:lnTo>
                  <a:pt x="8481334" y="265430"/>
                </a:lnTo>
                <a:lnTo>
                  <a:pt x="8519400" y="273417"/>
                </a:lnTo>
                <a:lnTo>
                  <a:pt x="8673416" y="324197"/>
                </a:lnTo>
                <a:cubicBezTo>
                  <a:pt x="8745894" y="327976"/>
                  <a:pt x="8849559" y="346603"/>
                  <a:pt x="8915200" y="356781"/>
                </a:cubicBezTo>
                <a:cubicBezTo>
                  <a:pt x="8932755" y="365773"/>
                  <a:pt x="9005876" y="371758"/>
                  <a:pt x="9059198" y="364924"/>
                </a:cubicBezTo>
                <a:lnTo>
                  <a:pt x="9178845" y="379331"/>
                </a:lnTo>
                <a:cubicBezTo>
                  <a:pt x="9219852" y="386336"/>
                  <a:pt x="9250133" y="384055"/>
                  <a:pt x="9291225" y="384156"/>
                </a:cubicBezTo>
                <a:cubicBezTo>
                  <a:pt x="9315636" y="387667"/>
                  <a:pt x="9329719" y="388016"/>
                  <a:pt x="9370554" y="395218"/>
                </a:cubicBezTo>
                <a:cubicBezTo>
                  <a:pt x="9378187" y="394560"/>
                  <a:pt x="9405932" y="395507"/>
                  <a:pt x="9413541" y="394032"/>
                </a:cubicBezTo>
                <a:lnTo>
                  <a:pt x="9457933" y="395525"/>
                </a:lnTo>
                <a:lnTo>
                  <a:pt x="9592718" y="403735"/>
                </a:lnTo>
                <a:cubicBezTo>
                  <a:pt x="9606379" y="409007"/>
                  <a:pt x="9655291" y="415471"/>
                  <a:pt x="9668575" y="410688"/>
                </a:cubicBezTo>
                <a:cubicBezTo>
                  <a:pt x="9679602" y="410798"/>
                  <a:pt x="9706602" y="416975"/>
                  <a:pt x="9715652" y="411123"/>
                </a:cubicBezTo>
                <a:cubicBezTo>
                  <a:pt x="9741103" y="416170"/>
                  <a:pt x="9768395" y="403710"/>
                  <a:pt x="9777853" y="400831"/>
                </a:cubicBezTo>
                <a:cubicBezTo>
                  <a:pt x="9805740" y="393796"/>
                  <a:pt x="9827401" y="416417"/>
                  <a:pt x="9851249" y="415333"/>
                </a:cubicBezTo>
                <a:cubicBezTo>
                  <a:pt x="9890629" y="418769"/>
                  <a:pt x="9948551" y="426335"/>
                  <a:pt x="9976759" y="429768"/>
                </a:cubicBezTo>
                <a:cubicBezTo>
                  <a:pt x="10039303" y="440942"/>
                  <a:pt x="10139010" y="464526"/>
                  <a:pt x="10190155" y="473343"/>
                </a:cubicBezTo>
                <a:cubicBezTo>
                  <a:pt x="10247801" y="482478"/>
                  <a:pt x="10217837" y="456410"/>
                  <a:pt x="10283621" y="482672"/>
                </a:cubicBezTo>
                <a:cubicBezTo>
                  <a:pt x="10314609" y="484053"/>
                  <a:pt x="10340423" y="481075"/>
                  <a:pt x="10363623" y="479281"/>
                </a:cubicBezTo>
                <a:cubicBezTo>
                  <a:pt x="10362575" y="468594"/>
                  <a:pt x="10390200" y="481546"/>
                  <a:pt x="10418680" y="481335"/>
                </a:cubicBezTo>
                <a:cubicBezTo>
                  <a:pt x="10435371" y="482382"/>
                  <a:pt x="10458706" y="485335"/>
                  <a:pt x="10476232" y="487929"/>
                </a:cubicBezTo>
                <a:lnTo>
                  <a:pt x="10477443" y="488348"/>
                </a:lnTo>
                <a:lnTo>
                  <a:pt x="10478546" y="484593"/>
                </a:lnTo>
                <a:cubicBezTo>
                  <a:pt x="10496869" y="473932"/>
                  <a:pt x="10504440" y="492791"/>
                  <a:pt x="10522544" y="483599"/>
                </a:cubicBezTo>
                <a:lnTo>
                  <a:pt x="10525940" y="488575"/>
                </a:lnTo>
                <a:lnTo>
                  <a:pt x="10527978" y="487468"/>
                </a:lnTo>
                <a:lnTo>
                  <a:pt x="10551856" y="495400"/>
                </a:lnTo>
                <a:lnTo>
                  <a:pt x="10651180" y="481776"/>
                </a:lnTo>
                <a:cubicBezTo>
                  <a:pt x="10666635" y="489439"/>
                  <a:pt x="10679569" y="486219"/>
                  <a:pt x="10692407" y="479535"/>
                </a:cubicBezTo>
                <a:cubicBezTo>
                  <a:pt x="10729215" y="482326"/>
                  <a:pt x="10763453" y="472539"/>
                  <a:pt x="10805173" y="469286"/>
                </a:cubicBezTo>
                <a:cubicBezTo>
                  <a:pt x="10849593" y="478609"/>
                  <a:pt x="10873661" y="459268"/>
                  <a:pt x="10918240" y="455873"/>
                </a:cubicBezTo>
                <a:cubicBezTo>
                  <a:pt x="10961126" y="475397"/>
                  <a:pt x="10948597" y="428686"/>
                  <a:pt x="10985893" y="430155"/>
                </a:cubicBezTo>
                <a:cubicBezTo>
                  <a:pt x="11045792" y="447988"/>
                  <a:pt x="10985190" y="414687"/>
                  <a:pt x="11078762" y="421051"/>
                </a:cubicBezTo>
                <a:cubicBezTo>
                  <a:pt x="11083925" y="424015"/>
                  <a:pt x="11114482" y="394913"/>
                  <a:pt x="11113454" y="390853"/>
                </a:cubicBezTo>
                <a:cubicBezTo>
                  <a:pt x="11133947" y="392405"/>
                  <a:pt x="11233066" y="373732"/>
                  <a:pt x="11262187" y="378634"/>
                </a:cubicBezTo>
                <a:cubicBezTo>
                  <a:pt x="11320092" y="367389"/>
                  <a:pt x="11316005" y="350805"/>
                  <a:pt x="11357725" y="347628"/>
                </a:cubicBezTo>
                <a:cubicBezTo>
                  <a:pt x="11394272" y="337523"/>
                  <a:pt x="11451549" y="336224"/>
                  <a:pt x="11514053" y="323566"/>
                </a:cubicBezTo>
                <a:lnTo>
                  <a:pt x="11560799" y="310945"/>
                </a:lnTo>
                <a:lnTo>
                  <a:pt x="11555095" y="330247"/>
                </a:lnTo>
                <a:cubicBezTo>
                  <a:pt x="11570115" y="329566"/>
                  <a:pt x="11599314" y="335563"/>
                  <a:pt x="11601935" y="336765"/>
                </a:cubicBezTo>
                <a:cubicBezTo>
                  <a:pt x="11636102" y="339048"/>
                  <a:pt x="11641430" y="309890"/>
                  <a:pt x="11689326" y="303103"/>
                </a:cubicBezTo>
                <a:cubicBezTo>
                  <a:pt x="11737222" y="296316"/>
                  <a:pt x="11853888" y="301002"/>
                  <a:pt x="11889311" y="296043"/>
                </a:cubicBezTo>
                <a:lnTo>
                  <a:pt x="11894969" y="296953"/>
                </a:lnTo>
                <a:lnTo>
                  <a:pt x="11890989" y="298008"/>
                </a:lnTo>
                <a:cubicBezTo>
                  <a:pt x="11892055" y="297992"/>
                  <a:pt x="11894939" y="297561"/>
                  <a:pt x="11895904" y="297102"/>
                </a:cubicBezTo>
                <a:lnTo>
                  <a:pt x="11894969" y="296953"/>
                </a:lnTo>
                <a:lnTo>
                  <a:pt x="11896981" y="296418"/>
                </a:lnTo>
                <a:cubicBezTo>
                  <a:pt x="11903286" y="295212"/>
                  <a:pt x="11910383" y="325786"/>
                  <a:pt x="11931533" y="322577"/>
                </a:cubicBezTo>
                <a:cubicBezTo>
                  <a:pt x="11942379" y="322584"/>
                  <a:pt x="11958231" y="288015"/>
                  <a:pt x="11970826" y="284547"/>
                </a:cubicBezTo>
                <a:lnTo>
                  <a:pt x="11998411" y="275459"/>
                </a:lnTo>
                <a:cubicBezTo>
                  <a:pt x="12014431" y="274432"/>
                  <a:pt x="12054264" y="253851"/>
                  <a:pt x="12070284" y="252823"/>
                </a:cubicBezTo>
                <a:cubicBezTo>
                  <a:pt x="12101953" y="269774"/>
                  <a:pt x="12127636" y="277970"/>
                  <a:pt x="12149273" y="283340"/>
                </a:cubicBezTo>
                <a:lnTo>
                  <a:pt x="12192000" y="293933"/>
                </a:lnTo>
                <a:lnTo>
                  <a:pt x="12192000" y="843657"/>
                </a:lnTo>
                <a:lnTo>
                  <a:pt x="0" y="843657"/>
                </a:lnTo>
                <a:lnTo>
                  <a:pt x="0" y="517671"/>
                </a:lnTo>
                <a:lnTo>
                  <a:pt x="62970" y="497349"/>
                </a:lnTo>
                <a:cubicBezTo>
                  <a:pt x="96818" y="489349"/>
                  <a:pt x="130274" y="485131"/>
                  <a:pt x="163102" y="486965"/>
                </a:cubicBezTo>
                <a:cubicBezTo>
                  <a:pt x="229273" y="516421"/>
                  <a:pt x="295464" y="465077"/>
                  <a:pt x="327347" y="474218"/>
                </a:cubicBezTo>
                <a:cubicBezTo>
                  <a:pt x="398278" y="461559"/>
                  <a:pt x="524389" y="465494"/>
                  <a:pt x="616456" y="448171"/>
                </a:cubicBezTo>
                <a:cubicBezTo>
                  <a:pt x="689761" y="448930"/>
                  <a:pt x="725233" y="436443"/>
                  <a:pt x="805377" y="441830"/>
                </a:cubicBezTo>
                <a:cubicBezTo>
                  <a:pt x="856514" y="450042"/>
                  <a:pt x="903636" y="447034"/>
                  <a:pt x="937261" y="436268"/>
                </a:cubicBezTo>
                <a:cubicBezTo>
                  <a:pt x="984382" y="427633"/>
                  <a:pt x="1086871" y="383843"/>
                  <a:pt x="1139080" y="358865"/>
                </a:cubicBezTo>
                <a:cubicBezTo>
                  <a:pt x="1171293" y="330806"/>
                  <a:pt x="1269341" y="356187"/>
                  <a:pt x="1319302" y="308917"/>
                </a:cubicBezTo>
                <a:cubicBezTo>
                  <a:pt x="1351293" y="315381"/>
                  <a:pt x="1370639" y="306651"/>
                  <a:pt x="1385386" y="296402"/>
                </a:cubicBezTo>
                <a:lnTo>
                  <a:pt x="1404278" y="282186"/>
                </a:lnTo>
                <a:lnTo>
                  <a:pt x="1431509" y="282637"/>
                </a:lnTo>
                <a:lnTo>
                  <a:pt x="1479635" y="281452"/>
                </a:lnTo>
                <a:lnTo>
                  <a:pt x="1522846" y="286636"/>
                </a:lnTo>
                <a:cubicBezTo>
                  <a:pt x="1607746" y="295741"/>
                  <a:pt x="1658262" y="297408"/>
                  <a:pt x="1744857" y="299498"/>
                </a:cubicBezTo>
                <a:cubicBezTo>
                  <a:pt x="1746802" y="298898"/>
                  <a:pt x="1772794" y="292779"/>
                  <a:pt x="1800399" y="286471"/>
                </a:cubicBezTo>
                <a:lnTo>
                  <a:pt x="1829679" y="279899"/>
                </a:lnTo>
                <a:lnTo>
                  <a:pt x="1848467" y="280085"/>
                </a:lnTo>
                <a:cubicBezTo>
                  <a:pt x="1862541" y="284929"/>
                  <a:pt x="1909246" y="287572"/>
                  <a:pt x="1919990" y="280551"/>
                </a:cubicBezTo>
                <a:cubicBezTo>
                  <a:pt x="1930120" y="279552"/>
                  <a:pt x="1940770" y="283009"/>
                  <a:pt x="1947318" y="275157"/>
                </a:cubicBezTo>
                <a:cubicBezTo>
                  <a:pt x="1969430" y="271795"/>
                  <a:pt x="2020074" y="264052"/>
                  <a:pt x="2052662" y="260377"/>
                </a:cubicBezTo>
                <a:cubicBezTo>
                  <a:pt x="2069011" y="271949"/>
                  <a:pt x="2098031" y="252728"/>
                  <a:pt x="2142850" y="253103"/>
                </a:cubicBezTo>
                <a:cubicBezTo>
                  <a:pt x="2160684" y="266415"/>
                  <a:pt x="2173071" y="253191"/>
                  <a:pt x="2207849" y="271590"/>
                </a:cubicBezTo>
                <a:cubicBezTo>
                  <a:pt x="2209481" y="270048"/>
                  <a:pt x="2211471" y="268648"/>
                  <a:pt x="2213757" y="267429"/>
                </a:cubicBezTo>
                <a:cubicBezTo>
                  <a:pt x="2227043" y="260354"/>
                  <a:pt x="2247279" y="260873"/>
                  <a:pt x="2258954" y="268589"/>
                </a:cubicBezTo>
                <a:cubicBezTo>
                  <a:pt x="2314759" y="293598"/>
                  <a:pt x="2367284" y="294725"/>
                  <a:pt x="2416183" y="301325"/>
                </a:cubicBezTo>
                <a:cubicBezTo>
                  <a:pt x="2471682" y="306236"/>
                  <a:pt x="2436502" y="278448"/>
                  <a:pt x="2504536" y="302799"/>
                </a:cubicBezTo>
                <a:cubicBezTo>
                  <a:pt x="2512619" y="293910"/>
                  <a:pt x="2521472" y="293787"/>
                  <a:pt x="2536071" y="298698"/>
                </a:cubicBezTo>
                <a:cubicBezTo>
                  <a:pt x="2563080" y="300400"/>
                  <a:pt x="2562424" y="277303"/>
                  <a:pt x="2588893" y="292112"/>
                </a:cubicBezTo>
                <a:cubicBezTo>
                  <a:pt x="2584764" y="279571"/>
                  <a:pt x="2640519" y="289099"/>
                  <a:pt x="2628809" y="275805"/>
                </a:cubicBezTo>
                <a:cubicBezTo>
                  <a:pt x="2647132" y="265144"/>
                  <a:pt x="2654703" y="284003"/>
                  <a:pt x="2672807" y="274811"/>
                </a:cubicBezTo>
                <a:cubicBezTo>
                  <a:pt x="2692689" y="273207"/>
                  <a:pt x="2660665" y="287642"/>
                  <a:pt x="2682466" y="289307"/>
                </a:cubicBezTo>
                <a:lnTo>
                  <a:pt x="2801443" y="272988"/>
                </a:lnTo>
                <a:cubicBezTo>
                  <a:pt x="2816898" y="280651"/>
                  <a:pt x="2829832" y="277431"/>
                  <a:pt x="2842670" y="270747"/>
                </a:cubicBezTo>
                <a:cubicBezTo>
                  <a:pt x="2879478" y="273538"/>
                  <a:pt x="2913716" y="263751"/>
                  <a:pt x="2955436" y="260498"/>
                </a:cubicBezTo>
                <a:cubicBezTo>
                  <a:pt x="2999857" y="269821"/>
                  <a:pt x="3023924" y="250480"/>
                  <a:pt x="3068503" y="247085"/>
                </a:cubicBezTo>
                <a:cubicBezTo>
                  <a:pt x="3111389" y="266609"/>
                  <a:pt x="3098860" y="219898"/>
                  <a:pt x="3136157" y="221367"/>
                </a:cubicBezTo>
                <a:cubicBezTo>
                  <a:pt x="3196055" y="239200"/>
                  <a:pt x="3135454" y="205899"/>
                  <a:pt x="3229025" y="212263"/>
                </a:cubicBezTo>
                <a:cubicBezTo>
                  <a:pt x="3234188" y="215227"/>
                  <a:pt x="3264745" y="186124"/>
                  <a:pt x="3263717" y="182064"/>
                </a:cubicBezTo>
                <a:cubicBezTo>
                  <a:pt x="3284210" y="183616"/>
                  <a:pt x="3383330" y="164943"/>
                  <a:pt x="3412450" y="169845"/>
                </a:cubicBezTo>
                <a:cubicBezTo>
                  <a:pt x="3470355" y="158600"/>
                  <a:pt x="3466269" y="142016"/>
                  <a:pt x="3507988" y="138840"/>
                </a:cubicBezTo>
                <a:cubicBezTo>
                  <a:pt x="3544535" y="128734"/>
                  <a:pt x="3601812" y="127435"/>
                  <a:pt x="3664316" y="114777"/>
                </a:cubicBezTo>
                <a:lnTo>
                  <a:pt x="3711062" y="102156"/>
                </a:lnTo>
                <a:lnTo>
                  <a:pt x="3705359" y="121458"/>
                </a:lnTo>
                <a:cubicBezTo>
                  <a:pt x="3720379" y="120778"/>
                  <a:pt x="3749577" y="126775"/>
                  <a:pt x="3752198" y="127977"/>
                </a:cubicBezTo>
                <a:cubicBezTo>
                  <a:pt x="3786365" y="130259"/>
                  <a:pt x="3791694" y="101101"/>
                  <a:pt x="3839589" y="94314"/>
                </a:cubicBezTo>
                <a:cubicBezTo>
                  <a:pt x="3887485" y="87527"/>
                  <a:pt x="4004152" y="92214"/>
                  <a:pt x="4039575" y="87255"/>
                </a:cubicBezTo>
                <a:lnTo>
                  <a:pt x="4045232" y="88164"/>
                </a:lnTo>
                <a:lnTo>
                  <a:pt x="4041253" y="89220"/>
                </a:lnTo>
                <a:cubicBezTo>
                  <a:pt x="4042318" y="89204"/>
                  <a:pt x="4045202" y="88772"/>
                  <a:pt x="4046168" y="88314"/>
                </a:cubicBezTo>
                <a:lnTo>
                  <a:pt x="4045232" y="88164"/>
                </a:lnTo>
                <a:lnTo>
                  <a:pt x="4047244" y="87630"/>
                </a:lnTo>
                <a:cubicBezTo>
                  <a:pt x="4053549" y="86424"/>
                  <a:pt x="4060647" y="116997"/>
                  <a:pt x="4081797" y="113788"/>
                </a:cubicBezTo>
                <a:cubicBezTo>
                  <a:pt x="4092642" y="113795"/>
                  <a:pt x="4108495" y="79226"/>
                  <a:pt x="4121089" y="75758"/>
                </a:cubicBezTo>
                <a:lnTo>
                  <a:pt x="4148674" y="66671"/>
                </a:lnTo>
                <a:cubicBezTo>
                  <a:pt x="4164695" y="65643"/>
                  <a:pt x="4204528" y="45062"/>
                  <a:pt x="4220548" y="44035"/>
                </a:cubicBezTo>
                <a:cubicBezTo>
                  <a:pt x="4283885" y="77935"/>
                  <a:pt x="4323280" y="76818"/>
                  <a:pt x="4354249" y="88116"/>
                </a:cubicBezTo>
                <a:cubicBezTo>
                  <a:pt x="4424521" y="97907"/>
                  <a:pt x="4455906" y="90768"/>
                  <a:pt x="4549237" y="79806"/>
                </a:cubicBezTo>
                <a:cubicBezTo>
                  <a:pt x="4622250" y="85587"/>
                  <a:pt x="4717263" y="97250"/>
                  <a:pt x="4796679" y="108111"/>
                </a:cubicBezTo>
                <a:cubicBezTo>
                  <a:pt x="4846927" y="119802"/>
                  <a:pt x="4894173" y="120032"/>
                  <a:pt x="4928657" y="111604"/>
                </a:cubicBezTo>
                <a:cubicBezTo>
                  <a:pt x="4976404" y="106223"/>
                  <a:pt x="5082489" y="69591"/>
                  <a:pt x="5136768" y="48267"/>
                </a:cubicBezTo>
                <a:cubicBezTo>
                  <a:pt x="5171389" y="22501"/>
                  <a:pt x="5266869" y="54523"/>
                  <a:pt x="5320899" y="10821"/>
                </a:cubicBezTo>
                <a:cubicBezTo>
                  <a:pt x="5353820" y="3483"/>
                  <a:pt x="5390152" y="453"/>
                  <a:pt x="5427496" y="48"/>
                </a:cubicBezTo>
                <a:close/>
              </a:path>
            </a:pathLst>
          </a:custGeom>
          <a:solidFill>
            <a:srgbClr val="82766A">
              <a:alpha val="15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Bembo"/>
              <a:ea typeface="+mn-ea"/>
              <a:cs typeface="+mn-cs"/>
            </a:endParaRPr>
          </a:p>
        </p:txBody>
      </p:sp>
      <p:sp>
        <p:nvSpPr>
          <p:cNvPr id="17" name="Title 1">
            <a:extLst>
              <a:ext uri="{FF2B5EF4-FFF2-40B4-BE49-F238E27FC236}">
                <a16:creationId xmlns:a16="http://schemas.microsoft.com/office/drawing/2014/main" id="{FBEAF734-C04F-44B0-B015-EC5E97167254}"/>
              </a:ext>
            </a:extLst>
          </p:cNvPr>
          <p:cNvSpPr>
            <a:spLocks noGrp="1"/>
          </p:cNvSpPr>
          <p:nvPr>
            <p:ph type="title"/>
          </p:nvPr>
        </p:nvSpPr>
        <p:spPr>
          <a:xfrm>
            <a:off x="873706" y="609601"/>
            <a:ext cx="9810604" cy="422365"/>
          </a:xfrm>
        </p:spPr>
        <p:txBody>
          <a:bodyPr/>
          <a:lstStyle>
            <a:lvl1pPr algn="ctr">
              <a:defRPr/>
            </a:lvl1pPr>
          </a:lstStyle>
          <a:p>
            <a:pPr algn="ctr"/>
            <a:r>
              <a:rPr lang="en-US"/>
              <a:t>Click to edit Master title style</a:t>
            </a:r>
            <a:endParaRPr lang="en-US" dirty="0"/>
          </a:p>
        </p:txBody>
      </p:sp>
      <p:sp>
        <p:nvSpPr>
          <p:cNvPr id="18" name="Text Placeholder 14">
            <a:extLst>
              <a:ext uri="{FF2B5EF4-FFF2-40B4-BE49-F238E27FC236}">
                <a16:creationId xmlns:a16="http://schemas.microsoft.com/office/drawing/2014/main" id="{A7DE670C-FEBB-43A3-903F-5D3C1665AEB6}"/>
              </a:ext>
            </a:extLst>
          </p:cNvPr>
          <p:cNvSpPr>
            <a:spLocks noGrp="1"/>
          </p:cNvSpPr>
          <p:nvPr>
            <p:ph type="body" sz="quarter" idx="13" hasCustomPrompt="1"/>
          </p:nvPr>
        </p:nvSpPr>
        <p:spPr>
          <a:xfrm>
            <a:off x="454758" y="1619250"/>
            <a:ext cx="3424321" cy="422365"/>
          </a:xfrm>
        </p:spPr>
        <p:txBody>
          <a:bodyPr>
            <a:normAutofit/>
          </a:bodyPr>
          <a:lstStyle>
            <a:lvl1pPr marL="0" indent="0" algn="l">
              <a:buNone/>
              <a:defRPr sz="2400" b="0" i="0"/>
            </a:lvl1pPr>
          </a:lstStyle>
          <a:p>
            <a:pPr lvl="0"/>
            <a:r>
              <a:rPr lang="en-US" dirty="0"/>
              <a:t>Click to add subtitle here </a:t>
            </a:r>
          </a:p>
        </p:txBody>
      </p:sp>
      <p:sp>
        <p:nvSpPr>
          <p:cNvPr id="20" name="Text Placeholder 17">
            <a:extLst>
              <a:ext uri="{FF2B5EF4-FFF2-40B4-BE49-F238E27FC236}">
                <a16:creationId xmlns:a16="http://schemas.microsoft.com/office/drawing/2014/main" id="{2D4CFDE6-CB59-458A-8642-CB7F271A2051}"/>
              </a:ext>
            </a:extLst>
          </p:cNvPr>
          <p:cNvSpPr>
            <a:spLocks noGrp="1"/>
          </p:cNvSpPr>
          <p:nvPr>
            <p:ph type="body" sz="quarter" idx="15" hasCustomPrompt="1"/>
          </p:nvPr>
        </p:nvSpPr>
        <p:spPr>
          <a:xfrm>
            <a:off x="454550" y="2142535"/>
            <a:ext cx="3423973" cy="3748087"/>
          </a:xfrm>
        </p:spPr>
        <p:txBody>
          <a:bodyPr/>
          <a:lstStyle>
            <a:lvl1pPr>
              <a:defRPr/>
            </a:lvl1pPr>
          </a:lstStyle>
          <a:p>
            <a:pPr lvl="0"/>
            <a:r>
              <a:rPr lang="en-US" dirty="0"/>
              <a:t>Click to add text</a:t>
            </a:r>
          </a:p>
        </p:txBody>
      </p:sp>
      <p:sp>
        <p:nvSpPr>
          <p:cNvPr id="19" name="Text Placeholder 14">
            <a:extLst>
              <a:ext uri="{FF2B5EF4-FFF2-40B4-BE49-F238E27FC236}">
                <a16:creationId xmlns:a16="http://schemas.microsoft.com/office/drawing/2014/main" id="{9BA9E954-2475-443B-9BDD-0835ED4F845C}"/>
              </a:ext>
            </a:extLst>
          </p:cNvPr>
          <p:cNvSpPr>
            <a:spLocks noGrp="1"/>
          </p:cNvSpPr>
          <p:nvPr>
            <p:ph type="body" sz="quarter" idx="14" hasCustomPrompt="1"/>
          </p:nvPr>
        </p:nvSpPr>
        <p:spPr>
          <a:xfrm>
            <a:off x="4115018" y="1619249"/>
            <a:ext cx="3424320" cy="422365"/>
          </a:xfrm>
        </p:spPr>
        <p:txBody>
          <a:bodyPr>
            <a:normAutofit/>
          </a:bodyPr>
          <a:lstStyle>
            <a:lvl1pPr marL="0" indent="0" algn="l">
              <a:buNone/>
              <a:defRPr sz="2400" b="0"/>
            </a:lvl1pPr>
          </a:lstStyle>
          <a:p>
            <a:pPr lvl="0"/>
            <a:r>
              <a:rPr lang="en-US" dirty="0"/>
              <a:t>Click to add subtitle here </a:t>
            </a:r>
          </a:p>
        </p:txBody>
      </p:sp>
      <p:sp>
        <p:nvSpPr>
          <p:cNvPr id="21" name="Text Placeholder 17">
            <a:extLst>
              <a:ext uri="{FF2B5EF4-FFF2-40B4-BE49-F238E27FC236}">
                <a16:creationId xmlns:a16="http://schemas.microsoft.com/office/drawing/2014/main" id="{8DCA3A4B-8BE0-4372-9A95-C23F7388BC83}"/>
              </a:ext>
            </a:extLst>
          </p:cNvPr>
          <p:cNvSpPr>
            <a:spLocks noGrp="1"/>
          </p:cNvSpPr>
          <p:nvPr>
            <p:ph type="body" sz="quarter" idx="16" hasCustomPrompt="1"/>
          </p:nvPr>
        </p:nvSpPr>
        <p:spPr>
          <a:xfrm>
            <a:off x="4115497" y="2142534"/>
            <a:ext cx="3423973" cy="3748087"/>
          </a:xfrm>
        </p:spPr>
        <p:txBody>
          <a:bodyPr/>
          <a:lstStyle>
            <a:lvl1pPr>
              <a:defRPr/>
            </a:lvl1pPr>
          </a:lstStyle>
          <a:p>
            <a:pPr lvl="0"/>
            <a:r>
              <a:rPr lang="en-US" dirty="0"/>
              <a:t>Click to add text</a:t>
            </a:r>
          </a:p>
        </p:txBody>
      </p:sp>
      <p:sp>
        <p:nvSpPr>
          <p:cNvPr id="24" name="Text Placeholder 14">
            <a:extLst>
              <a:ext uri="{FF2B5EF4-FFF2-40B4-BE49-F238E27FC236}">
                <a16:creationId xmlns:a16="http://schemas.microsoft.com/office/drawing/2014/main" id="{83814004-56EB-4A4E-AB1E-98855CE440F4}"/>
              </a:ext>
            </a:extLst>
          </p:cNvPr>
          <p:cNvSpPr>
            <a:spLocks noGrp="1"/>
          </p:cNvSpPr>
          <p:nvPr>
            <p:ph type="body" sz="quarter" idx="17" hasCustomPrompt="1"/>
          </p:nvPr>
        </p:nvSpPr>
        <p:spPr>
          <a:xfrm>
            <a:off x="7775277" y="1619249"/>
            <a:ext cx="3424320" cy="422365"/>
          </a:xfrm>
        </p:spPr>
        <p:txBody>
          <a:bodyPr>
            <a:normAutofit/>
          </a:bodyPr>
          <a:lstStyle>
            <a:lvl1pPr marL="0" indent="0" algn="l">
              <a:buNone/>
              <a:defRPr sz="2400" b="0"/>
            </a:lvl1pPr>
          </a:lstStyle>
          <a:p>
            <a:pPr lvl="0"/>
            <a:r>
              <a:rPr lang="en-US" dirty="0"/>
              <a:t>Click to add subtitle here </a:t>
            </a:r>
          </a:p>
        </p:txBody>
      </p:sp>
      <p:sp>
        <p:nvSpPr>
          <p:cNvPr id="25" name="Text Placeholder 17">
            <a:extLst>
              <a:ext uri="{FF2B5EF4-FFF2-40B4-BE49-F238E27FC236}">
                <a16:creationId xmlns:a16="http://schemas.microsoft.com/office/drawing/2014/main" id="{0B306CC8-2ACB-4500-A7C7-453E36674B96}"/>
              </a:ext>
            </a:extLst>
          </p:cNvPr>
          <p:cNvSpPr>
            <a:spLocks noGrp="1"/>
          </p:cNvSpPr>
          <p:nvPr>
            <p:ph type="body" sz="quarter" idx="18" hasCustomPrompt="1"/>
          </p:nvPr>
        </p:nvSpPr>
        <p:spPr>
          <a:xfrm>
            <a:off x="7775756" y="2142534"/>
            <a:ext cx="3423973" cy="3748087"/>
          </a:xfrm>
        </p:spPr>
        <p:txBody>
          <a:bodyPr/>
          <a:lstStyle>
            <a:lvl1pPr>
              <a:defRPr/>
            </a:lvl1pPr>
          </a:lstStyle>
          <a:p>
            <a:pPr lvl="0"/>
            <a:r>
              <a:rPr lang="en-US" dirty="0"/>
              <a:t>Click to add text</a:t>
            </a:r>
          </a:p>
        </p:txBody>
      </p:sp>
      <p:sp>
        <p:nvSpPr>
          <p:cNvPr id="9" name="Footer Placeholder 4">
            <a:extLst>
              <a:ext uri="{FF2B5EF4-FFF2-40B4-BE49-F238E27FC236}">
                <a16:creationId xmlns:a16="http://schemas.microsoft.com/office/drawing/2014/main" id="{FAEEA5FB-A25B-4356-85A4-FF41A9F28587}"/>
              </a:ext>
            </a:extLst>
          </p:cNvPr>
          <p:cNvSpPr>
            <a:spLocks noGrp="1"/>
          </p:cNvSpPr>
          <p:nvPr>
            <p:ph type="ftr" sz="quarter" idx="11"/>
          </p:nvPr>
        </p:nvSpPr>
        <p:spPr>
          <a:xfrm rot="5400000">
            <a:off x="10451592" y="1408176"/>
            <a:ext cx="2770499" cy="365125"/>
          </a:xfrm>
        </p:spPr>
        <p:txBody>
          <a:bodyPr/>
          <a:lstStyle>
            <a:lvl1pPr>
              <a:defRPr/>
            </a:lvl1pPr>
          </a:lstStyle>
          <a:p>
            <a:r>
              <a:rPr lang="en-US" dirty="0">
                <a:solidFill>
                  <a:prstClr val="black">
                    <a:lumMod val="85000"/>
                    <a:lumOff val="15000"/>
                  </a:prstClr>
                </a:solidFill>
              </a:rPr>
              <a:t>PRESENTATION TITLE</a:t>
            </a:r>
          </a:p>
        </p:txBody>
      </p:sp>
      <p:sp>
        <p:nvSpPr>
          <p:cNvPr id="10" name="Slide Number Placeholder 5">
            <a:extLst>
              <a:ext uri="{FF2B5EF4-FFF2-40B4-BE49-F238E27FC236}">
                <a16:creationId xmlns:a16="http://schemas.microsoft.com/office/drawing/2014/main" id="{747C945D-F288-4F1A-BB40-8FE634FE2D1C}"/>
              </a:ext>
            </a:extLst>
          </p:cNvPr>
          <p:cNvSpPr>
            <a:spLocks noGrp="1"/>
          </p:cNvSpPr>
          <p:nvPr>
            <p:ph type="sldNum" sz="quarter" idx="12"/>
          </p:nvPr>
        </p:nvSpPr>
        <p:spPr>
          <a:xfrm>
            <a:off x="11558016" y="3136392"/>
            <a:ext cx="545911" cy="58002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4F66505-CBE9-4DDE-B6B8-8F5BDC18C943}" type="slidenum">
              <a:rPr kumimoji="0" lang="en-US" sz="1600" b="0" i="0" u="none" strike="noStrike" kern="1200" cap="none" spc="0" normalizeH="0" baseline="0" noProof="0" smtClean="0">
                <a:ln>
                  <a:noFill/>
                </a:ln>
                <a:solidFill>
                  <a:prstClr val="black">
                    <a:lumMod val="85000"/>
                    <a:lumOff val="15000"/>
                  </a:prstClr>
                </a:solidFill>
                <a:effectLst/>
                <a:uLnTx/>
                <a:uFillTx/>
                <a:latin typeface="Bembo"/>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prstClr val="black">
                  <a:lumMod val="85000"/>
                  <a:lumOff val="15000"/>
                </a:prstClr>
              </a:solidFill>
              <a:effectLst/>
              <a:uLnTx/>
              <a:uFillTx/>
              <a:latin typeface="Bembo"/>
              <a:ea typeface="+mn-ea"/>
              <a:cs typeface="+mn-cs"/>
            </a:endParaRPr>
          </a:p>
        </p:txBody>
      </p:sp>
      <p:sp>
        <p:nvSpPr>
          <p:cNvPr id="12" name="Date Placeholder 3">
            <a:extLst>
              <a:ext uri="{FF2B5EF4-FFF2-40B4-BE49-F238E27FC236}">
                <a16:creationId xmlns:a16="http://schemas.microsoft.com/office/drawing/2014/main" id="{C09D8AE7-A672-4CAA-9DBC-4EAAD377B0C0}"/>
              </a:ext>
            </a:extLst>
          </p:cNvPr>
          <p:cNvSpPr>
            <a:spLocks noGrp="1"/>
          </p:cNvSpPr>
          <p:nvPr>
            <p:ph type="dt" sz="half" idx="10"/>
          </p:nvPr>
        </p:nvSpPr>
        <p:spPr>
          <a:xfrm rot="5400000">
            <a:off x="10506456" y="5074920"/>
            <a:ext cx="264766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all" spc="300" normalizeH="0" baseline="0" noProof="0" dirty="0">
                <a:ln>
                  <a:noFill/>
                </a:ln>
                <a:solidFill>
                  <a:prstClr val="black">
                    <a:lumMod val="85000"/>
                    <a:lumOff val="15000"/>
                  </a:prstClr>
                </a:solidFill>
                <a:effectLst/>
                <a:uLnTx/>
                <a:uFillTx/>
                <a:latin typeface="Bembo"/>
                <a:ea typeface="+mn-ea"/>
                <a:cs typeface="+mn-cs"/>
              </a:rPr>
              <a:t>20XX</a:t>
            </a:r>
          </a:p>
        </p:txBody>
      </p:sp>
    </p:spTree>
    <p:extLst>
      <p:ext uri="{BB962C8B-B14F-4D97-AF65-F5344CB8AC3E}">
        <p14:creationId xmlns:p14="http://schemas.microsoft.com/office/powerpoint/2010/main" val="20310520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2240F339-C1FD-4771-AB0F-388020B7BB02}"/>
              </a:ext>
              <a:ext uri="{C183D7F6-B498-43B3-948B-1728B52AA6E4}">
                <adec:decorative xmlns:adec="http://schemas.microsoft.com/office/drawing/2017/decorative" val="1"/>
              </a:ext>
            </a:extLst>
          </p:cNvPr>
          <p:cNvSpPr/>
          <p:nvPr userDrawn="1"/>
        </p:nvSpPr>
        <p:spPr>
          <a:xfrm rot="10800000">
            <a:off x="-11297" y="0"/>
            <a:ext cx="7360592" cy="6858000"/>
          </a:xfrm>
          <a:custGeom>
            <a:avLst/>
            <a:gdLst>
              <a:gd name="connsiteX0" fmla="*/ 1814929 w 5542424"/>
              <a:gd name="connsiteY0" fmla="*/ 0 h 6858000"/>
              <a:gd name="connsiteX1" fmla="*/ 5542424 w 5542424"/>
              <a:gd name="connsiteY1" fmla="*/ 0 h 6858000"/>
              <a:gd name="connsiteX2" fmla="*/ 5542424 w 5542424"/>
              <a:gd name="connsiteY2" fmla="*/ 6858000 h 6858000"/>
              <a:gd name="connsiteX3" fmla="*/ 0 w 5542424"/>
              <a:gd name="connsiteY3" fmla="*/ 6858000 h 6858000"/>
              <a:gd name="connsiteX4" fmla="*/ 2310 w 5542424"/>
              <a:gd name="connsiteY4" fmla="*/ 6853652 h 6858000"/>
              <a:gd name="connsiteX5" fmla="*/ 91006 w 5542424"/>
              <a:gd name="connsiteY5" fmla="*/ 6620968 h 6858000"/>
              <a:gd name="connsiteX6" fmla="*/ 81892 w 5542424"/>
              <a:gd name="connsiteY6" fmla="*/ 6435659 h 6858000"/>
              <a:gd name="connsiteX7" fmla="*/ 80998 w 5542424"/>
              <a:gd name="connsiteY7" fmla="*/ 6414855 h 6858000"/>
              <a:gd name="connsiteX8" fmla="*/ 75836 w 5542424"/>
              <a:gd name="connsiteY8" fmla="*/ 6409671 h 6858000"/>
              <a:gd name="connsiteX9" fmla="*/ 77989 w 5542424"/>
              <a:gd name="connsiteY9" fmla="*/ 6396556 h 6858000"/>
              <a:gd name="connsiteX10" fmla="*/ 77374 w 5542424"/>
              <a:gd name="connsiteY10" fmla="*/ 6392981 h 6858000"/>
              <a:gd name="connsiteX11" fmla="*/ 75036 w 5542424"/>
              <a:gd name="connsiteY11" fmla="*/ 6372572 h 6858000"/>
              <a:gd name="connsiteX12" fmla="*/ 99554 w 5542424"/>
              <a:gd name="connsiteY12" fmla="*/ 6331118 h 6858000"/>
              <a:gd name="connsiteX13" fmla="*/ 105442 w 5542424"/>
              <a:gd name="connsiteY13" fmla="*/ 6278374 h 6858000"/>
              <a:gd name="connsiteX14" fmla="*/ 172914 w 5542424"/>
              <a:gd name="connsiteY14" fmla="*/ 6144628 h 6858000"/>
              <a:gd name="connsiteX15" fmla="*/ 264181 w 5542424"/>
              <a:gd name="connsiteY15" fmla="*/ 5952072 h 6858000"/>
              <a:gd name="connsiteX16" fmla="*/ 423554 w 5542424"/>
              <a:gd name="connsiteY16" fmla="*/ 5679532 h 6858000"/>
              <a:gd name="connsiteX17" fmla="*/ 485571 w 5542424"/>
              <a:gd name="connsiteY17" fmla="*/ 5396320 h 6858000"/>
              <a:gd name="connsiteX18" fmla="*/ 455275 w 5542424"/>
              <a:gd name="connsiteY18" fmla="*/ 5176878 h 6858000"/>
              <a:gd name="connsiteX19" fmla="*/ 367284 w 5542424"/>
              <a:gd name="connsiteY19" fmla="*/ 5066430 h 6858000"/>
              <a:gd name="connsiteX20" fmla="*/ 317365 w 5542424"/>
              <a:gd name="connsiteY20" fmla="*/ 5016642 h 6858000"/>
              <a:gd name="connsiteX21" fmla="*/ 317834 w 5542424"/>
              <a:gd name="connsiteY21" fmla="*/ 5008528 h 6858000"/>
              <a:gd name="connsiteX22" fmla="*/ 317591 w 5542424"/>
              <a:gd name="connsiteY22" fmla="*/ 5008366 h 6858000"/>
              <a:gd name="connsiteX23" fmla="*/ 318532 w 5542424"/>
              <a:gd name="connsiteY23" fmla="*/ 5000689 h 6858000"/>
              <a:gd name="connsiteX24" fmla="*/ 326373 w 5542424"/>
              <a:gd name="connsiteY24" fmla="*/ 4962649 h 6858000"/>
              <a:gd name="connsiteX25" fmla="*/ 304517 w 5542424"/>
              <a:gd name="connsiteY25" fmla="*/ 4845612 h 6858000"/>
              <a:gd name="connsiteX26" fmla="*/ 312138 w 5542424"/>
              <a:gd name="connsiteY26" fmla="*/ 4821435 h 6858000"/>
              <a:gd name="connsiteX27" fmla="*/ 314669 w 5542424"/>
              <a:gd name="connsiteY27" fmla="*/ 4809154 h 6858000"/>
              <a:gd name="connsiteX28" fmla="*/ 318283 w 5542424"/>
              <a:gd name="connsiteY28" fmla="*/ 4805250 h 6858000"/>
              <a:gd name="connsiteX29" fmla="*/ 320547 w 5542424"/>
              <a:gd name="connsiteY29" fmla="*/ 4787345 h 6858000"/>
              <a:gd name="connsiteX30" fmla="*/ 319715 w 5542424"/>
              <a:gd name="connsiteY30" fmla="*/ 4785453 h 6858000"/>
              <a:gd name="connsiteX31" fmla="*/ 325649 w 5542424"/>
              <a:gd name="connsiteY31" fmla="*/ 4770073 h 6858000"/>
              <a:gd name="connsiteX32" fmla="*/ 335542 w 5542424"/>
              <a:gd name="connsiteY32" fmla="*/ 4756450 h 6858000"/>
              <a:gd name="connsiteX33" fmla="*/ 339391 w 5542424"/>
              <a:gd name="connsiteY33" fmla="*/ 4606479 h 6858000"/>
              <a:gd name="connsiteX34" fmla="*/ 385485 w 5542424"/>
              <a:gd name="connsiteY34" fmla="*/ 4470620 h 6858000"/>
              <a:gd name="connsiteX35" fmla="*/ 386474 w 5542424"/>
              <a:gd name="connsiteY35" fmla="*/ 4389388 h 6858000"/>
              <a:gd name="connsiteX36" fmla="*/ 365661 w 5542424"/>
              <a:gd name="connsiteY36" fmla="*/ 4365498 h 6858000"/>
              <a:gd name="connsiteX37" fmla="*/ 389339 w 5542424"/>
              <a:gd name="connsiteY37" fmla="*/ 4160513 h 6858000"/>
              <a:gd name="connsiteX38" fmla="*/ 385403 w 5542424"/>
              <a:gd name="connsiteY38" fmla="*/ 4109650 h 6858000"/>
              <a:gd name="connsiteX39" fmla="*/ 402327 w 5542424"/>
              <a:gd name="connsiteY39" fmla="*/ 4061824 h 6858000"/>
              <a:gd name="connsiteX40" fmla="*/ 396156 w 5542424"/>
              <a:gd name="connsiteY40" fmla="*/ 4043965 h 6858000"/>
              <a:gd name="connsiteX41" fmla="*/ 394868 w 5542424"/>
              <a:gd name="connsiteY41" fmla="*/ 4040920 h 6858000"/>
              <a:gd name="connsiteX42" fmla="*/ 394584 w 5542424"/>
              <a:gd name="connsiteY42" fmla="*/ 4028000 h 6858000"/>
              <a:gd name="connsiteX43" fmla="*/ 388418 w 5542424"/>
              <a:gd name="connsiteY43" fmla="*/ 4025270 h 6858000"/>
              <a:gd name="connsiteX44" fmla="*/ 383628 w 5542424"/>
              <a:gd name="connsiteY44" fmla="*/ 4006478 h 6858000"/>
              <a:gd name="connsiteX45" fmla="*/ 384802 w 5542424"/>
              <a:gd name="connsiteY45" fmla="*/ 3982442 h 6858000"/>
              <a:gd name="connsiteX46" fmla="*/ 397167 w 5542424"/>
              <a:gd name="connsiteY46" fmla="*/ 3867331 h 6858000"/>
              <a:gd name="connsiteX47" fmla="*/ 400691 w 5542424"/>
              <a:gd name="connsiteY47" fmla="*/ 3798966 h 6858000"/>
              <a:gd name="connsiteX48" fmla="*/ 395946 w 5542424"/>
              <a:gd name="connsiteY48" fmla="*/ 3773791 h 6858000"/>
              <a:gd name="connsiteX49" fmla="*/ 393410 w 5542424"/>
              <a:gd name="connsiteY49" fmla="*/ 3738098 h 6858000"/>
              <a:gd name="connsiteX50" fmla="*/ 384223 w 5542424"/>
              <a:gd name="connsiteY50" fmla="*/ 3675719 h 6858000"/>
              <a:gd name="connsiteX51" fmla="*/ 386290 w 5542424"/>
              <a:gd name="connsiteY51" fmla="*/ 3642763 h 6858000"/>
              <a:gd name="connsiteX52" fmla="*/ 382514 w 5542424"/>
              <a:gd name="connsiteY52" fmla="*/ 3624093 h 6858000"/>
              <a:gd name="connsiteX53" fmla="*/ 383976 w 5542424"/>
              <a:gd name="connsiteY53" fmla="*/ 3616602 h 6858000"/>
              <a:gd name="connsiteX54" fmla="*/ 385517 w 5542424"/>
              <a:gd name="connsiteY54" fmla="*/ 3591527 h 6858000"/>
              <a:gd name="connsiteX55" fmla="*/ 387146 w 5542424"/>
              <a:gd name="connsiteY55" fmla="*/ 3577241 h 6858000"/>
              <a:gd name="connsiteX56" fmla="*/ 388068 w 5542424"/>
              <a:gd name="connsiteY56" fmla="*/ 3571585 h 6858000"/>
              <a:gd name="connsiteX57" fmla="*/ 395496 w 5542424"/>
              <a:gd name="connsiteY57" fmla="*/ 3559720 h 6858000"/>
              <a:gd name="connsiteX58" fmla="*/ 394985 w 5542424"/>
              <a:gd name="connsiteY58" fmla="*/ 3543047 h 6858000"/>
              <a:gd name="connsiteX59" fmla="*/ 403028 w 5542424"/>
              <a:gd name="connsiteY59" fmla="*/ 3525651 h 6858000"/>
              <a:gd name="connsiteX60" fmla="*/ 398728 w 5542424"/>
              <a:gd name="connsiteY60" fmla="*/ 3520715 h 6858000"/>
              <a:gd name="connsiteX61" fmla="*/ 395530 w 5542424"/>
              <a:gd name="connsiteY61" fmla="*/ 3505412 h 6858000"/>
              <a:gd name="connsiteX62" fmla="*/ 402719 w 5542424"/>
              <a:gd name="connsiteY62" fmla="*/ 3493445 h 6858000"/>
              <a:gd name="connsiteX63" fmla="*/ 409328 w 5542424"/>
              <a:gd name="connsiteY63" fmla="*/ 3467406 h 6858000"/>
              <a:gd name="connsiteX64" fmla="*/ 409292 w 5542424"/>
              <a:gd name="connsiteY64" fmla="*/ 3460033 h 6858000"/>
              <a:gd name="connsiteX65" fmla="*/ 419755 w 5542424"/>
              <a:gd name="connsiteY65" fmla="*/ 3435495 h 6858000"/>
              <a:gd name="connsiteX66" fmla="*/ 430771 w 5542424"/>
              <a:gd name="connsiteY66" fmla="*/ 3395884 h 6858000"/>
              <a:gd name="connsiteX67" fmla="*/ 439140 w 5542424"/>
              <a:gd name="connsiteY67" fmla="*/ 3350083 h 6858000"/>
              <a:gd name="connsiteX68" fmla="*/ 446544 w 5542424"/>
              <a:gd name="connsiteY68" fmla="*/ 3337690 h 6858000"/>
              <a:gd name="connsiteX69" fmla="*/ 470731 w 5542424"/>
              <a:gd name="connsiteY69" fmla="*/ 3254519 h 6858000"/>
              <a:gd name="connsiteX70" fmla="*/ 477713 w 5542424"/>
              <a:gd name="connsiteY70" fmla="*/ 3231166 h 6858000"/>
              <a:gd name="connsiteX71" fmla="*/ 478087 w 5542424"/>
              <a:gd name="connsiteY71" fmla="*/ 3210262 h 6858000"/>
              <a:gd name="connsiteX72" fmla="*/ 473269 w 5542424"/>
              <a:gd name="connsiteY72" fmla="*/ 3204689 h 6858000"/>
              <a:gd name="connsiteX73" fmla="*/ 476207 w 5542424"/>
              <a:gd name="connsiteY73" fmla="*/ 3191713 h 6858000"/>
              <a:gd name="connsiteX74" fmla="*/ 475813 w 5542424"/>
              <a:gd name="connsiteY74" fmla="*/ 3188085 h 6858000"/>
              <a:gd name="connsiteX75" fmla="*/ 474728 w 5542424"/>
              <a:gd name="connsiteY75" fmla="*/ 3167471 h 6858000"/>
              <a:gd name="connsiteX76" fmla="*/ 501612 w 5542424"/>
              <a:gd name="connsiteY76" fmla="*/ 3127774 h 6858000"/>
              <a:gd name="connsiteX77" fmla="*/ 510667 w 5542424"/>
              <a:gd name="connsiteY77" fmla="*/ 3075380 h 6858000"/>
              <a:gd name="connsiteX78" fmla="*/ 582379 w 5542424"/>
              <a:gd name="connsiteY78" fmla="*/ 2882573 h 6858000"/>
              <a:gd name="connsiteX79" fmla="*/ 569744 w 5542424"/>
              <a:gd name="connsiteY79" fmla="*/ 2849169 h 6858000"/>
              <a:gd name="connsiteX80" fmla="*/ 590685 w 5542424"/>
              <a:gd name="connsiteY80" fmla="*/ 2768869 h 6858000"/>
              <a:gd name="connsiteX81" fmla="*/ 665292 w 5542424"/>
              <a:gd name="connsiteY81" fmla="*/ 2655182 h 6858000"/>
              <a:gd name="connsiteX82" fmla="*/ 705757 w 5542424"/>
              <a:gd name="connsiteY82" fmla="*/ 2507872 h 6858000"/>
              <a:gd name="connsiteX83" fmla="*/ 717932 w 5542424"/>
              <a:gd name="connsiteY83" fmla="*/ 2498916 h 6858000"/>
              <a:gd name="connsiteX84" fmla="*/ 727017 w 5542424"/>
              <a:gd name="connsiteY84" fmla="*/ 2486382 h 6858000"/>
              <a:gd name="connsiteX85" fmla="*/ 726741 w 5542424"/>
              <a:gd name="connsiteY85" fmla="*/ 2484113 h 6858000"/>
              <a:gd name="connsiteX86" fmla="*/ 733179 w 5542424"/>
              <a:gd name="connsiteY86" fmla="*/ 2467361 h 6858000"/>
              <a:gd name="connsiteX87" fmla="*/ 737364 w 5542424"/>
              <a:gd name="connsiteY87" fmla="*/ 2465156 h 6858000"/>
              <a:gd name="connsiteX88" fmla="*/ 742650 w 5542424"/>
              <a:gd name="connsiteY88" fmla="*/ 2454122 h 6858000"/>
              <a:gd name="connsiteX89" fmla="*/ 755408 w 5542424"/>
              <a:gd name="connsiteY89" fmla="*/ 2433619 h 6858000"/>
              <a:gd name="connsiteX90" fmla="*/ 755598 w 5542424"/>
              <a:gd name="connsiteY90" fmla="*/ 2428626 h 6858000"/>
              <a:gd name="connsiteX91" fmla="*/ 771418 w 5542424"/>
              <a:gd name="connsiteY91" fmla="*/ 2395899 h 6858000"/>
              <a:gd name="connsiteX92" fmla="*/ 770593 w 5542424"/>
              <a:gd name="connsiteY92" fmla="*/ 2394897 h 6858000"/>
              <a:gd name="connsiteX93" fmla="*/ 770497 w 5542424"/>
              <a:gd name="connsiteY93" fmla="*/ 2383267 h 6858000"/>
              <a:gd name="connsiteX94" fmla="*/ 772693 w 5542424"/>
              <a:gd name="connsiteY94" fmla="*/ 2362296 h 6858000"/>
              <a:gd name="connsiteX95" fmla="*/ 764846 w 5542424"/>
              <a:gd name="connsiteY95" fmla="*/ 2307129 h 6858000"/>
              <a:gd name="connsiteX96" fmla="*/ 781226 w 5542424"/>
              <a:gd name="connsiteY96" fmla="*/ 2272947 h 6858000"/>
              <a:gd name="connsiteX97" fmla="*/ 783960 w 5542424"/>
              <a:gd name="connsiteY97" fmla="*/ 2265753 h 6858000"/>
              <a:gd name="connsiteX98" fmla="*/ 783783 w 5542424"/>
              <a:gd name="connsiteY98" fmla="*/ 2265478 h 6858000"/>
              <a:gd name="connsiteX99" fmla="*/ 786206 w 5542424"/>
              <a:gd name="connsiteY99" fmla="*/ 2257630 h 6858000"/>
              <a:gd name="connsiteX100" fmla="*/ 788946 w 5542424"/>
              <a:gd name="connsiteY100" fmla="*/ 2252635 h 6858000"/>
              <a:gd name="connsiteX101" fmla="*/ 794250 w 5542424"/>
              <a:gd name="connsiteY101" fmla="*/ 2238675 h 6858000"/>
              <a:gd name="connsiteX102" fmla="*/ 794536 w 5542424"/>
              <a:gd name="connsiteY102" fmla="*/ 2233003 h 6858000"/>
              <a:gd name="connsiteX103" fmla="*/ 792429 w 5542424"/>
              <a:gd name="connsiteY103" fmla="*/ 2229498 h 6858000"/>
              <a:gd name="connsiteX104" fmla="*/ 793227 w 5542424"/>
              <a:gd name="connsiteY104" fmla="*/ 2228401 h 6858000"/>
              <a:gd name="connsiteX105" fmla="*/ 795299 w 5542424"/>
              <a:gd name="connsiteY105" fmla="*/ 2197903 h 6858000"/>
              <a:gd name="connsiteX106" fmla="*/ 808822 w 5542424"/>
              <a:gd name="connsiteY106" fmla="*/ 2134368 h 6858000"/>
              <a:gd name="connsiteX107" fmla="*/ 820138 w 5542424"/>
              <a:gd name="connsiteY107" fmla="*/ 2099989 h 6858000"/>
              <a:gd name="connsiteX108" fmla="*/ 847225 w 5542424"/>
              <a:gd name="connsiteY108" fmla="*/ 2003626 h 6858000"/>
              <a:gd name="connsiteX109" fmla="*/ 871446 w 5542424"/>
              <a:gd name="connsiteY109" fmla="*/ 1905232 h 6858000"/>
              <a:gd name="connsiteX110" fmla="*/ 866894 w 5542424"/>
              <a:gd name="connsiteY110" fmla="*/ 1846725 h 6858000"/>
              <a:gd name="connsiteX111" fmla="*/ 868241 w 5542424"/>
              <a:gd name="connsiteY111" fmla="*/ 1841071 h 6858000"/>
              <a:gd name="connsiteX112" fmla="*/ 875742 w 5542424"/>
              <a:gd name="connsiteY112" fmla="*/ 1828958 h 6858000"/>
              <a:gd name="connsiteX113" fmla="*/ 879192 w 5542424"/>
              <a:gd name="connsiteY113" fmla="*/ 1824953 h 6858000"/>
              <a:gd name="connsiteX114" fmla="*/ 882790 w 5542424"/>
              <a:gd name="connsiteY114" fmla="*/ 1817574 h 6858000"/>
              <a:gd name="connsiteX115" fmla="*/ 886658 w 5542424"/>
              <a:gd name="connsiteY115" fmla="*/ 1811329 h 6858000"/>
              <a:gd name="connsiteX116" fmla="*/ 908112 w 5542424"/>
              <a:gd name="connsiteY116" fmla="*/ 1782991 h 6858000"/>
              <a:gd name="connsiteX117" fmla="*/ 1021695 w 5542424"/>
              <a:gd name="connsiteY117" fmla="*/ 1753240 h 6858000"/>
              <a:gd name="connsiteX118" fmla="*/ 1109428 w 5542424"/>
              <a:gd name="connsiteY118" fmla="*/ 1570998 h 6858000"/>
              <a:gd name="connsiteX119" fmla="*/ 1250520 w 5542424"/>
              <a:gd name="connsiteY119" fmla="*/ 1425857 h 6858000"/>
              <a:gd name="connsiteX120" fmla="*/ 1397360 w 5542424"/>
              <a:gd name="connsiteY120" fmla="*/ 1313547 h 6858000"/>
              <a:gd name="connsiteX121" fmla="*/ 1496269 w 5542424"/>
              <a:gd name="connsiteY121" fmla="*/ 1094720 h 6858000"/>
              <a:gd name="connsiteX122" fmla="*/ 1516735 w 5542424"/>
              <a:gd name="connsiteY122" fmla="*/ 913489 h 6858000"/>
              <a:gd name="connsiteX123" fmla="*/ 1518279 w 5542424"/>
              <a:gd name="connsiteY123" fmla="*/ 802489 h 6858000"/>
              <a:gd name="connsiteX124" fmla="*/ 1589359 w 5542424"/>
              <a:gd name="connsiteY124" fmla="*/ 598702 h 6858000"/>
              <a:gd name="connsiteX125" fmla="*/ 1674468 w 5542424"/>
              <a:gd name="connsiteY125" fmla="*/ 380053 h 6858000"/>
              <a:gd name="connsiteX126" fmla="*/ 1713442 w 5542424"/>
              <a:gd name="connsiteY126" fmla="*/ 307108 h 6858000"/>
              <a:gd name="connsiteX127" fmla="*/ 1723372 w 5542424"/>
              <a:gd name="connsiteY127" fmla="*/ 277643 h 6858000"/>
              <a:gd name="connsiteX128" fmla="*/ 1740253 w 5542424"/>
              <a:gd name="connsiteY128" fmla="*/ 228503 h 6858000"/>
              <a:gd name="connsiteX129" fmla="*/ 1743263 w 5542424"/>
              <a:gd name="connsiteY129" fmla="*/ 182970 h 6858000"/>
              <a:gd name="connsiteX130" fmla="*/ 1761186 w 5542424"/>
              <a:gd name="connsiteY130" fmla="*/ 145367 h 6858000"/>
              <a:gd name="connsiteX131" fmla="*/ 1777775 w 5542424"/>
              <a:gd name="connsiteY131" fmla="*/ 148014 h 6858000"/>
              <a:gd name="connsiteX132" fmla="*/ 1792914 w 5542424"/>
              <a:gd name="connsiteY132" fmla="*/ 104094 h 6858000"/>
              <a:gd name="connsiteX133" fmla="*/ 1814516 w 5542424"/>
              <a:gd name="connsiteY133" fmla="*/ 36224 h 6858000"/>
              <a:gd name="connsiteX134" fmla="*/ 1821598 w 5542424"/>
              <a:gd name="connsiteY134" fmla="*/ 28008 h 6858000"/>
              <a:gd name="connsiteX135" fmla="*/ 1813947 w 5542424"/>
              <a:gd name="connsiteY135" fmla="*/ 11863 h 6858000"/>
              <a:gd name="connsiteX0" fmla="*/ 1814929 w 7360592"/>
              <a:gd name="connsiteY0" fmla="*/ 0 h 6858000"/>
              <a:gd name="connsiteX1" fmla="*/ 5542424 w 7360592"/>
              <a:gd name="connsiteY1" fmla="*/ 0 h 6858000"/>
              <a:gd name="connsiteX2" fmla="*/ 7360592 w 7360592"/>
              <a:gd name="connsiteY2" fmla="*/ 6858000 h 6858000"/>
              <a:gd name="connsiteX3" fmla="*/ 0 w 7360592"/>
              <a:gd name="connsiteY3" fmla="*/ 6858000 h 6858000"/>
              <a:gd name="connsiteX4" fmla="*/ 2310 w 7360592"/>
              <a:gd name="connsiteY4" fmla="*/ 6853652 h 6858000"/>
              <a:gd name="connsiteX5" fmla="*/ 91006 w 7360592"/>
              <a:gd name="connsiteY5" fmla="*/ 6620968 h 6858000"/>
              <a:gd name="connsiteX6" fmla="*/ 81892 w 7360592"/>
              <a:gd name="connsiteY6" fmla="*/ 6435659 h 6858000"/>
              <a:gd name="connsiteX7" fmla="*/ 80998 w 7360592"/>
              <a:gd name="connsiteY7" fmla="*/ 6414855 h 6858000"/>
              <a:gd name="connsiteX8" fmla="*/ 75836 w 7360592"/>
              <a:gd name="connsiteY8" fmla="*/ 6409671 h 6858000"/>
              <a:gd name="connsiteX9" fmla="*/ 77989 w 7360592"/>
              <a:gd name="connsiteY9" fmla="*/ 6396556 h 6858000"/>
              <a:gd name="connsiteX10" fmla="*/ 77374 w 7360592"/>
              <a:gd name="connsiteY10" fmla="*/ 6392981 h 6858000"/>
              <a:gd name="connsiteX11" fmla="*/ 75036 w 7360592"/>
              <a:gd name="connsiteY11" fmla="*/ 6372572 h 6858000"/>
              <a:gd name="connsiteX12" fmla="*/ 99554 w 7360592"/>
              <a:gd name="connsiteY12" fmla="*/ 6331118 h 6858000"/>
              <a:gd name="connsiteX13" fmla="*/ 105442 w 7360592"/>
              <a:gd name="connsiteY13" fmla="*/ 6278374 h 6858000"/>
              <a:gd name="connsiteX14" fmla="*/ 172914 w 7360592"/>
              <a:gd name="connsiteY14" fmla="*/ 6144628 h 6858000"/>
              <a:gd name="connsiteX15" fmla="*/ 264181 w 7360592"/>
              <a:gd name="connsiteY15" fmla="*/ 5952072 h 6858000"/>
              <a:gd name="connsiteX16" fmla="*/ 423554 w 7360592"/>
              <a:gd name="connsiteY16" fmla="*/ 5679532 h 6858000"/>
              <a:gd name="connsiteX17" fmla="*/ 485571 w 7360592"/>
              <a:gd name="connsiteY17" fmla="*/ 5396320 h 6858000"/>
              <a:gd name="connsiteX18" fmla="*/ 455275 w 7360592"/>
              <a:gd name="connsiteY18" fmla="*/ 5176878 h 6858000"/>
              <a:gd name="connsiteX19" fmla="*/ 367284 w 7360592"/>
              <a:gd name="connsiteY19" fmla="*/ 5066430 h 6858000"/>
              <a:gd name="connsiteX20" fmla="*/ 317365 w 7360592"/>
              <a:gd name="connsiteY20" fmla="*/ 5016642 h 6858000"/>
              <a:gd name="connsiteX21" fmla="*/ 317834 w 7360592"/>
              <a:gd name="connsiteY21" fmla="*/ 5008528 h 6858000"/>
              <a:gd name="connsiteX22" fmla="*/ 317591 w 7360592"/>
              <a:gd name="connsiteY22" fmla="*/ 5008366 h 6858000"/>
              <a:gd name="connsiteX23" fmla="*/ 318532 w 7360592"/>
              <a:gd name="connsiteY23" fmla="*/ 5000689 h 6858000"/>
              <a:gd name="connsiteX24" fmla="*/ 326373 w 7360592"/>
              <a:gd name="connsiteY24" fmla="*/ 4962649 h 6858000"/>
              <a:gd name="connsiteX25" fmla="*/ 304517 w 7360592"/>
              <a:gd name="connsiteY25" fmla="*/ 4845612 h 6858000"/>
              <a:gd name="connsiteX26" fmla="*/ 312138 w 7360592"/>
              <a:gd name="connsiteY26" fmla="*/ 4821435 h 6858000"/>
              <a:gd name="connsiteX27" fmla="*/ 314669 w 7360592"/>
              <a:gd name="connsiteY27" fmla="*/ 4809154 h 6858000"/>
              <a:gd name="connsiteX28" fmla="*/ 318283 w 7360592"/>
              <a:gd name="connsiteY28" fmla="*/ 4805250 h 6858000"/>
              <a:gd name="connsiteX29" fmla="*/ 320547 w 7360592"/>
              <a:gd name="connsiteY29" fmla="*/ 4787345 h 6858000"/>
              <a:gd name="connsiteX30" fmla="*/ 319715 w 7360592"/>
              <a:gd name="connsiteY30" fmla="*/ 4785453 h 6858000"/>
              <a:gd name="connsiteX31" fmla="*/ 325649 w 7360592"/>
              <a:gd name="connsiteY31" fmla="*/ 4770073 h 6858000"/>
              <a:gd name="connsiteX32" fmla="*/ 335542 w 7360592"/>
              <a:gd name="connsiteY32" fmla="*/ 4756450 h 6858000"/>
              <a:gd name="connsiteX33" fmla="*/ 339391 w 7360592"/>
              <a:gd name="connsiteY33" fmla="*/ 4606479 h 6858000"/>
              <a:gd name="connsiteX34" fmla="*/ 385485 w 7360592"/>
              <a:gd name="connsiteY34" fmla="*/ 4470620 h 6858000"/>
              <a:gd name="connsiteX35" fmla="*/ 386474 w 7360592"/>
              <a:gd name="connsiteY35" fmla="*/ 4389388 h 6858000"/>
              <a:gd name="connsiteX36" fmla="*/ 365661 w 7360592"/>
              <a:gd name="connsiteY36" fmla="*/ 4365498 h 6858000"/>
              <a:gd name="connsiteX37" fmla="*/ 389339 w 7360592"/>
              <a:gd name="connsiteY37" fmla="*/ 4160513 h 6858000"/>
              <a:gd name="connsiteX38" fmla="*/ 385403 w 7360592"/>
              <a:gd name="connsiteY38" fmla="*/ 4109650 h 6858000"/>
              <a:gd name="connsiteX39" fmla="*/ 402327 w 7360592"/>
              <a:gd name="connsiteY39" fmla="*/ 4061824 h 6858000"/>
              <a:gd name="connsiteX40" fmla="*/ 396156 w 7360592"/>
              <a:gd name="connsiteY40" fmla="*/ 4043965 h 6858000"/>
              <a:gd name="connsiteX41" fmla="*/ 394868 w 7360592"/>
              <a:gd name="connsiteY41" fmla="*/ 4040920 h 6858000"/>
              <a:gd name="connsiteX42" fmla="*/ 394584 w 7360592"/>
              <a:gd name="connsiteY42" fmla="*/ 4028000 h 6858000"/>
              <a:gd name="connsiteX43" fmla="*/ 388418 w 7360592"/>
              <a:gd name="connsiteY43" fmla="*/ 4025270 h 6858000"/>
              <a:gd name="connsiteX44" fmla="*/ 383628 w 7360592"/>
              <a:gd name="connsiteY44" fmla="*/ 4006478 h 6858000"/>
              <a:gd name="connsiteX45" fmla="*/ 384802 w 7360592"/>
              <a:gd name="connsiteY45" fmla="*/ 3982442 h 6858000"/>
              <a:gd name="connsiteX46" fmla="*/ 397167 w 7360592"/>
              <a:gd name="connsiteY46" fmla="*/ 3867331 h 6858000"/>
              <a:gd name="connsiteX47" fmla="*/ 400691 w 7360592"/>
              <a:gd name="connsiteY47" fmla="*/ 3798966 h 6858000"/>
              <a:gd name="connsiteX48" fmla="*/ 395946 w 7360592"/>
              <a:gd name="connsiteY48" fmla="*/ 3773791 h 6858000"/>
              <a:gd name="connsiteX49" fmla="*/ 393410 w 7360592"/>
              <a:gd name="connsiteY49" fmla="*/ 3738098 h 6858000"/>
              <a:gd name="connsiteX50" fmla="*/ 384223 w 7360592"/>
              <a:gd name="connsiteY50" fmla="*/ 3675719 h 6858000"/>
              <a:gd name="connsiteX51" fmla="*/ 386290 w 7360592"/>
              <a:gd name="connsiteY51" fmla="*/ 3642763 h 6858000"/>
              <a:gd name="connsiteX52" fmla="*/ 382514 w 7360592"/>
              <a:gd name="connsiteY52" fmla="*/ 3624093 h 6858000"/>
              <a:gd name="connsiteX53" fmla="*/ 383976 w 7360592"/>
              <a:gd name="connsiteY53" fmla="*/ 3616602 h 6858000"/>
              <a:gd name="connsiteX54" fmla="*/ 385517 w 7360592"/>
              <a:gd name="connsiteY54" fmla="*/ 3591527 h 6858000"/>
              <a:gd name="connsiteX55" fmla="*/ 387146 w 7360592"/>
              <a:gd name="connsiteY55" fmla="*/ 3577241 h 6858000"/>
              <a:gd name="connsiteX56" fmla="*/ 388068 w 7360592"/>
              <a:gd name="connsiteY56" fmla="*/ 3571585 h 6858000"/>
              <a:gd name="connsiteX57" fmla="*/ 395496 w 7360592"/>
              <a:gd name="connsiteY57" fmla="*/ 3559720 h 6858000"/>
              <a:gd name="connsiteX58" fmla="*/ 394985 w 7360592"/>
              <a:gd name="connsiteY58" fmla="*/ 3543047 h 6858000"/>
              <a:gd name="connsiteX59" fmla="*/ 403028 w 7360592"/>
              <a:gd name="connsiteY59" fmla="*/ 3525651 h 6858000"/>
              <a:gd name="connsiteX60" fmla="*/ 398728 w 7360592"/>
              <a:gd name="connsiteY60" fmla="*/ 3520715 h 6858000"/>
              <a:gd name="connsiteX61" fmla="*/ 395530 w 7360592"/>
              <a:gd name="connsiteY61" fmla="*/ 3505412 h 6858000"/>
              <a:gd name="connsiteX62" fmla="*/ 402719 w 7360592"/>
              <a:gd name="connsiteY62" fmla="*/ 3493445 h 6858000"/>
              <a:gd name="connsiteX63" fmla="*/ 409328 w 7360592"/>
              <a:gd name="connsiteY63" fmla="*/ 3467406 h 6858000"/>
              <a:gd name="connsiteX64" fmla="*/ 409292 w 7360592"/>
              <a:gd name="connsiteY64" fmla="*/ 3460033 h 6858000"/>
              <a:gd name="connsiteX65" fmla="*/ 419755 w 7360592"/>
              <a:gd name="connsiteY65" fmla="*/ 3435495 h 6858000"/>
              <a:gd name="connsiteX66" fmla="*/ 430771 w 7360592"/>
              <a:gd name="connsiteY66" fmla="*/ 3395884 h 6858000"/>
              <a:gd name="connsiteX67" fmla="*/ 439140 w 7360592"/>
              <a:gd name="connsiteY67" fmla="*/ 3350083 h 6858000"/>
              <a:gd name="connsiteX68" fmla="*/ 446544 w 7360592"/>
              <a:gd name="connsiteY68" fmla="*/ 3337690 h 6858000"/>
              <a:gd name="connsiteX69" fmla="*/ 470731 w 7360592"/>
              <a:gd name="connsiteY69" fmla="*/ 3254519 h 6858000"/>
              <a:gd name="connsiteX70" fmla="*/ 477713 w 7360592"/>
              <a:gd name="connsiteY70" fmla="*/ 3231166 h 6858000"/>
              <a:gd name="connsiteX71" fmla="*/ 478087 w 7360592"/>
              <a:gd name="connsiteY71" fmla="*/ 3210262 h 6858000"/>
              <a:gd name="connsiteX72" fmla="*/ 473269 w 7360592"/>
              <a:gd name="connsiteY72" fmla="*/ 3204689 h 6858000"/>
              <a:gd name="connsiteX73" fmla="*/ 476207 w 7360592"/>
              <a:gd name="connsiteY73" fmla="*/ 3191713 h 6858000"/>
              <a:gd name="connsiteX74" fmla="*/ 475813 w 7360592"/>
              <a:gd name="connsiteY74" fmla="*/ 3188085 h 6858000"/>
              <a:gd name="connsiteX75" fmla="*/ 474728 w 7360592"/>
              <a:gd name="connsiteY75" fmla="*/ 3167471 h 6858000"/>
              <a:gd name="connsiteX76" fmla="*/ 501612 w 7360592"/>
              <a:gd name="connsiteY76" fmla="*/ 3127774 h 6858000"/>
              <a:gd name="connsiteX77" fmla="*/ 510667 w 7360592"/>
              <a:gd name="connsiteY77" fmla="*/ 3075380 h 6858000"/>
              <a:gd name="connsiteX78" fmla="*/ 582379 w 7360592"/>
              <a:gd name="connsiteY78" fmla="*/ 2882573 h 6858000"/>
              <a:gd name="connsiteX79" fmla="*/ 569744 w 7360592"/>
              <a:gd name="connsiteY79" fmla="*/ 2849169 h 6858000"/>
              <a:gd name="connsiteX80" fmla="*/ 590685 w 7360592"/>
              <a:gd name="connsiteY80" fmla="*/ 2768869 h 6858000"/>
              <a:gd name="connsiteX81" fmla="*/ 665292 w 7360592"/>
              <a:gd name="connsiteY81" fmla="*/ 2655182 h 6858000"/>
              <a:gd name="connsiteX82" fmla="*/ 705757 w 7360592"/>
              <a:gd name="connsiteY82" fmla="*/ 2507872 h 6858000"/>
              <a:gd name="connsiteX83" fmla="*/ 717932 w 7360592"/>
              <a:gd name="connsiteY83" fmla="*/ 2498916 h 6858000"/>
              <a:gd name="connsiteX84" fmla="*/ 727017 w 7360592"/>
              <a:gd name="connsiteY84" fmla="*/ 2486382 h 6858000"/>
              <a:gd name="connsiteX85" fmla="*/ 726741 w 7360592"/>
              <a:gd name="connsiteY85" fmla="*/ 2484113 h 6858000"/>
              <a:gd name="connsiteX86" fmla="*/ 733179 w 7360592"/>
              <a:gd name="connsiteY86" fmla="*/ 2467361 h 6858000"/>
              <a:gd name="connsiteX87" fmla="*/ 737364 w 7360592"/>
              <a:gd name="connsiteY87" fmla="*/ 2465156 h 6858000"/>
              <a:gd name="connsiteX88" fmla="*/ 742650 w 7360592"/>
              <a:gd name="connsiteY88" fmla="*/ 2454122 h 6858000"/>
              <a:gd name="connsiteX89" fmla="*/ 755408 w 7360592"/>
              <a:gd name="connsiteY89" fmla="*/ 2433619 h 6858000"/>
              <a:gd name="connsiteX90" fmla="*/ 755598 w 7360592"/>
              <a:gd name="connsiteY90" fmla="*/ 2428626 h 6858000"/>
              <a:gd name="connsiteX91" fmla="*/ 771418 w 7360592"/>
              <a:gd name="connsiteY91" fmla="*/ 2395899 h 6858000"/>
              <a:gd name="connsiteX92" fmla="*/ 770593 w 7360592"/>
              <a:gd name="connsiteY92" fmla="*/ 2394897 h 6858000"/>
              <a:gd name="connsiteX93" fmla="*/ 770497 w 7360592"/>
              <a:gd name="connsiteY93" fmla="*/ 2383267 h 6858000"/>
              <a:gd name="connsiteX94" fmla="*/ 772693 w 7360592"/>
              <a:gd name="connsiteY94" fmla="*/ 2362296 h 6858000"/>
              <a:gd name="connsiteX95" fmla="*/ 764846 w 7360592"/>
              <a:gd name="connsiteY95" fmla="*/ 2307129 h 6858000"/>
              <a:gd name="connsiteX96" fmla="*/ 781226 w 7360592"/>
              <a:gd name="connsiteY96" fmla="*/ 2272947 h 6858000"/>
              <a:gd name="connsiteX97" fmla="*/ 783960 w 7360592"/>
              <a:gd name="connsiteY97" fmla="*/ 2265753 h 6858000"/>
              <a:gd name="connsiteX98" fmla="*/ 783783 w 7360592"/>
              <a:gd name="connsiteY98" fmla="*/ 2265478 h 6858000"/>
              <a:gd name="connsiteX99" fmla="*/ 786206 w 7360592"/>
              <a:gd name="connsiteY99" fmla="*/ 2257630 h 6858000"/>
              <a:gd name="connsiteX100" fmla="*/ 788946 w 7360592"/>
              <a:gd name="connsiteY100" fmla="*/ 2252635 h 6858000"/>
              <a:gd name="connsiteX101" fmla="*/ 794250 w 7360592"/>
              <a:gd name="connsiteY101" fmla="*/ 2238675 h 6858000"/>
              <a:gd name="connsiteX102" fmla="*/ 794536 w 7360592"/>
              <a:gd name="connsiteY102" fmla="*/ 2233003 h 6858000"/>
              <a:gd name="connsiteX103" fmla="*/ 792429 w 7360592"/>
              <a:gd name="connsiteY103" fmla="*/ 2229498 h 6858000"/>
              <a:gd name="connsiteX104" fmla="*/ 793227 w 7360592"/>
              <a:gd name="connsiteY104" fmla="*/ 2228401 h 6858000"/>
              <a:gd name="connsiteX105" fmla="*/ 795299 w 7360592"/>
              <a:gd name="connsiteY105" fmla="*/ 2197903 h 6858000"/>
              <a:gd name="connsiteX106" fmla="*/ 808822 w 7360592"/>
              <a:gd name="connsiteY106" fmla="*/ 2134368 h 6858000"/>
              <a:gd name="connsiteX107" fmla="*/ 820138 w 7360592"/>
              <a:gd name="connsiteY107" fmla="*/ 2099989 h 6858000"/>
              <a:gd name="connsiteX108" fmla="*/ 847225 w 7360592"/>
              <a:gd name="connsiteY108" fmla="*/ 2003626 h 6858000"/>
              <a:gd name="connsiteX109" fmla="*/ 871446 w 7360592"/>
              <a:gd name="connsiteY109" fmla="*/ 1905232 h 6858000"/>
              <a:gd name="connsiteX110" fmla="*/ 866894 w 7360592"/>
              <a:gd name="connsiteY110" fmla="*/ 1846725 h 6858000"/>
              <a:gd name="connsiteX111" fmla="*/ 868241 w 7360592"/>
              <a:gd name="connsiteY111" fmla="*/ 1841071 h 6858000"/>
              <a:gd name="connsiteX112" fmla="*/ 875742 w 7360592"/>
              <a:gd name="connsiteY112" fmla="*/ 1828958 h 6858000"/>
              <a:gd name="connsiteX113" fmla="*/ 879192 w 7360592"/>
              <a:gd name="connsiteY113" fmla="*/ 1824953 h 6858000"/>
              <a:gd name="connsiteX114" fmla="*/ 882790 w 7360592"/>
              <a:gd name="connsiteY114" fmla="*/ 1817574 h 6858000"/>
              <a:gd name="connsiteX115" fmla="*/ 886658 w 7360592"/>
              <a:gd name="connsiteY115" fmla="*/ 1811329 h 6858000"/>
              <a:gd name="connsiteX116" fmla="*/ 908112 w 7360592"/>
              <a:gd name="connsiteY116" fmla="*/ 1782991 h 6858000"/>
              <a:gd name="connsiteX117" fmla="*/ 1021695 w 7360592"/>
              <a:gd name="connsiteY117" fmla="*/ 1753240 h 6858000"/>
              <a:gd name="connsiteX118" fmla="*/ 1109428 w 7360592"/>
              <a:gd name="connsiteY118" fmla="*/ 1570998 h 6858000"/>
              <a:gd name="connsiteX119" fmla="*/ 1250520 w 7360592"/>
              <a:gd name="connsiteY119" fmla="*/ 1425857 h 6858000"/>
              <a:gd name="connsiteX120" fmla="*/ 1397360 w 7360592"/>
              <a:gd name="connsiteY120" fmla="*/ 1313547 h 6858000"/>
              <a:gd name="connsiteX121" fmla="*/ 1496269 w 7360592"/>
              <a:gd name="connsiteY121" fmla="*/ 1094720 h 6858000"/>
              <a:gd name="connsiteX122" fmla="*/ 1516735 w 7360592"/>
              <a:gd name="connsiteY122" fmla="*/ 913489 h 6858000"/>
              <a:gd name="connsiteX123" fmla="*/ 1518279 w 7360592"/>
              <a:gd name="connsiteY123" fmla="*/ 802489 h 6858000"/>
              <a:gd name="connsiteX124" fmla="*/ 1589359 w 7360592"/>
              <a:gd name="connsiteY124" fmla="*/ 598702 h 6858000"/>
              <a:gd name="connsiteX125" fmla="*/ 1674468 w 7360592"/>
              <a:gd name="connsiteY125" fmla="*/ 380053 h 6858000"/>
              <a:gd name="connsiteX126" fmla="*/ 1713442 w 7360592"/>
              <a:gd name="connsiteY126" fmla="*/ 307108 h 6858000"/>
              <a:gd name="connsiteX127" fmla="*/ 1723372 w 7360592"/>
              <a:gd name="connsiteY127" fmla="*/ 277643 h 6858000"/>
              <a:gd name="connsiteX128" fmla="*/ 1740253 w 7360592"/>
              <a:gd name="connsiteY128" fmla="*/ 228503 h 6858000"/>
              <a:gd name="connsiteX129" fmla="*/ 1743263 w 7360592"/>
              <a:gd name="connsiteY129" fmla="*/ 182970 h 6858000"/>
              <a:gd name="connsiteX130" fmla="*/ 1761186 w 7360592"/>
              <a:gd name="connsiteY130" fmla="*/ 145367 h 6858000"/>
              <a:gd name="connsiteX131" fmla="*/ 1777775 w 7360592"/>
              <a:gd name="connsiteY131" fmla="*/ 148014 h 6858000"/>
              <a:gd name="connsiteX132" fmla="*/ 1792914 w 7360592"/>
              <a:gd name="connsiteY132" fmla="*/ 104094 h 6858000"/>
              <a:gd name="connsiteX133" fmla="*/ 1814516 w 7360592"/>
              <a:gd name="connsiteY133" fmla="*/ 36224 h 6858000"/>
              <a:gd name="connsiteX134" fmla="*/ 1821598 w 7360592"/>
              <a:gd name="connsiteY134" fmla="*/ 28008 h 6858000"/>
              <a:gd name="connsiteX135" fmla="*/ 1813947 w 7360592"/>
              <a:gd name="connsiteY135" fmla="*/ 11863 h 6858000"/>
              <a:gd name="connsiteX136" fmla="*/ 1814929 w 7360592"/>
              <a:gd name="connsiteY136" fmla="*/ 0 h 6858000"/>
              <a:gd name="connsiteX0" fmla="*/ 1814929 w 7360592"/>
              <a:gd name="connsiteY0" fmla="*/ 0 h 6858000"/>
              <a:gd name="connsiteX1" fmla="*/ 7349959 w 7360592"/>
              <a:gd name="connsiteY1" fmla="*/ 0 h 6858000"/>
              <a:gd name="connsiteX2" fmla="*/ 7360592 w 7360592"/>
              <a:gd name="connsiteY2" fmla="*/ 6858000 h 6858000"/>
              <a:gd name="connsiteX3" fmla="*/ 0 w 7360592"/>
              <a:gd name="connsiteY3" fmla="*/ 6858000 h 6858000"/>
              <a:gd name="connsiteX4" fmla="*/ 2310 w 7360592"/>
              <a:gd name="connsiteY4" fmla="*/ 6853652 h 6858000"/>
              <a:gd name="connsiteX5" fmla="*/ 91006 w 7360592"/>
              <a:gd name="connsiteY5" fmla="*/ 6620968 h 6858000"/>
              <a:gd name="connsiteX6" fmla="*/ 81892 w 7360592"/>
              <a:gd name="connsiteY6" fmla="*/ 6435659 h 6858000"/>
              <a:gd name="connsiteX7" fmla="*/ 80998 w 7360592"/>
              <a:gd name="connsiteY7" fmla="*/ 6414855 h 6858000"/>
              <a:gd name="connsiteX8" fmla="*/ 75836 w 7360592"/>
              <a:gd name="connsiteY8" fmla="*/ 6409671 h 6858000"/>
              <a:gd name="connsiteX9" fmla="*/ 77989 w 7360592"/>
              <a:gd name="connsiteY9" fmla="*/ 6396556 h 6858000"/>
              <a:gd name="connsiteX10" fmla="*/ 77374 w 7360592"/>
              <a:gd name="connsiteY10" fmla="*/ 6392981 h 6858000"/>
              <a:gd name="connsiteX11" fmla="*/ 75036 w 7360592"/>
              <a:gd name="connsiteY11" fmla="*/ 6372572 h 6858000"/>
              <a:gd name="connsiteX12" fmla="*/ 99554 w 7360592"/>
              <a:gd name="connsiteY12" fmla="*/ 6331118 h 6858000"/>
              <a:gd name="connsiteX13" fmla="*/ 105442 w 7360592"/>
              <a:gd name="connsiteY13" fmla="*/ 6278374 h 6858000"/>
              <a:gd name="connsiteX14" fmla="*/ 172914 w 7360592"/>
              <a:gd name="connsiteY14" fmla="*/ 6144628 h 6858000"/>
              <a:gd name="connsiteX15" fmla="*/ 264181 w 7360592"/>
              <a:gd name="connsiteY15" fmla="*/ 5952072 h 6858000"/>
              <a:gd name="connsiteX16" fmla="*/ 423554 w 7360592"/>
              <a:gd name="connsiteY16" fmla="*/ 5679532 h 6858000"/>
              <a:gd name="connsiteX17" fmla="*/ 485571 w 7360592"/>
              <a:gd name="connsiteY17" fmla="*/ 5396320 h 6858000"/>
              <a:gd name="connsiteX18" fmla="*/ 455275 w 7360592"/>
              <a:gd name="connsiteY18" fmla="*/ 5176878 h 6858000"/>
              <a:gd name="connsiteX19" fmla="*/ 367284 w 7360592"/>
              <a:gd name="connsiteY19" fmla="*/ 5066430 h 6858000"/>
              <a:gd name="connsiteX20" fmla="*/ 317365 w 7360592"/>
              <a:gd name="connsiteY20" fmla="*/ 5016642 h 6858000"/>
              <a:gd name="connsiteX21" fmla="*/ 317834 w 7360592"/>
              <a:gd name="connsiteY21" fmla="*/ 5008528 h 6858000"/>
              <a:gd name="connsiteX22" fmla="*/ 317591 w 7360592"/>
              <a:gd name="connsiteY22" fmla="*/ 5008366 h 6858000"/>
              <a:gd name="connsiteX23" fmla="*/ 318532 w 7360592"/>
              <a:gd name="connsiteY23" fmla="*/ 5000689 h 6858000"/>
              <a:gd name="connsiteX24" fmla="*/ 326373 w 7360592"/>
              <a:gd name="connsiteY24" fmla="*/ 4962649 h 6858000"/>
              <a:gd name="connsiteX25" fmla="*/ 304517 w 7360592"/>
              <a:gd name="connsiteY25" fmla="*/ 4845612 h 6858000"/>
              <a:gd name="connsiteX26" fmla="*/ 312138 w 7360592"/>
              <a:gd name="connsiteY26" fmla="*/ 4821435 h 6858000"/>
              <a:gd name="connsiteX27" fmla="*/ 314669 w 7360592"/>
              <a:gd name="connsiteY27" fmla="*/ 4809154 h 6858000"/>
              <a:gd name="connsiteX28" fmla="*/ 318283 w 7360592"/>
              <a:gd name="connsiteY28" fmla="*/ 4805250 h 6858000"/>
              <a:gd name="connsiteX29" fmla="*/ 320547 w 7360592"/>
              <a:gd name="connsiteY29" fmla="*/ 4787345 h 6858000"/>
              <a:gd name="connsiteX30" fmla="*/ 319715 w 7360592"/>
              <a:gd name="connsiteY30" fmla="*/ 4785453 h 6858000"/>
              <a:gd name="connsiteX31" fmla="*/ 325649 w 7360592"/>
              <a:gd name="connsiteY31" fmla="*/ 4770073 h 6858000"/>
              <a:gd name="connsiteX32" fmla="*/ 335542 w 7360592"/>
              <a:gd name="connsiteY32" fmla="*/ 4756450 h 6858000"/>
              <a:gd name="connsiteX33" fmla="*/ 339391 w 7360592"/>
              <a:gd name="connsiteY33" fmla="*/ 4606479 h 6858000"/>
              <a:gd name="connsiteX34" fmla="*/ 385485 w 7360592"/>
              <a:gd name="connsiteY34" fmla="*/ 4470620 h 6858000"/>
              <a:gd name="connsiteX35" fmla="*/ 386474 w 7360592"/>
              <a:gd name="connsiteY35" fmla="*/ 4389388 h 6858000"/>
              <a:gd name="connsiteX36" fmla="*/ 365661 w 7360592"/>
              <a:gd name="connsiteY36" fmla="*/ 4365498 h 6858000"/>
              <a:gd name="connsiteX37" fmla="*/ 389339 w 7360592"/>
              <a:gd name="connsiteY37" fmla="*/ 4160513 h 6858000"/>
              <a:gd name="connsiteX38" fmla="*/ 385403 w 7360592"/>
              <a:gd name="connsiteY38" fmla="*/ 4109650 h 6858000"/>
              <a:gd name="connsiteX39" fmla="*/ 402327 w 7360592"/>
              <a:gd name="connsiteY39" fmla="*/ 4061824 h 6858000"/>
              <a:gd name="connsiteX40" fmla="*/ 396156 w 7360592"/>
              <a:gd name="connsiteY40" fmla="*/ 4043965 h 6858000"/>
              <a:gd name="connsiteX41" fmla="*/ 394868 w 7360592"/>
              <a:gd name="connsiteY41" fmla="*/ 4040920 h 6858000"/>
              <a:gd name="connsiteX42" fmla="*/ 394584 w 7360592"/>
              <a:gd name="connsiteY42" fmla="*/ 4028000 h 6858000"/>
              <a:gd name="connsiteX43" fmla="*/ 388418 w 7360592"/>
              <a:gd name="connsiteY43" fmla="*/ 4025270 h 6858000"/>
              <a:gd name="connsiteX44" fmla="*/ 383628 w 7360592"/>
              <a:gd name="connsiteY44" fmla="*/ 4006478 h 6858000"/>
              <a:gd name="connsiteX45" fmla="*/ 384802 w 7360592"/>
              <a:gd name="connsiteY45" fmla="*/ 3982442 h 6858000"/>
              <a:gd name="connsiteX46" fmla="*/ 397167 w 7360592"/>
              <a:gd name="connsiteY46" fmla="*/ 3867331 h 6858000"/>
              <a:gd name="connsiteX47" fmla="*/ 400691 w 7360592"/>
              <a:gd name="connsiteY47" fmla="*/ 3798966 h 6858000"/>
              <a:gd name="connsiteX48" fmla="*/ 395946 w 7360592"/>
              <a:gd name="connsiteY48" fmla="*/ 3773791 h 6858000"/>
              <a:gd name="connsiteX49" fmla="*/ 393410 w 7360592"/>
              <a:gd name="connsiteY49" fmla="*/ 3738098 h 6858000"/>
              <a:gd name="connsiteX50" fmla="*/ 384223 w 7360592"/>
              <a:gd name="connsiteY50" fmla="*/ 3675719 h 6858000"/>
              <a:gd name="connsiteX51" fmla="*/ 386290 w 7360592"/>
              <a:gd name="connsiteY51" fmla="*/ 3642763 h 6858000"/>
              <a:gd name="connsiteX52" fmla="*/ 382514 w 7360592"/>
              <a:gd name="connsiteY52" fmla="*/ 3624093 h 6858000"/>
              <a:gd name="connsiteX53" fmla="*/ 383976 w 7360592"/>
              <a:gd name="connsiteY53" fmla="*/ 3616602 h 6858000"/>
              <a:gd name="connsiteX54" fmla="*/ 385517 w 7360592"/>
              <a:gd name="connsiteY54" fmla="*/ 3591527 h 6858000"/>
              <a:gd name="connsiteX55" fmla="*/ 387146 w 7360592"/>
              <a:gd name="connsiteY55" fmla="*/ 3577241 h 6858000"/>
              <a:gd name="connsiteX56" fmla="*/ 388068 w 7360592"/>
              <a:gd name="connsiteY56" fmla="*/ 3571585 h 6858000"/>
              <a:gd name="connsiteX57" fmla="*/ 395496 w 7360592"/>
              <a:gd name="connsiteY57" fmla="*/ 3559720 h 6858000"/>
              <a:gd name="connsiteX58" fmla="*/ 394985 w 7360592"/>
              <a:gd name="connsiteY58" fmla="*/ 3543047 h 6858000"/>
              <a:gd name="connsiteX59" fmla="*/ 403028 w 7360592"/>
              <a:gd name="connsiteY59" fmla="*/ 3525651 h 6858000"/>
              <a:gd name="connsiteX60" fmla="*/ 398728 w 7360592"/>
              <a:gd name="connsiteY60" fmla="*/ 3520715 h 6858000"/>
              <a:gd name="connsiteX61" fmla="*/ 395530 w 7360592"/>
              <a:gd name="connsiteY61" fmla="*/ 3505412 h 6858000"/>
              <a:gd name="connsiteX62" fmla="*/ 402719 w 7360592"/>
              <a:gd name="connsiteY62" fmla="*/ 3493445 h 6858000"/>
              <a:gd name="connsiteX63" fmla="*/ 409328 w 7360592"/>
              <a:gd name="connsiteY63" fmla="*/ 3467406 h 6858000"/>
              <a:gd name="connsiteX64" fmla="*/ 409292 w 7360592"/>
              <a:gd name="connsiteY64" fmla="*/ 3460033 h 6858000"/>
              <a:gd name="connsiteX65" fmla="*/ 419755 w 7360592"/>
              <a:gd name="connsiteY65" fmla="*/ 3435495 h 6858000"/>
              <a:gd name="connsiteX66" fmla="*/ 430771 w 7360592"/>
              <a:gd name="connsiteY66" fmla="*/ 3395884 h 6858000"/>
              <a:gd name="connsiteX67" fmla="*/ 439140 w 7360592"/>
              <a:gd name="connsiteY67" fmla="*/ 3350083 h 6858000"/>
              <a:gd name="connsiteX68" fmla="*/ 446544 w 7360592"/>
              <a:gd name="connsiteY68" fmla="*/ 3337690 h 6858000"/>
              <a:gd name="connsiteX69" fmla="*/ 470731 w 7360592"/>
              <a:gd name="connsiteY69" fmla="*/ 3254519 h 6858000"/>
              <a:gd name="connsiteX70" fmla="*/ 477713 w 7360592"/>
              <a:gd name="connsiteY70" fmla="*/ 3231166 h 6858000"/>
              <a:gd name="connsiteX71" fmla="*/ 478087 w 7360592"/>
              <a:gd name="connsiteY71" fmla="*/ 3210262 h 6858000"/>
              <a:gd name="connsiteX72" fmla="*/ 473269 w 7360592"/>
              <a:gd name="connsiteY72" fmla="*/ 3204689 h 6858000"/>
              <a:gd name="connsiteX73" fmla="*/ 476207 w 7360592"/>
              <a:gd name="connsiteY73" fmla="*/ 3191713 h 6858000"/>
              <a:gd name="connsiteX74" fmla="*/ 475813 w 7360592"/>
              <a:gd name="connsiteY74" fmla="*/ 3188085 h 6858000"/>
              <a:gd name="connsiteX75" fmla="*/ 474728 w 7360592"/>
              <a:gd name="connsiteY75" fmla="*/ 3167471 h 6858000"/>
              <a:gd name="connsiteX76" fmla="*/ 501612 w 7360592"/>
              <a:gd name="connsiteY76" fmla="*/ 3127774 h 6858000"/>
              <a:gd name="connsiteX77" fmla="*/ 510667 w 7360592"/>
              <a:gd name="connsiteY77" fmla="*/ 3075380 h 6858000"/>
              <a:gd name="connsiteX78" fmla="*/ 582379 w 7360592"/>
              <a:gd name="connsiteY78" fmla="*/ 2882573 h 6858000"/>
              <a:gd name="connsiteX79" fmla="*/ 569744 w 7360592"/>
              <a:gd name="connsiteY79" fmla="*/ 2849169 h 6858000"/>
              <a:gd name="connsiteX80" fmla="*/ 590685 w 7360592"/>
              <a:gd name="connsiteY80" fmla="*/ 2768869 h 6858000"/>
              <a:gd name="connsiteX81" fmla="*/ 665292 w 7360592"/>
              <a:gd name="connsiteY81" fmla="*/ 2655182 h 6858000"/>
              <a:gd name="connsiteX82" fmla="*/ 705757 w 7360592"/>
              <a:gd name="connsiteY82" fmla="*/ 2507872 h 6858000"/>
              <a:gd name="connsiteX83" fmla="*/ 717932 w 7360592"/>
              <a:gd name="connsiteY83" fmla="*/ 2498916 h 6858000"/>
              <a:gd name="connsiteX84" fmla="*/ 727017 w 7360592"/>
              <a:gd name="connsiteY84" fmla="*/ 2486382 h 6858000"/>
              <a:gd name="connsiteX85" fmla="*/ 726741 w 7360592"/>
              <a:gd name="connsiteY85" fmla="*/ 2484113 h 6858000"/>
              <a:gd name="connsiteX86" fmla="*/ 733179 w 7360592"/>
              <a:gd name="connsiteY86" fmla="*/ 2467361 h 6858000"/>
              <a:gd name="connsiteX87" fmla="*/ 737364 w 7360592"/>
              <a:gd name="connsiteY87" fmla="*/ 2465156 h 6858000"/>
              <a:gd name="connsiteX88" fmla="*/ 742650 w 7360592"/>
              <a:gd name="connsiteY88" fmla="*/ 2454122 h 6858000"/>
              <a:gd name="connsiteX89" fmla="*/ 755408 w 7360592"/>
              <a:gd name="connsiteY89" fmla="*/ 2433619 h 6858000"/>
              <a:gd name="connsiteX90" fmla="*/ 755598 w 7360592"/>
              <a:gd name="connsiteY90" fmla="*/ 2428626 h 6858000"/>
              <a:gd name="connsiteX91" fmla="*/ 771418 w 7360592"/>
              <a:gd name="connsiteY91" fmla="*/ 2395899 h 6858000"/>
              <a:gd name="connsiteX92" fmla="*/ 770593 w 7360592"/>
              <a:gd name="connsiteY92" fmla="*/ 2394897 h 6858000"/>
              <a:gd name="connsiteX93" fmla="*/ 770497 w 7360592"/>
              <a:gd name="connsiteY93" fmla="*/ 2383267 h 6858000"/>
              <a:gd name="connsiteX94" fmla="*/ 772693 w 7360592"/>
              <a:gd name="connsiteY94" fmla="*/ 2362296 h 6858000"/>
              <a:gd name="connsiteX95" fmla="*/ 764846 w 7360592"/>
              <a:gd name="connsiteY95" fmla="*/ 2307129 h 6858000"/>
              <a:gd name="connsiteX96" fmla="*/ 781226 w 7360592"/>
              <a:gd name="connsiteY96" fmla="*/ 2272947 h 6858000"/>
              <a:gd name="connsiteX97" fmla="*/ 783960 w 7360592"/>
              <a:gd name="connsiteY97" fmla="*/ 2265753 h 6858000"/>
              <a:gd name="connsiteX98" fmla="*/ 783783 w 7360592"/>
              <a:gd name="connsiteY98" fmla="*/ 2265478 h 6858000"/>
              <a:gd name="connsiteX99" fmla="*/ 786206 w 7360592"/>
              <a:gd name="connsiteY99" fmla="*/ 2257630 h 6858000"/>
              <a:gd name="connsiteX100" fmla="*/ 788946 w 7360592"/>
              <a:gd name="connsiteY100" fmla="*/ 2252635 h 6858000"/>
              <a:gd name="connsiteX101" fmla="*/ 794250 w 7360592"/>
              <a:gd name="connsiteY101" fmla="*/ 2238675 h 6858000"/>
              <a:gd name="connsiteX102" fmla="*/ 794536 w 7360592"/>
              <a:gd name="connsiteY102" fmla="*/ 2233003 h 6858000"/>
              <a:gd name="connsiteX103" fmla="*/ 792429 w 7360592"/>
              <a:gd name="connsiteY103" fmla="*/ 2229498 h 6858000"/>
              <a:gd name="connsiteX104" fmla="*/ 793227 w 7360592"/>
              <a:gd name="connsiteY104" fmla="*/ 2228401 h 6858000"/>
              <a:gd name="connsiteX105" fmla="*/ 795299 w 7360592"/>
              <a:gd name="connsiteY105" fmla="*/ 2197903 h 6858000"/>
              <a:gd name="connsiteX106" fmla="*/ 808822 w 7360592"/>
              <a:gd name="connsiteY106" fmla="*/ 2134368 h 6858000"/>
              <a:gd name="connsiteX107" fmla="*/ 820138 w 7360592"/>
              <a:gd name="connsiteY107" fmla="*/ 2099989 h 6858000"/>
              <a:gd name="connsiteX108" fmla="*/ 847225 w 7360592"/>
              <a:gd name="connsiteY108" fmla="*/ 2003626 h 6858000"/>
              <a:gd name="connsiteX109" fmla="*/ 871446 w 7360592"/>
              <a:gd name="connsiteY109" fmla="*/ 1905232 h 6858000"/>
              <a:gd name="connsiteX110" fmla="*/ 866894 w 7360592"/>
              <a:gd name="connsiteY110" fmla="*/ 1846725 h 6858000"/>
              <a:gd name="connsiteX111" fmla="*/ 868241 w 7360592"/>
              <a:gd name="connsiteY111" fmla="*/ 1841071 h 6858000"/>
              <a:gd name="connsiteX112" fmla="*/ 875742 w 7360592"/>
              <a:gd name="connsiteY112" fmla="*/ 1828958 h 6858000"/>
              <a:gd name="connsiteX113" fmla="*/ 879192 w 7360592"/>
              <a:gd name="connsiteY113" fmla="*/ 1824953 h 6858000"/>
              <a:gd name="connsiteX114" fmla="*/ 882790 w 7360592"/>
              <a:gd name="connsiteY114" fmla="*/ 1817574 h 6858000"/>
              <a:gd name="connsiteX115" fmla="*/ 886658 w 7360592"/>
              <a:gd name="connsiteY115" fmla="*/ 1811329 h 6858000"/>
              <a:gd name="connsiteX116" fmla="*/ 908112 w 7360592"/>
              <a:gd name="connsiteY116" fmla="*/ 1782991 h 6858000"/>
              <a:gd name="connsiteX117" fmla="*/ 1021695 w 7360592"/>
              <a:gd name="connsiteY117" fmla="*/ 1753240 h 6858000"/>
              <a:gd name="connsiteX118" fmla="*/ 1109428 w 7360592"/>
              <a:gd name="connsiteY118" fmla="*/ 1570998 h 6858000"/>
              <a:gd name="connsiteX119" fmla="*/ 1250520 w 7360592"/>
              <a:gd name="connsiteY119" fmla="*/ 1425857 h 6858000"/>
              <a:gd name="connsiteX120" fmla="*/ 1397360 w 7360592"/>
              <a:gd name="connsiteY120" fmla="*/ 1313547 h 6858000"/>
              <a:gd name="connsiteX121" fmla="*/ 1496269 w 7360592"/>
              <a:gd name="connsiteY121" fmla="*/ 1094720 h 6858000"/>
              <a:gd name="connsiteX122" fmla="*/ 1516735 w 7360592"/>
              <a:gd name="connsiteY122" fmla="*/ 913489 h 6858000"/>
              <a:gd name="connsiteX123" fmla="*/ 1518279 w 7360592"/>
              <a:gd name="connsiteY123" fmla="*/ 802489 h 6858000"/>
              <a:gd name="connsiteX124" fmla="*/ 1589359 w 7360592"/>
              <a:gd name="connsiteY124" fmla="*/ 598702 h 6858000"/>
              <a:gd name="connsiteX125" fmla="*/ 1674468 w 7360592"/>
              <a:gd name="connsiteY125" fmla="*/ 380053 h 6858000"/>
              <a:gd name="connsiteX126" fmla="*/ 1713442 w 7360592"/>
              <a:gd name="connsiteY126" fmla="*/ 307108 h 6858000"/>
              <a:gd name="connsiteX127" fmla="*/ 1723372 w 7360592"/>
              <a:gd name="connsiteY127" fmla="*/ 277643 h 6858000"/>
              <a:gd name="connsiteX128" fmla="*/ 1740253 w 7360592"/>
              <a:gd name="connsiteY128" fmla="*/ 228503 h 6858000"/>
              <a:gd name="connsiteX129" fmla="*/ 1743263 w 7360592"/>
              <a:gd name="connsiteY129" fmla="*/ 182970 h 6858000"/>
              <a:gd name="connsiteX130" fmla="*/ 1761186 w 7360592"/>
              <a:gd name="connsiteY130" fmla="*/ 145367 h 6858000"/>
              <a:gd name="connsiteX131" fmla="*/ 1777775 w 7360592"/>
              <a:gd name="connsiteY131" fmla="*/ 148014 h 6858000"/>
              <a:gd name="connsiteX132" fmla="*/ 1792914 w 7360592"/>
              <a:gd name="connsiteY132" fmla="*/ 104094 h 6858000"/>
              <a:gd name="connsiteX133" fmla="*/ 1814516 w 7360592"/>
              <a:gd name="connsiteY133" fmla="*/ 36224 h 6858000"/>
              <a:gd name="connsiteX134" fmla="*/ 1821598 w 7360592"/>
              <a:gd name="connsiteY134" fmla="*/ 28008 h 6858000"/>
              <a:gd name="connsiteX135" fmla="*/ 1813947 w 7360592"/>
              <a:gd name="connsiteY135" fmla="*/ 11863 h 6858000"/>
              <a:gd name="connsiteX136" fmla="*/ 1814929 w 7360592"/>
              <a:gd name="connsiteY136" fmla="*/ 0 h 6858000"/>
              <a:gd name="connsiteX0" fmla="*/ 1814929 w 7360592"/>
              <a:gd name="connsiteY0" fmla="*/ 0 h 6858000"/>
              <a:gd name="connsiteX1" fmla="*/ 7349959 w 7360592"/>
              <a:gd name="connsiteY1" fmla="*/ 0 h 6858000"/>
              <a:gd name="connsiteX2" fmla="*/ 7360592 w 7360592"/>
              <a:gd name="connsiteY2" fmla="*/ 6858000 h 6858000"/>
              <a:gd name="connsiteX3" fmla="*/ 0 w 7360592"/>
              <a:gd name="connsiteY3" fmla="*/ 6858000 h 6858000"/>
              <a:gd name="connsiteX4" fmla="*/ 2310 w 7360592"/>
              <a:gd name="connsiteY4" fmla="*/ 6853652 h 6858000"/>
              <a:gd name="connsiteX5" fmla="*/ 91006 w 7360592"/>
              <a:gd name="connsiteY5" fmla="*/ 6620968 h 6858000"/>
              <a:gd name="connsiteX6" fmla="*/ 81892 w 7360592"/>
              <a:gd name="connsiteY6" fmla="*/ 6435659 h 6858000"/>
              <a:gd name="connsiteX7" fmla="*/ 80998 w 7360592"/>
              <a:gd name="connsiteY7" fmla="*/ 6414855 h 6858000"/>
              <a:gd name="connsiteX8" fmla="*/ 75836 w 7360592"/>
              <a:gd name="connsiteY8" fmla="*/ 6409671 h 6858000"/>
              <a:gd name="connsiteX9" fmla="*/ 77989 w 7360592"/>
              <a:gd name="connsiteY9" fmla="*/ 6396556 h 6858000"/>
              <a:gd name="connsiteX10" fmla="*/ 77374 w 7360592"/>
              <a:gd name="connsiteY10" fmla="*/ 6392981 h 6858000"/>
              <a:gd name="connsiteX11" fmla="*/ 75036 w 7360592"/>
              <a:gd name="connsiteY11" fmla="*/ 6372572 h 6858000"/>
              <a:gd name="connsiteX12" fmla="*/ 99554 w 7360592"/>
              <a:gd name="connsiteY12" fmla="*/ 6331118 h 6858000"/>
              <a:gd name="connsiteX13" fmla="*/ 105442 w 7360592"/>
              <a:gd name="connsiteY13" fmla="*/ 6278374 h 6858000"/>
              <a:gd name="connsiteX14" fmla="*/ 172914 w 7360592"/>
              <a:gd name="connsiteY14" fmla="*/ 6144628 h 6858000"/>
              <a:gd name="connsiteX15" fmla="*/ 264181 w 7360592"/>
              <a:gd name="connsiteY15" fmla="*/ 5952072 h 6858000"/>
              <a:gd name="connsiteX16" fmla="*/ 423554 w 7360592"/>
              <a:gd name="connsiteY16" fmla="*/ 5679532 h 6858000"/>
              <a:gd name="connsiteX17" fmla="*/ 485571 w 7360592"/>
              <a:gd name="connsiteY17" fmla="*/ 5396320 h 6858000"/>
              <a:gd name="connsiteX18" fmla="*/ 455275 w 7360592"/>
              <a:gd name="connsiteY18" fmla="*/ 5176878 h 6858000"/>
              <a:gd name="connsiteX19" fmla="*/ 367284 w 7360592"/>
              <a:gd name="connsiteY19" fmla="*/ 5066430 h 6858000"/>
              <a:gd name="connsiteX20" fmla="*/ 317365 w 7360592"/>
              <a:gd name="connsiteY20" fmla="*/ 5016642 h 6858000"/>
              <a:gd name="connsiteX21" fmla="*/ 317834 w 7360592"/>
              <a:gd name="connsiteY21" fmla="*/ 5008528 h 6858000"/>
              <a:gd name="connsiteX22" fmla="*/ 317591 w 7360592"/>
              <a:gd name="connsiteY22" fmla="*/ 5008366 h 6858000"/>
              <a:gd name="connsiteX23" fmla="*/ 318532 w 7360592"/>
              <a:gd name="connsiteY23" fmla="*/ 5000689 h 6858000"/>
              <a:gd name="connsiteX24" fmla="*/ 326373 w 7360592"/>
              <a:gd name="connsiteY24" fmla="*/ 4962649 h 6858000"/>
              <a:gd name="connsiteX25" fmla="*/ 304517 w 7360592"/>
              <a:gd name="connsiteY25" fmla="*/ 4845612 h 6858000"/>
              <a:gd name="connsiteX26" fmla="*/ 312138 w 7360592"/>
              <a:gd name="connsiteY26" fmla="*/ 4821435 h 6858000"/>
              <a:gd name="connsiteX27" fmla="*/ 314669 w 7360592"/>
              <a:gd name="connsiteY27" fmla="*/ 4809154 h 6858000"/>
              <a:gd name="connsiteX28" fmla="*/ 318283 w 7360592"/>
              <a:gd name="connsiteY28" fmla="*/ 4805250 h 6858000"/>
              <a:gd name="connsiteX29" fmla="*/ 320547 w 7360592"/>
              <a:gd name="connsiteY29" fmla="*/ 4787345 h 6858000"/>
              <a:gd name="connsiteX30" fmla="*/ 319715 w 7360592"/>
              <a:gd name="connsiteY30" fmla="*/ 4785453 h 6858000"/>
              <a:gd name="connsiteX31" fmla="*/ 325649 w 7360592"/>
              <a:gd name="connsiteY31" fmla="*/ 4770073 h 6858000"/>
              <a:gd name="connsiteX32" fmla="*/ 335542 w 7360592"/>
              <a:gd name="connsiteY32" fmla="*/ 4756450 h 6858000"/>
              <a:gd name="connsiteX33" fmla="*/ 339391 w 7360592"/>
              <a:gd name="connsiteY33" fmla="*/ 4606479 h 6858000"/>
              <a:gd name="connsiteX34" fmla="*/ 385485 w 7360592"/>
              <a:gd name="connsiteY34" fmla="*/ 4470620 h 6858000"/>
              <a:gd name="connsiteX35" fmla="*/ 386474 w 7360592"/>
              <a:gd name="connsiteY35" fmla="*/ 4389388 h 6858000"/>
              <a:gd name="connsiteX36" fmla="*/ 365661 w 7360592"/>
              <a:gd name="connsiteY36" fmla="*/ 4365498 h 6858000"/>
              <a:gd name="connsiteX37" fmla="*/ 389339 w 7360592"/>
              <a:gd name="connsiteY37" fmla="*/ 4160513 h 6858000"/>
              <a:gd name="connsiteX38" fmla="*/ 385403 w 7360592"/>
              <a:gd name="connsiteY38" fmla="*/ 4109650 h 6858000"/>
              <a:gd name="connsiteX39" fmla="*/ 402327 w 7360592"/>
              <a:gd name="connsiteY39" fmla="*/ 4061824 h 6858000"/>
              <a:gd name="connsiteX40" fmla="*/ 396156 w 7360592"/>
              <a:gd name="connsiteY40" fmla="*/ 4043965 h 6858000"/>
              <a:gd name="connsiteX41" fmla="*/ 394868 w 7360592"/>
              <a:gd name="connsiteY41" fmla="*/ 4040920 h 6858000"/>
              <a:gd name="connsiteX42" fmla="*/ 394584 w 7360592"/>
              <a:gd name="connsiteY42" fmla="*/ 4028000 h 6858000"/>
              <a:gd name="connsiteX43" fmla="*/ 388418 w 7360592"/>
              <a:gd name="connsiteY43" fmla="*/ 4025270 h 6858000"/>
              <a:gd name="connsiteX44" fmla="*/ 383628 w 7360592"/>
              <a:gd name="connsiteY44" fmla="*/ 4006478 h 6858000"/>
              <a:gd name="connsiteX45" fmla="*/ 384802 w 7360592"/>
              <a:gd name="connsiteY45" fmla="*/ 3982442 h 6858000"/>
              <a:gd name="connsiteX46" fmla="*/ 397167 w 7360592"/>
              <a:gd name="connsiteY46" fmla="*/ 3867331 h 6858000"/>
              <a:gd name="connsiteX47" fmla="*/ 400691 w 7360592"/>
              <a:gd name="connsiteY47" fmla="*/ 3798966 h 6858000"/>
              <a:gd name="connsiteX48" fmla="*/ 395946 w 7360592"/>
              <a:gd name="connsiteY48" fmla="*/ 3773791 h 6858000"/>
              <a:gd name="connsiteX49" fmla="*/ 393410 w 7360592"/>
              <a:gd name="connsiteY49" fmla="*/ 3738098 h 6858000"/>
              <a:gd name="connsiteX50" fmla="*/ 384223 w 7360592"/>
              <a:gd name="connsiteY50" fmla="*/ 3675719 h 6858000"/>
              <a:gd name="connsiteX51" fmla="*/ 386290 w 7360592"/>
              <a:gd name="connsiteY51" fmla="*/ 3642763 h 6858000"/>
              <a:gd name="connsiteX52" fmla="*/ 382514 w 7360592"/>
              <a:gd name="connsiteY52" fmla="*/ 3624093 h 6858000"/>
              <a:gd name="connsiteX53" fmla="*/ 383976 w 7360592"/>
              <a:gd name="connsiteY53" fmla="*/ 3616602 h 6858000"/>
              <a:gd name="connsiteX54" fmla="*/ 385517 w 7360592"/>
              <a:gd name="connsiteY54" fmla="*/ 3591527 h 6858000"/>
              <a:gd name="connsiteX55" fmla="*/ 387146 w 7360592"/>
              <a:gd name="connsiteY55" fmla="*/ 3577241 h 6858000"/>
              <a:gd name="connsiteX56" fmla="*/ 388068 w 7360592"/>
              <a:gd name="connsiteY56" fmla="*/ 3571585 h 6858000"/>
              <a:gd name="connsiteX57" fmla="*/ 395496 w 7360592"/>
              <a:gd name="connsiteY57" fmla="*/ 3559720 h 6858000"/>
              <a:gd name="connsiteX58" fmla="*/ 394985 w 7360592"/>
              <a:gd name="connsiteY58" fmla="*/ 3543047 h 6858000"/>
              <a:gd name="connsiteX59" fmla="*/ 403028 w 7360592"/>
              <a:gd name="connsiteY59" fmla="*/ 3525651 h 6858000"/>
              <a:gd name="connsiteX60" fmla="*/ 398728 w 7360592"/>
              <a:gd name="connsiteY60" fmla="*/ 3520715 h 6858000"/>
              <a:gd name="connsiteX61" fmla="*/ 395530 w 7360592"/>
              <a:gd name="connsiteY61" fmla="*/ 3505412 h 6858000"/>
              <a:gd name="connsiteX62" fmla="*/ 402719 w 7360592"/>
              <a:gd name="connsiteY62" fmla="*/ 3493445 h 6858000"/>
              <a:gd name="connsiteX63" fmla="*/ 409328 w 7360592"/>
              <a:gd name="connsiteY63" fmla="*/ 3467406 h 6858000"/>
              <a:gd name="connsiteX64" fmla="*/ 409292 w 7360592"/>
              <a:gd name="connsiteY64" fmla="*/ 3460033 h 6858000"/>
              <a:gd name="connsiteX65" fmla="*/ 419755 w 7360592"/>
              <a:gd name="connsiteY65" fmla="*/ 3435495 h 6858000"/>
              <a:gd name="connsiteX66" fmla="*/ 430771 w 7360592"/>
              <a:gd name="connsiteY66" fmla="*/ 3395884 h 6858000"/>
              <a:gd name="connsiteX67" fmla="*/ 439140 w 7360592"/>
              <a:gd name="connsiteY67" fmla="*/ 3350083 h 6858000"/>
              <a:gd name="connsiteX68" fmla="*/ 446544 w 7360592"/>
              <a:gd name="connsiteY68" fmla="*/ 3337690 h 6858000"/>
              <a:gd name="connsiteX69" fmla="*/ 470731 w 7360592"/>
              <a:gd name="connsiteY69" fmla="*/ 3254519 h 6858000"/>
              <a:gd name="connsiteX70" fmla="*/ 477713 w 7360592"/>
              <a:gd name="connsiteY70" fmla="*/ 3231166 h 6858000"/>
              <a:gd name="connsiteX71" fmla="*/ 478087 w 7360592"/>
              <a:gd name="connsiteY71" fmla="*/ 3210262 h 6858000"/>
              <a:gd name="connsiteX72" fmla="*/ 473269 w 7360592"/>
              <a:gd name="connsiteY72" fmla="*/ 3204689 h 6858000"/>
              <a:gd name="connsiteX73" fmla="*/ 476207 w 7360592"/>
              <a:gd name="connsiteY73" fmla="*/ 3191713 h 6858000"/>
              <a:gd name="connsiteX74" fmla="*/ 475813 w 7360592"/>
              <a:gd name="connsiteY74" fmla="*/ 3188085 h 6858000"/>
              <a:gd name="connsiteX75" fmla="*/ 474728 w 7360592"/>
              <a:gd name="connsiteY75" fmla="*/ 3167471 h 6858000"/>
              <a:gd name="connsiteX76" fmla="*/ 501612 w 7360592"/>
              <a:gd name="connsiteY76" fmla="*/ 3127774 h 6858000"/>
              <a:gd name="connsiteX77" fmla="*/ 510667 w 7360592"/>
              <a:gd name="connsiteY77" fmla="*/ 3075380 h 6858000"/>
              <a:gd name="connsiteX78" fmla="*/ 582379 w 7360592"/>
              <a:gd name="connsiteY78" fmla="*/ 2882573 h 6858000"/>
              <a:gd name="connsiteX79" fmla="*/ 569744 w 7360592"/>
              <a:gd name="connsiteY79" fmla="*/ 2849169 h 6858000"/>
              <a:gd name="connsiteX80" fmla="*/ 590685 w 7360592"/>
              <a:gd name="connsiteY80" fmla="*/ 2768869 h 6858000"/>
              <a:gd name="connsiteX81" fmla="*/ 665292 w 7360592"/>
              <a:gd name="connsiteY81" fmla="*/ 2655182 h 6858000"/>
              <a:gd name="connsiteX82" fmla="*/ 705757 w 7360592"/>
              <a:gd name="connsiteY82" fmla="*/ 2507872 h 6858000"/>
              <a:gd name="connsiteX83" fmla="*/ 717932 w 7360592"/>
              <a:gd name="connsiteY83" fmla="*/ 2498916 h 6858000"/>
              <a:gd name="connsiteX84" fmla="*/ 727017 w 7360592"/>
              <a:gd name="connsiteY84" fmla="*/ 2486382 h 6858000"/>
              <a:gd name="connsiteX85" fmla="*/ 726741 w 7360592"/>
              <a:gd name="connsiteY85" fmla="*/ 2484113 h 6858000"/>
              <a:gd name="connsiteX86" fmla="*/ 733179 w 7360592"/>
              <a:gd name="connsiteY86" fmla="*/ 2467361 h 6858000"/>
              <a:gd name="connsiteX87" fmla="*/ 737364 w 7360592"/>
              <a:gd name="connsiteY87" fmla="*/ 2465156 h 6858000"/>
              <a:gd name="connsiteX88" fmla="*/ 742650 w 7360592"/>
              <a:gd name="connsiteY88" fmla="*/ 2454122 h 6858000"/>
              <a:gd name="connsiteX89" fmla="*/ 755408 w 7360592"/>
              <a:gd name="connsiteY89" fmla="*/ 2433619 h 6858000"/>
              <a:gd name="connsiteX90" fmla="*/ 755598 w 7360592"/>
              <a:gd name="connsiteY90" fmla="*/ 2428626 h 6858000"/>
              <a:gd name="connsiteX91" fmla="*/ 771418 w 7360592"/>
              <a:gd name="connsiteY91" fmla="*/ 2395899 h 6858000"/>
              <a:gd name="connsiteX92" fmla="*/ 770593 w 7360592"/>
              <a:gd name="connsiteY92" fmla="*/ 2394897 h 6858000"/>
              <a:gd name="connsiteX93" fmla="*/ 770497 w 7360592"/>
              <a:gd name="connsiteY93" fmla="*/ 2383267 h 6858000"/>
              <a:gd name="connsiteX94" fmla="*/ 772693 w 7360592"/>
              <a:gd name="connsiteY94" fmla="*/ 2362296 h 6858000"/>
              <a:gd name="connsiteX95" fmla="*/ 764846 w 7360592"/>
              <a:gd name="connsiteY95" fmla="*/ 2307129 h 6858000"/>
              <a:gd name="connsiteX96" fmla="*/ 781226 w 7360592"/>
              <a:gd name="connsiteY96" fmla="*/ 2272947 h 6858000"/>
              <a:gd name="connsiteX97" fmla="*/ 783960 w 7360592"/>
              <a:gd name="connsiteY97" fmla="*/ 2265753 h 6858000"/>
              <a:gd name="connsiteX98" fmla="*/ 783783 w 7360592"/>
              <a:gd name="connsiteY98" fmla="*/ 2265478 h 6858000"/>
              <a:gd name="connsiteX99" fmla="*/ 786206 w 7360592"/>
              <a:gd name="connsiteY99" fmla="*/ 2257630 h 6858000"/>
              <a:gd name="connsiteX100" fmla="*/ 788946 w 7360592"/>
              <a:gd name="connsiteY100" fmla="*/ 2252635 h 6858000"/>
              <a:gd name="connsiteX101" fmla="*/ 794250 w 7360592"/>
              <a:gd name="connsiteY101" fmla="*/ 2238675 h 6858000"/>
              <a:gd name="connsiteX102" fmla="*/ 794536 w 7360592"/>
              <a:gd name="connsiteY102" fmla="*/ 2233003 h 6858000"/>
              <a:gd name="connsiteX103" fmla="*/ 792429 w 7360592"/>
              <a:gd name="connsiteY103" fmla="*/ 2229498 h 6858000"/>
              <a:gd name="connsiteX104" fmla="*/ 793227 w 7360592"/>
              <a:gd name="connsiteY104" fmla="*/ 2228401 h 6858000"/>
              <a:gd name="connsiteX105" fmla="*/ 795299 w 7360592"/>
              <a:gd name="connsiteY105" fmla="*/ 2197903 h 6858000"/>
              <a:gd name="connsiteX106" fmla="*/ 808822 w 7360592"/>
              <a:gd name="connsiteY106" fmla="*/ 2134368 h 6858000"/>
              <a:gd name="connsiteX107" fmla="*/ 820138 w 7360592"/>
              <a:gd name="connsiteY107" fmla="*/ 2099989 h 6858000"/>
              <a:gd name="connsiteX108" fmla="*/ 847225 w 7360592"/>
              <a:gd name="connsiteY108" fmla="*/ 2003626 h 6858000"/>
              <a:gd name="connsiteX109" fmla="*/ 871446 w 7360592"/>
              <a:gd name="connsiteY109" fmla="*/ 1905232 h 6858000"/>
              <a:gd name="connsiteX110" fmla="*/ 866894 w 7360592"/>
              <a:gd name="connsiteY110" fmla="*/ 1846725 h 6858000"/>
              <a:gd name="connsiteX111" fmla="*/ 868241 w 7360592"/>
              <a:gd name="connsiteY111" fmla="*/ 1841071 h 6858000"/>
              <a:gd name="connsiteX112" fmla="*/ 875742 w 7360592"/>
              <a:gd name="connsiteY112" fmla="*/ 1828958 h 6858000"/>
              <a:gd name="connsiteX113" fmla="*/ 879192 w 7360592"/>
              <a:gd name="connsiteY113" fmla="*/ 1824953 h 6858000"/>
              <a:gd name="connsiteX114" fmla="*/ 882790 w 7360592"/>
              <a:gd name="connsiteY114" fmla="*/ 1817574 h 6858000"/>
              <a:gd name="connsiteX115" fmla="*/ 886658 w 7360592"/>
              <a:gd name="connsiteY115" fmla="*/ 1811329 h 6858000"/>
              <a:gd name="connsiteX116" fmla="*/ 908112 w 7360592"/>
              <a:gd name="connsiteY116" fmla="*/ 1782991 h 6858000"/>
              <a:gd name="connsiteX117" fmla="*/ 1021695 w 7360592"/>
              <a:gd name="connsiteY117" fmla="*/ 1753240 h 6858000"/>
              <a:gd name="connsiteX118" fmla="*/ 1109428 w 7360592"/>
              <a:gd name="connsiteY118" fmla="*/ 1570998 h 6858000"/>
              <a:gd name="connsiteX119" fmla="*/ 1250520 w 7360592"/>
              <a:gd name="connsiteY119" fmla="*/ 1425857 h 6858000"/>
              <a:gd name="connsiteX120" fmla="*/ 1397360 w 7360592"/>
              <a:gd name="connsiteY120" fmla="*/ 1313547 h 6858000"/>
              <a:gd name="connsiteX121" fmla="*/ 1496269 w 7360592"/>
              <a:gd name="connsiteY121" fmla="*/ 1094720 h 6858000"/>
              <a:gd name="connsiteX122" fmla="*/ 1516735 w 7360592"/>
              <a:gd name="connsiteY122" fmla="*/ 913489 h 6858000"/>
              <a:gd name="connsiteX123" fmla="*/ 1518279 w 7360592"/>
              <a:gd name="connsiteY123" fmla="*/ 802489 h 6858000"/>
              <a:gd name="connsiteX124" fmla="*/ 1589359 w 7360592"/>
              <a:gd name="connsiteY124" fmla="*/ 598702 h 6858000"/>
              <a:gd name="connsiteX125" fmla="*/ 1674468 w 7360592"/>
              <a:gd name="connsiteY125" fmla="*/ 380053 h 6858000"/>
              <a:gd name="connsiteX126" fmla="*/ 1713442 w 7360592"/>
              <a:gd name="connsiteY126" fmla="*/ 307108 h 6858000"/>
              <a:gd name="connsiteX127" fmla="*/ 1723372 w 7360592"/>
              <a:gd name="connsiteY127" fmla="*/ 277643 h 6858000"/>
              <a:gd name="connsiteX128" fmla="*/ 1740253 w 7360592"/>
              <a:gd name="connsiteY128" fmla="*/ 228503 h 6858000"/>
              <a:gd name="connsiteX129" fmla="*/ 1743263 w 7360592"/>
              <a:gd name="connsiteY129" fmla="*/ 182970 h 6858000"/>
              <a:gd name="connsiteX130" fmla="*/ 1761186 w 7360592"/>
              <a:gd name="connsiteY130" fmla="*/ 145367 h 6858000"/>
              <a:gd name="connsiteX131" fmla="*/ 1777775 w 7360592"/>
              <a:gd name="connsiteY131" fmla="*/ 148014 h 6858000"/>
              <a:gd name="connsiteX132" fmla="*/ 1792914 w 7360592"/>
              <a:gd name="connsiteY132" fmla="*/ 104094 h 6858000"/>
              <a:gd name="connsiteX133" fmla="*/ 1814516 w 7360592"/>
              <a:gd name="connsiteY133" fmla="*/ 36224 h 6858000"/>
              <a:gd name="connsiteX134" fmla="*/ 1821598 w 7360592"/>
              <a:gd name="connsiteY134" fmla="*/ 28008 h 6858000"/>
              <a:gd name="connsiteX135" fmla="*/ 1813947 w 7360592"/>
              <a:gd name="connsiteY135" fmla="*/ 11863 h 6858000"/>
              <a:gd name="connsiteX136" fmla="*/ 1814929 w 7360592"/>
              <a:gd name="connsiteY136" fmla="*/ 0 h 6858000"/>
              <a:gd name="connsiteX0" fmla="*/ 1814929 w 7360592"/>
              <a:gd name="connsiteY0" fmla="*/ 0 h 6858000"/>
              <a:gd name="connsiteX1" fmla="*/ 7349959 w 7360592"/>
              <a:gd name="connsiteY1" fmla="*/ 0 h 6858000"/>
              <a:gd name="connsiteX2" fmla="*/ 7360592 w 7360592"/>
              <a:gd name="connsiteY2" fmla="*/ 6858000 h 6858000"/>
              <a:gd name="connsiteX3" fmla="*/ 0 w 7360592"/>
              <a:gd name="connsiteY3" fmla="*/ 6858000 h 6858000"/>
              <a:gd name="connsiteX4" fmla="*/ 2310 w 7360592"/>
              <a:gd name="connsiteY4" fmla="*/ 6853652 h 6858000"/>
              <a:gd name="connsiteX5" fmla="*/ 91006 w 7360592"/>
              <a:gd name="connsiteY5" fmla="*/ 6620968 h 6858000"/>
              <a:gd name="connsiteX6" fmla="*/ 81892 w 7360592"/>
              <a:gd name="connsiteY6" fmla="*/ 6435659 h 6858000"/>
              <a:gd name="connsiteX7" fmla="*/ 80998 w 7360592"/>
              <a:gd name="connsiteY7" fmla="*/ 6414855 h 6858000"/>
              <a:gd name="connsiteX8" fmla="*/ 75836 w 7360592"/>
              <a:gd name="connsiteY8" fmla="*/ 6409671 h 6858000"/>
              <a:gd name="connsiteX9" fmla="*/ 77989 w 7360592"/>
              <a:gd name="connsiteY9" fmla="*/ 6396556 h 6858000"/>
              <a:gd name="connsiteX10" fmla="*/ 77374 w 7360592"/>
              <a:gd name="connsiteY10" fmla="*/ 6392981 h 6858000"/>
              <a:gd name="connsiteX11" fmla="*/ 75036 w 7360592"/>
              <a:gd name="connsiteY11" fmla="*/ 6372572 h 6858000"/>
              <a:gd name="connsiteX12" fmla="*/ 99554 w 7360592"/>
              <a:gd name="connsiteY12" fmla="*/ 6331118 h 6858000"/>
              <a:gd name="connsiteX13" fmla="*/ 105442 w 7360592"/>
              <a:gd name="connsiteY13" fmla="*/ 6278374 h 6858000"/>
              <a:gd name="connsiteX14" fmla="*/ 172914 w 7360592"/>
              <a:gd name="connsiteY14" fmla="*/ 6144628 h 6858000"/>
              <a:gd name="connsiteX15" fmla="*/ 264181 w 7360592"/>
              <a:gd name="connsiteY15" fmla="*/ 5952072 h 6858000"/>
              <a:gd name="connsiteX16" fmla="*/ 423554 w 7360592"/>
              <a:gd name="connsiteY16" fmla="*/ 5679532 h 6858000"/>
              <a:gd name="connsiteX17" fmla="*/ 485571 w 7360592"/>
              <a:gd name="connsiteY17" fmla="*/ 5396320 h 6858000"/>
              <a:gd name="connsiteX18" fmla="*/ 455275 w 7360592"/>
              <a:gd name="connsiteY18" fmla="*/ 5176878 h 6858000"/>
              <a:gd name="connsiteX19" fmla="*/ 367284 w 7360592"/>
              <a:gd name="connsiteY19" fmla="*/ 5066430 h 6858000"/>
              <a:gd name="connsiteX20" fmla="*/ 317365 w 7360592"/>
              <a:gd name="connsiteY20" fmla="*/ 5016642 h 6858000"/>
              <a:gd name="connsiteX21" fmla="*/ 317834 w 7360592"/>
              <a:gd name="connsiteY21" fmla="*/ 5008528 h 6858000"/>
              <a:gd name="connsiteX22" fmla="*/ 317591 w 7360592"/>
              <a:gd name="connsiteY22" fmla="*/ 5008366 h 6858000"/>
              <a:gd name="connsiteX23" fmla="*/ 318532 w 7360592"/>
              <a:gd name="connsiteY23" fmla="*/ 5000689 h 6858000"/>
              <a:gd name="connsiteX24" fmla="*/ 326373 w 7360592"/>
              <a:gd name="connsiteY24" fmla="*/ 4962649 h 6858000"/>
              <a:gd name="connsiteX25" fmla="*/ 304517 w 7360592"/>
              <a:gd name="connsiteY25" fmla="*/ 4845612 h 6858000"/>
              <a:gd name="connsiteX26" fmla="*/ 312138 w 7360592"/>
              <a:gd name="connsiteY26" fmla="*/ 4821435 h 6858000"/>
              <a:gd name="connsiteX27" fmla="*/ 314669 w 7360592"/>
              <a:gd name="connsiteY27" fmla="*/ 4809154 h 6858000"/>
              <a:gd name="connsiteX28" fmla="*/ 318283 w 7360592"/>
              <a:gd name="connsiteY28" fmla="*/ 4805250 h 6858000"/>
              <a:gd name="connsiteX29" fmla="*/ 320547 w 7360592"/>
              <a:gd name="connsiteY29" fmla="*/ 4787345 h 6858000"/>
              <a:gd name="connsiteX30" fmla="*/ 319715 w 7360592"/>
              <a:gd name="connsiteY30" fmla="*/ 4785453 h 6858000"/>
              <a:gd name="connsiteX31" fmla="*/ 325649 w 7360592"/>
              <a:gd name="connsiteY31" fmla="*/ 4770073 h 6858000"/>
              <a:gd name="connsiteX32" fmla="*/ 335542 w 7360592"/>
              <a:gd name="connsiteY32" fmla="*/ 4756450 h 6858000"/>
              <a:gd name="connsiteX33" fmla="*/ 339391 w 7360592"/>
              <a:gd name="connsiteY33" fmla="*/ 4606479 h 6858000"/>
              <a:gd name="connsiteX34" fmla="*/ 385485 w 7360592"/>
              <a:gd name="connsiteY34" fmla="*/ 4470620 h 6858000"/>
              <a:gd name="connsiteX35" fmla="*/ 386474 w 7360592"/>
              <a:gd name="connsiteY35" fmla="*/ 4389388 h 6858000"/>
              <a:gd name="connsiteX36" fmla="*/ 365661 w 7360592"/>
              <a:gd name="connsiteY36" fmla="*/ 4365498 h 6858000"/>
              <a:gd name="connsiteX37" fmla="*/ 389339 w 7360592"/>
              <a:gd name="connsiteY37" fmla="*/ 4160513 h 6858000"/>
              <a:gd name="connsiteX38" fmla="*/ 385403 w 7360592"/>
              <a:gd name="connsiteY38" fmla="*/ 4109650 h 6858000"/>
              <a:gd name="connsiteX39" fmla="*/ 402327 w 7360592"/>
              <a:gd name="connsiteY39" fmla="*/ 4061824 h 6858000"/>
              <a:gd name="connsiteX40" fmla="*/ 396156 w 7360592"/>
              <a:gd name="connsiteY40" fmla="*/ 4043965 h 6858000"/>
              <a:gd name="connsiteX41" fmla="*/ 394868 w 7360592"/>
              <a:gd name="connsiteY41" fmla="*/ 4040920 h 6858000"/>
              <a:gd name="connsiteX42" fmla="*/ 394584 w 7360592"/>
              <a:gd name="connsiteY42" fmla="*/ 4028000 h 6858000"/>
              <a:gd name="connsiteX43" fmla="*/ 388418 w 7360592"/>
              <a:gd name="connsiteY43" fmla="*/ 4025270 h 6858000"/>
              <a:gd name="connsiteX44" fmla="*/ 383628 w 7360592"/>
              <a:gd name="connsiteY44" fmla="*/ 4006478 h 6858000"/>
              <a:gd name="connsiteX45" fmla="*/ 384802 w 7360592"/>
              <a:gd name="connsiteY45" fmla="*/ 3982442 h 6858000"/>
              <a:gd name="connsiteX46" fmla="*/ 397167 w 7360592"/>
              <a:gd name="connsiteY46" fmla="*/ 3867331 h 6858000"/>
              <a:gd name="connsiteX47" fmla="*/ 400691 w 7360592"/>
              <a:gd name="connsiteY47" fmla="*/ 3798966 h 6858000"/>
              <a:gd name="connsiteX48" fmla="*/ 395946 w 7360592"/>
              <a:gd name="connsiteY48" fmla="*/ 3773791 h 6858000"/>
              <a:gd name="connsiteX49" fmla="*/ 393410 w 7360592"/>
              <a:gd name="connsiteY49" fmla="*/ 3738098 h 6858000"/>
              <a:gd name="connsiteX50" fmla="*/ 384223 w 7360592"/>
              <a:gd name="connsiteY50" fmla="*/ 3675719 h 6858000"/>
              <a:gd name="connsiteX51" fmla="*/ 386290 w 7360592"/>
              <a:gd name="connsiteY51" fmla="*/ 3642763 h 6858000"/>
              <a:gd name="connsiteX52" fmla="*/ 382514 w 7360592"/>
              <a:gd name="connsiteY52" fmla="*/ 3624093 h 6858000"/>
              <a:gd name="connsiteX53" fmla="*/ 383976 w 7360592"/>
              <a:gd name="connsiteY53" fmla="*/ 3616602 h 6858000"/>
              <a:gd name="connsiteX54" fmla="*/ 385517 w 7360592"/>
              <a:gd name="connsiteY54" fmla="*/ 3591527 h 6858000"/>
              <a:gd name="connsiteX55" fmla="*/ 387146 w 7360592"/>
              <a:gd name="connsiteY55" fmla="*/ 3577241 h 6858000"/>
              <a:gd name="connsiteX56" fmla="*/ 388068 w 7360592"/>
              <a:gd name="connsiteY56" fmla="*/ 3571585 h 6858000"/>
              <a:gd name="connsiteX57" fmla="*/ 395496 w 7360592"/>
              <a:gd name="connsiteY57" fmla="*/ 3559720 h 6858000"/>
              <a:gd name="connsiteX58" fmla="*/ 394985 w 7360592"/>
              <a:gd name="connsiteY58" fmla="*/ 3543047 h 6858000"/>
              <a:gd name="connsiteX59" fmla="*/ 403028 w 7360592"/>
              <a:gd name="connsiteY59" fmla="*/ 3525651 h 6858000"/>
              <a:gd name="connsiteX60" fmla="*/ 398728 w 7360592"/>
              <a:gd name="connsiteY60" fmla="*/ 3520715 h 6858000"/>
              <a:gd name="connsiteX61" fmla="*/ 395530 w 7360592"/>
              <a:gd name="connsiteY61" fmla="*/ 3505412 h 6858000"/>
              <a:gd name="connsiteX62" fmla="*/ 402719 w 7360592"/>
              <a:gd name="connsiteY62" fmla="*/ 3493445 h 6858000"/>
              <a:gd name="connsiteX63" fmla="*/ 409328 w 7360592"/>
              <a:gd name="connsiteY63" fmla="*/ 3467406 h 6858000"/>
              <a:gd name="connsiteX64" fmla="*/ 409292 w 7360592"/>
              <a:gd name="connsiteY64" fmla="*/ 3460033 h 6858000"/>
              <a:gd name="connsiteX65" fmla="*/ 419755 w 7360592"/>
              <a:gd name="connsiteY65" fmla="*/ 3435495 h 6858000"/>
              <a:gd name="connsiteX66" fmla="*/ 430771 w 7360592"/>
              <a:gd name="connsiteY66" fmla="*/ 3395884 h 6858000"/>
              <a:gd name="connsiteX67" fmla="*/ 439140 w 7360592"/>
              <a:gd name="connsiteY67" fmla="*/ 3350083 h 6858000"/>
              <a:gd name="connsiteX68" fmla="*/ 446544 w 7360592"/>
              <a:gd name="connsiteY68" fmla="*/ 3337690 h 6858000"/>
              <a:gd name="connsiteX69" fmla="*/ 470731 w 7360592"/>
              <a:gd name="connsiteY69" fmla="*/ 3254519 h 6858000"/>
              <a:gd name="connsiteX70" fmla="*/ 477713 w 7360592"/>
              <a:gd name="connsiteY70" fmla="*/ 3231166 h 6858000"/>
              <a:gd name="connsiteX71" fmla="*/ 478087 w 7360592"/>
              <a:gd name="connsiteY71" fmla="*/ 3210262 h 6858000"/>
              <a:gd name="connsiteX72" fmla="*/ 473269 w 7360592"/>
              <a:gd name="connsiteY72" fmla="*/ 3204689 h 6858000"/>
              <a:gd name="connsiteX73" fmla="*/ 476207 w 7360592"/>
              <a:gd name="connsiteY73" fmla="*/ 3191713 h 6858000"/>
              <a:gd name="connsiteX74" fmla="*/ 475813 w 7360592"/>
              <a:gd name="connsiteY74" fmla="*/ 3188085 h 6858000"/>
              <a:gd name="connsiteX75" fmla="*/ 474728 w 7360592"/>
              <a:gd name="connsiteY75" fmla="*/ 3167471 h 6858000"/>
              <a:gd name="connsiteX76" fmla="*/ 501612 w 7360592"/>
              <a:gd name="connsiteY76" fmla="*/ 3127774 h 6858000"/>
              <a:gd name="connsiteX77" fmla="*/ 510667 w 7360592"/>
              <a:gd name="connsiteY77" fmla="*/ 3075380 h 6858000"/>
              <a:gd name="connsiteX78" fmla="*/ 582379 w 7360592"/>
              <a:gd name="connsiteY78" fmla="*/ 2882573 h 6858000"/>
              <a:gd name="connsiteX79" fmla="*/ 569744 w 7360592"/>
              <a:gd name="connsiteY79" fmla="*/ 2849169 h 6858000"/>
              <a:gd name="connsiteX80" fmla="*/ 590685 w 7360592"/>
              <a:gd name="connsiteY80" fmla="*/ 2768869 h 6858000"/>
              <a:gd name="connsiteX81" fmla="*/ 665292 w 7360592"/>
              <a:gd name="connsiteY81" fmla="*/ 2655182 h 6858000"/>
              <a:gd name="connsiteX82" fmla="*/ 705757 w 7360592"/>
              <a:gd name="connsiteY82" fmla="*/ 2507872 h 6858000"/>
              <a:gd name="connsiteX83" fmla="*/ 717932 w 7360592"/>
              <a:gd name="connsiteY83" fmla="*/ 2498916 h 6858000"/>
              <a:gd name="connsiteX84" fmla="*/ 727017 w 7360592"/>
              <a:gd name="connsiteY84" fmla="*/ 2486382 h 6858000"/>
              <a:gd name="connsiteX85" fmla="*/ 726741 w 7360592"/>
              <a:gd name="connsiteY85" fmla="*/ 2484113 h 6858000"/>
              <a:gd name="connsiteX86" fmla="*/ 733179 w 7360592"/>
              <a:gd name="connsiteY86" fmla="*/ 2467361 h 6858000"/>
              <a:gd name="connsiteX87" fmla="*/ 737364 w 7360592"/>
              <a:gd name="connsiteY87" fmla="*/ 2465156 h 6858000"/>
              <a:gd name="connsiteX88" fmla="*/ 742650 w 7360592"/>
              <a:gd name="connsiteY88" fmla="*/ 2454122 h 6858000"/>
              <a:gd name="connsiteX89" fmla="*/ 755408 w 7360592"/>
              <a:gd name="connsiteY89" fmla="*/ 2433619 h 6858000"/>
              <a:gd name="connsiteX90" fmla="*/ 755598 w 7360592"/>
              <a:gd name="connsiteY90" fmla="*/ 2428626 h 6858000"/>
              <a:gd name="connsiteX91" fmla="*/ 771418 w 7360592"/>
              <a:gd name="connsiteY91" fmla="*/ 2395899 h 6858000"/>
              <a:gd name="connsiteX92" fmla="*/ 770593 w 7360592"/>
              <a:gd name="connsiteY92" fmla="*/ 2394897 h 6858000"/>
              <a:gd name="connsiteX93" fmla="*/ 770497 w 7360592"/>
              <a:gd name="connsiteY93" fmla="*/ 2383267 h 6858000"/>
              <a:gd name="connsiteX94" fmla="*/ 772693 w 7360592"/>
              <a:gd name="connsiteY94" fmla="*/ 2362296 h 6858000"/>
              <a:gd name="connsiteX95" fmla="*/ 764846 w 7360592"/>
              <a:gd name="connsiteY95" fmla="*/ 2307129 h 6858000"/>
              <a:gd name="connsiteX96" fmla="*/ 781226 w 7360592"/>
              <a:gd name="connsiteY96" fmla="*/ 2272947 h 6858000"/>
              <a:gd name="connsiteX97" fmla="*/ 783960 w 7360592"/>
              <a:gd name="connsiteY97" fmla="*/ 2265753 h 6858000"/>
              <a:gd name="connsiteX98" fmla="*/ 783783 w 7360592"/>
              <a:gd name="connsiteY98" fmla="*/ 2265478 h 6858000"/>
              <a:gd name="connsiteX99" fmla="*/ 786206 w 7360592"/>
              <a:gd name="connsiteY99" fmla="*/ 2257630 h 6858000"/>
              <a:gd name="connsiteX100" fmla="*/ 788946 w 7360592"/>
              <a:gd name="connsiteY100" fmla="*/ 2252635 h 6858000"/>
              <a:gd name="connsiteX101" fmla="*/ 794250 w 7360592"/>
              <a:gd name="connsiteY101" fmla="*/ 2238675 h 6858000"/>
              <a:gd name="connsiteX102" fmla="*/ 794536 w 7360592"/>
              <a:gd name="connsiteY102" fmla="*/ 2233003 h 6858000"/>
              <a:gd name="connsiteX103" fmla="*/ 792429 w 7360592"/>
              <a:gd name="connsiteY103" fmla="*/ 2229498 h 6858000"/>
              <a:gd name="connsiteX104" fmla="*/ 793227 w 7360592"/>
              <a:gd name="connsiteY104" fmla="*/ 2228401 h 6858000"/>
              <a:gd name="connsiteX105" fmla="*/ 795299 w 7360592"/>
              <a:gd name="connsiteY105" fmla="*/ 2197903 h 6858000"/>
              <a:gd name="connsiteX106" fmla="*/ 808822 w 7360592"/>
              <a:gd name="connsiteY106" fmla="*/ 2134368 h 6858000"/>
              <a:gd name="connsiteX107" fmla="*/ 820138 w 7360592"/>
              <a:gd name="connsiteY107" fmla="*/ 2099989 h 6858000"/>
              <a:gd name="connsiteX108" fmla="*/ 847225 w 7360592"/>
              <a:gd name="connsiteY108" fmla="*/ 2003626 h 6858000"/>
              <a:gd name="connsiteX109" fmla="*/ 871446 w 7360592"/>
              <a:gd name="connsiteY109" fmla="*/ 1905232 h 6858000"/>
              <a:gd name="connsiteX110" fmla="*/ 866894 w 7360592"/>
              <a:gd name="connsiteY110" fmla="*/ 1846725 h 6858000"/>
              <a:gd name="connsiteX111" fmla="*/ 868241 w 7360592"/>
              <a:gd name="connsiteY111" fmla="*/ 1841071 h 6858000"/>
              <a:gd name="connsiteX112" fmla="*/ 875742 w 7360592"/>
              <a:gd name="connsiteY112" fmla="*/ 1828958 h 6858000"/>
              <a:gd name="connsiteX113" fmla="*/ 879192 w 7360592"/>
              <a:gd name="connsiteY113" fmla="*/ 1824953 h 6858000"/>
              <a:gd name="connsiteX114" fmla="*/ 882790 w 7360592"/>
              <a:gd name="connsiteY114" fmla="*/ 1817574 h 6858000"/>
              <a:gd name="connsiteX115" fmla="*/ 886658 w 7360592"/>
              <a:gd name="connsiteY115" fmla="*/ 1811329 h 6858000"/>
              <a:gd name="connsiteX116" fmla="*/ 908112 w 7360592"/>
              <a:gd name="connsiteY116" fmla="*/ 1782991 h 6858000"/>
              <a:gd name="connsiteX117" fmla="*/ 1021695 w 7360592"/>
              <a:gd name="connsiteY117" fmla="*/ 1753240 h 6858000"/>
              <a:gd name="connsiteX118" fmla="*/ 1109428 w 7360592"/>
              <a:gd name="connsiteY118" fmla="*/ 1570998 h 6858000"/>
              <a:gd name="connsiteX119" fmla="*/ 1250520 w 7360592"/>
              <a:gd name="connsiteY119" fmla="*/ 1425857 h 6858000"/>
              <a:gd name="connsiteX120" fmla="*/ 1320087 w 7360592"/>
              <a:gd name="connsiteY120" fmla="*/ 1339305 h 6858000"/>
              <a:gd name="connsiteX121" fmla="*/ 1496269 w 7360592"/>
              <a:gd name="connsiteY121" fmla="*/ 1094720 h 6858000"/>
              <a:gd name="connsiteX122" fmla="*/ 1516735 w 7360592"/>
              <a:gd name="connsiteY122" fmla="*/ 913489 h 6858000"/>
              <a:gd name="connsiteX123" fmla="*/ 1518279 w 7360592"/>
              <a:gd name="connsiteY123" fmla="*/ 802489 h 6858000"/>
              <a:gd name="connsiteX124" fmla="*/ 1589359 w 7360592"/>
              <a:gd name="connsiteY124" fmla="*/ 598702 h 6858000"/>
              <a:gd name="connsiteX125" fmla="*/ 1674468 w 7360592"/>
              <a:gd name="connsiteY125" fmla="*/ 380053 h 6858000"/>
              <a:gd name="connsiteX126" fmla="*/ 1713442 w 7360592"/>
              <a:gd name="connsiteY126" fmla="*/ 307108 h 6858000"/>
              <a:gd name="connsiteX127" fmla="*/ 1723372 w 7360592"/>
              <a:gd name="connsiteY127" fmla="*/ 277643 h 6858000"/>
              <a:gd name="connsiteX128" fmla="*/ 1740253 w 7360592"/>
              <a:gd name="connsiteY128" fmla="*/ 228503 h 6858000"/>
              <a:gd name="connsiteX129" fmla="*/ 1743263 w 7360592"/>
              <a:gd name="connsiteY129" fmla="*/ 182970 h 6858000"/>
              <a:gd name="connsiteX130" fmla="*/ 1761186 w 7360592"/>
              <a:gd name="connsiteY130" fmla="*/ 145367 h 6858000"/>
              <a:gd name="connsiteX131" fmla="*/ 1777775 w 7360592"/>
              <a:gd name="connsiteY131" fmla="*/ 148014 h 6858000"/>
              <a:gd name="connsiteX132" fmla="*/ 1792914 w 7360592"/>
              <a:gd name="connsiteY132" fmla="*/ 104094 h 6858000"/>
              <a:gd name="connsiteX133" fmla="*/ 1814516 w 7360592"/>
              <a:gd name="connsiteY133" fmla="*/ 36224 h 6858000"/>
              <a:gd name="connsiteX134" fmla="*/ 1821598 w 7360592"/>
              <a:gd name="connsiteY134" fmla="*/ 28008 h 6858000"/>
              <a:gd name="connsiteX135" fmla="*/ 1813947 w 7360592"/>
              <a:gd name="connsiteY135" fmla="*/ 11863 h 6858000"/>
              <a:gd name="connsiteX136" fmla="*/ 1814929 w 7360592"/>
              <a:gd name="connsiteY136" fmla="*/ 0 h 6858000"/>
              <a:gd name="connsiteX0" fmla="*/ 1814929 w 7360592"/>
              <a:gd name="connsiteY0" fmla="*/ 0 h 6858000"/>
              <a:gd name="connsiteX1" fmla="*/ 7349959 w 7360592"/>
              <a:gd name="connsiteY1" fmla="*/ 0 h 6858000"/>
              <a:gd name="connsiteX2" fmla="*/ 7360592 w 7360592"/>
              <a:gd name="connsiteY2" fmla="*/ 6858000 h 6858000"/>
              <a:gd name="connsiteX3" fmla="*/ 0 w 7360592"/>
              <a:gd name="connsiteY3" fmla="*/ 6858000 h 6858000"/>
              <a:gd name="connsiteX4" fmla="*/ 2310 w 7360592"/>
              <a:gd name="connsiteY4" fmla="*/ 6853652 h 6858000"/>
              <a:gd name="connsiteX5" fmla="*/ 91006 w 7360592"/>
              <a:gd name="connsiteY5" fmla="*/ 6620968 h 6858000"/>
              <a:gd name="connsiteX6" fmla="*/ 81892 w 7360592"/>
              <a:gd name="connsiteY6" fmla="*/ 6435659 h 6858000"/>
              <a:gd name="connsiteX7" fmla="*/ 80998 w 7360592"/>
              <a:gd name="connsiteY7" fmla="*/ 6414855 h 6858000"/>
              <a:gd name="connsiteX8" fmla="*/ 75836 w 7360592"/>
              <a:gd name="connsiteY8" fmla="*/ 6409671 h 6858000"/>
              <a:gd name="connsiteX9" fmla="*/ 77989 w 7360592"/>
              <a:gd name="connsiteY9" fmla="*/ 6396556 h 6858000"/>
              <a:gd name="connsiteX10" fmla="*/ 77374 w 7360592"/>
              <a:gd name="connsiteY10" fmla="*/ 6392981 h 6858000"/>
              <a:gd name="connsiteX11" fmla="*/ 75036 w 7360592"/>
              <a:gd name="connsiteY11" fmla="*/ 6372572 h 6858000"/>
              <a:gd name="connsiteX12" fmla="*/ 99554 w 7360592"/>
              <a:gd name="connsiteY12" fmla="*/ 6331118 h 6858000"/>
              <a:gd name="connsiteX13" fmla="*/ 105442 w 7360592"/>
              <a:gd name="connsiteY13" fmla="*/ 6278374 h 6858000"/>
              <a:gd name="connsiteX14" fmla="*/ 172914 w 7360592"/>
              <a:gd name="connsiteY14" fmla="*/ 6144628 h 6858000"/>
              <a:gd name="connsiteX15" fmla="*/ 264181 w 7360592"/>
              <a:gd name="connsiteY15" fmla="*/ 5952072 h 6858000"/>
              <a:gd name="connsiteX16" fmla="*/ 423554 w 7360592"/>
              <a:gd name="connsiteY16" fmla="*/ 5679532 h 6858000"/>
              <a:gd name="connsiteX17" fmla="*/ 485571 w 7360592"/>
              <a:gd name="connsiteY17" fmla="*/ 5396320 h 6858000"/>
              <a:gd name="connsiteX18" fmla="*/ 455275 w 7360592"/>
              <a:gd name="connsiteY18" fmla="*/ 5176878 h 6858000"/>
              <a:gd name="connsiteX19" fmla="*/ 367284 w 7360592"/>
              <a:gd name="connsiteY19" fmla="*/ 5066430 h 6858000"/>
              <a:gd name="connsiteX20" fmla="*/ 317365 w 7360592"/>
              <a:gd name="connsiteY20" fmla="*/ 5016642 h 6858000"/>
              <a:gd name="connsiteX21" fmla="*/ 317834 w 7360592"/>
              <a:gd name="connsiteY21" fmla="*/ 5008528 h 6858000"/>
              <a:gd name="connsiteX22" fmla="*/ 317591 w 7360592"/>
              <a:gd name="connsiteY22" fmla="*/ 5008366 h 6858000"/>
              <a:gd name="connsiteX23" fmla="*/ 318532 w 7360592"/>
              <a:gd name="connsiteY23" fmla="*/ 5000689 h 6858000"/>
              <a:gd name="connsiteX24" fmla="*/ 326373 w 7360592"/>
              <a:gd name="connsiteY24" fmla="*/ 4962649 h 6858000"/>
              <a:gd name="connsiteX25" fmla="*/ 304517 w 7360592"/>
              <a:gd name="connsiteY25" fmla="*/ 4845612 h 6858000"/>
              <a:gd name="connsiteX26" fmla="*/ 312138 w 7360592"/>
              <a:gd name="connsiteY26" fmla="*/ 4821435 h 6858000"/>
              <a:gd name="connsiteX27" fmla="*/ 314669 w 7360592"/>
              <a:gd name="connsiteY27" fmla="*/ 4809154 h 6858000"/>
              <a:gd name="connsiteX28" fmla="*/ 318283 w 7360592"/>
              <a:gd name="connsiteY28" fmla="*/ 4805250 h 6858000"/>
              <a:gd name="connsiteX29" fmla="*/ 320547 w 7360592"/>
              <a:gd name="connsiteY29" fmla="*/ 4787345 h 6858000"/>
              <a:gd name="connsiteX30" fmla="*/ 319715 w 7360592"/>
              <a:gd name="connsiteY30" fmla="*/ 4785453 h 6858000"/>
              <a:gd name="connsiteX31" fmla="*/ 325649 w 7360592"/>
              <a:gd name="connsiteY31" fmla="*/ 4770073 h 6858000"/>
              <a:gd name="connsiteX32" fmla="*/ 335542 w 7360592"/>
              <a:gd name="connsiteY32" fmla="*/ 4756450 h 6858000"/>
              <a:gd name="connsiteX33" fmla="*/ 339391 w 7360592"/>
              <a:gd name="connsiteY33" fmla="*/ 4606479 h 6858000"/>
              <a:gd name="connsiteX34" fmla="*/ 385485 w 7360592"/>
              <a:gd name="connsiteY34" fmla="*/ 4470620 h 6858000"/>
              <a:gd name="connsiteX35" fmla="*/ 386474 w 7360592"/>
              <a:gd name="connsiteY35" fmla="*/ 4389388 h 6858000"/>
              <a:gd name="connsiteX36" fmla="*/ 365661 w 7360592"/>
              <a:gd name="connsiteY36" fmla="*/ 4365498 h 6858000"/>
              <a:gd name="connsiteX37" fmla="*/ 389339 w 7360592"/>
              <a:gd name="connsiteY37" fmla="*/ 4160513 h 6858000"/>
              <a:gd name="connsiteX38" fmla="*/ 385403 w 7360592"/>
              <a:gd name="connsiteY38" fmla="*/ 4109650 h 6858000"/>
              <a:gd name="connsiteX39" fmla="*/ 402327 w 7360592"/>
              <a:gd name="connsiteY39" fmla="*/ 4061824 h 6858000"/>
              <a:gd name="connsiteX40" fmla="*/ 396156 w 7360592"/>
              <a:gd name="connsiteY40" fmla="*/ 4043965 h 6858000"/>
              <a:gd name="connsiteX41" fmla="*/ 394868 w 7360592"/>
              <a:gd name="connsiteY41" fmla="*/ 4040920 h 6858000"/>
              <a:gd name="connsiteX42" fmla="*/ 394584 w 7360592"/>
              <a:gd name="connsiteY42" fmla="*/ 4028000 h 6858000"/>
              <a:gd name="connsiteX43" fmla="*/ 388418 w 7360592"/>
              <a:gd name="connsiteY43" fmla="*/ 4025270 h 6858000"/>
              <a:gd name="connsiteX44" fmla="*/ 383628 w 7360592"/>
              <a:gd name="connsiteY44" fmla="*/ 4006478 h 6858000"/>
              <a:gd name="connsiteX45" fmla="*/ 384802 w 7360592"/>
              <a:gd name="connsiteY45" fmla="*/ 3982442 h 6858000"/>
              <a:gd name="connsiteX46" fmla="*/ 397167 w 7360592"/>
              <a:gd name="connsiteY46" fmla="*/ 3867331 h 6858000"/>
              <a:gd name="connsiteX47" fmla="*/ 400691 w 7360592"/>
              <a:gd name="connsiteY47" fmla="*/ 3798966 h 6858000"/>
              <a:gd name="connsiteX48" fmla="*/ 395946 w 7360592"/>
              <a:gd name="connsiteY48" fmla="*/ 3773791 h 6858000"/>
              <a:gd name="connsiteX49" fmla="*/ 393410 w 7360592"/>
              <a:gd name="connsiteY49" fmla="*/ 3738098 h 6858000"/>
              <a:gd name="connsiteX50" fmla="*/ 384223 w 7360592"/>
              <a:gd name="connsiteY50" fmla="*/ 3675719 h 6858000"/>
              <a:gd name="connsiteX51" fmla="*/ 386290 w 7360592"/>
              <a:gd name="connsiteY51" fmla="*/ 3642763 h 6858000"/>
              <a:gd name="connsiteX52" fmla="*/ 382514 w 7360592"/>
              <a:gd name="connsiteY52" fmla="*/ 3624093 h 6858000"/>
              <a:gd name="connsiteX53" fmla="*/ 383976 w 7360592"/>
              <a:gd name="connsiteY53" fmla="*/ 3616602 h 6858000"/>
              <a:gd name="connsiteX54" fmla="*/ 385517 w 7360592"/>
              <a:gd name="connsiteY54" fmla="*/ 3591527 h 6858000"/>
              <a:gd name="connsiteX55" fmla="*/ 387146 w 7360592"/>
              <a:gd name="connsiteY55" fmla="*/ 3577241 h 6858000"/>
              <a:gd name="connsiteX56" fmla="*/ 388068 w 7360592"/>
              <a:gd name="connsiteY56" fmla="*/ 3571585 h 6858000"/>
              <a:gd name="connsiteX57" fmla="*/ 395496 w 7360592"/>
              <a:gd name="connsiteY57" fmla="*/ 3559720 h 6858000"/>
              <a:gd name="connsiteX58" fmla="*/ 394985 w 7360592"/>
              <a:gd name="connsiteY58" fmla="*/ 3543047 h 6858000"/>
              <a:gd name="connsiteX59" fmla="*/ 403028 w 7360592"/>
              <a:gd name="connsiteY59" fmla="*/ 3525651 h 6858000"/>
              <a:gd name="connsiteX60" fmla="*/ 398728 w 7360592"/>
              <a:gd name="connsiteY60" fmla="*/ 3520715 h 6858000"/>
              <a:gd name="connsiteX61" fmla="*/ 395530 w 7360592"/>
              <a:gd name="connsiteY61" fmla="*/ 3505412 h 6858000"/>
              <a:gd name="connsiteX62" fmla="*/ 402719 w 7360592"/>
              <a:gd name="connsiteY62" fmla="*/ 3493445 h 6858000"/>
              <a:gd name="connsiteX63" fmla="*/ 409328 w 7360592"/>
              <a:gd name="connsiteY63" fmla="*/ 3467406 h 6858000"/>
              <a:gd name="connsiteX64" fmla="*/ 409292 w 7360592"/>
              <a:gd name="connsiteY64" fmla="*/ 3460033 h 6858000"/>
              <a:gd name="connsiteX65" fmla="*/ 419755 w 7360592"/>
              <a:gd name="connsiteY65" fmla="*/ 3435495 h 6858000"/>
              <a:gd name="connsiteX66" fmla="*/ 430771 w 7360592"/>
              <a:gd name="connsiteY66" fmla="*/ 3395884 h 6858000"/>
              <a:gd name="connsiteX67" fmla="*/ 439140 w 7360592"/>
              <a:gd name="connsiteY67" fmla="*/ 3350083 h 6858000"/>
              <a:gd name="connsiteX68" fmla="*/ 446544 w 7360592"/>
              <a:gd name="connsiteY68" fmla="*/ 3337690 h 6858000"/>
              <a:gd name="connsiteX69" fmla="*/ 470731 w 7360592"/>
              <a:gd name="connsiteY69" fmla="*/ 3254519 h 6858000"/>
              <a:gd name="connsiteX70" fmla="*/ 477713 w 7360592"/>
              <a:gd name="connsiteY70" fmla="*/ 3231166 h 6858000"/>
              <a:gd name="connsiteX71" fmla="*/ 478087 w 7360592"/>
              <a:gd name="connsiteY71" fmla="*/ 3210262 h 6858000"/>
              <a:gd name="connsiteX72" fmla="*/ 473269 w 7360592"/>
              <a:gd name="connsiteY72" fmla="*/ 3204689 h 6858000"/>
              <a:gd name="connsiteX73" fmla="*/ 476207 w 7360592"/>
              <a:gd name="connsiteY73" fmla="*/ 3191713 h 6858000"/>
              <a:gd name="connsiteX74" fmla="*/ 475813 w 7360592"/>
              <a:gd name="connsiteY74" fmla="*/ 3188085 h 6858000"/>
              <a:gd name="connsiteX75" fmla="*/ 474728 w 7360592"/>
              <a:gd name="connsiteY75" fmla="*/ 3167471 h 6858000"/>
              <a:gd name="connsiteX76" fmla="*/ 501612 w 7360592"/>
              <a:gd name="connsiteY76" fmla="*/ 3127774 h 6858000"/>
              <a:gd name="connsiteX77" fmla="*/ 510667 w 7360592"/>
              <a:gd name="connsiteY77" fmla="*/ 3075380 h 6858000"/>
              <a:gd name="connsiteX78" fmla="*/ 582379 w 7360592"/>
              <a:gd name="connsiteY78" fmla="*/ 2882573 h 6858000"/>
              <a:gd name="connsiteX79" fmla="*/ 569744 w 7360592"/>
              <a:gd name="connsiteY79" fmla="*/ 2849169 h 6858000"/>
              <a:gd name="connsiteX80" fmla="*/ 590685 w 7360592"/>
              <a:gd name="connsiteY80" fmla="*/ 2768869 h 6858000"/>
              <a:gd name="connsiteX81" fmla="*/ 665292 w 7360592"/>
              <a:gd name="connsiteY81" fmla="*/ 2655182 h 6858000"/>
              <a:gd name="connsiteX82" fmla="*/ 705757 w 7360592"/>
              <a:gd name="connsiteY82" fmla="*/ 2507872 h 6858000"/>
              <a:gd name="connsiteX83" fmla="*/ 717932 w 7360592"/>
              <a:gd name="connsiteY83" fmla="*/ 2498916 h 6858000"/>
              <a:gd name="connsiteX84" fmla="*/ 727017 w 7360592"/>
              <a:gd name="connsiteY84" fmla="*/ 2486382 h 6858000"/>
              <a:gd name="connsiteX85" fmla="*/ 726741 w 7360592"/>
              <a:gd name="connsiteY85" fmla="*/ 2484113 h 6858000"/>
              <a:gd name="connsiteX86" fmla="*/ 733179 w 7360592"/>
              <a:gd name="connsiteY86" fmla="*/ 2467361 h 6858000"/>
              <a:gd name="connsiteX87" fmla="*/ 737364 w 7360592"/>
              <a:gd name="connsiteY87" fmla="*/ 2465156 h 6858000"/>
              <a:gd name="connsiteX88" fmla="*/ 742650 w 7360592"/>
              <a:gd name="connsiteY88" fmla="*/ 2454122 h 6858000"/>
              <a:gd name="connsiteX89" fmla="*/ 755408 w 7360592"/>
              <a:gd name="connsiteY89" fmla="*/ 2433619 h 6858000"/>
              <a:gd name="connsiteX90" fmla="*/ 755598 w 7360592"/>
              <a:gd name="connsiteY90" fmla="*/ 2428626 h 6858000"/>
              <a:gd name="connsiteX91" fmla="*/ 771418 w 7360592"/>
              <a:gd name="connsiteY91" fmla="*/ 2395899 h 6858000"/>
              <a:gd name="connsiteX92" fmla="*/ 770593 w 7360592"/>
              <a:gd name="connsiteY92" fmla="*/ 2394897 h 6858000"/>
              <a:gd name="connsiteX93" fmla="*/ 770497 w 7360592"/>
              <a:gd name="connsiteY93" fmla="*/ 2383267 h 6858000"/>
              <a:gd name="connsiteX94" fmla="*/ 772693 w 7360592"/>
              <a:gd name="connsiteY94" fmla="*/ 2362296 h 6858000"/>
              <a:gd name="connsiteX95" fmla="*/ 764846 w 7360592"/>
              <a:gd name="connsiteY95" fmla="*/ 2307129 h 6858000"/>
              <a:gd name="connsiteX96" fmla="*/ 781226 w 7360592"/>
              <a:gd name="connsiteY96" fmla="*/ 2272947 h 6858000"/>
              <a:gd name="connsiteX97" fmla="*/ 783960 w 7360592"/>
              <a:gd name="connsiteY97" fmla="*/ 2265753 h 6858000"/>
              <a:gd name="connsiteX98" fmla="*/ 783783 w 7360592"/>
              <a:gd name="connsiteY98" fmla="*/ 2265478 h 6858000"/>
              <a:gd name="connsiteX99" fmla="*/ 786206 w 7360592"/>
              <a:gd name="connsiteY99" fmla="*/ 2257630 h 6858000"/>
              <a:gd name="connsiteX100" fmla="*/ 788946 w 7360592"/>
              <a:gd name="connsiteY100" fmla="*/ 2252635 h 6858000"/>
              <a:gd name="connsiteX101" fmla="*/ 794250 w 7360592"/>
              <a:gd name="connsiteY101" fmla="*/ 2238675 h 6858000"/>
              <a:gd name="connsiteX102" fmla="*/ 794536 w 7360592"/>
              <a:gd name="connsiteY102" fmla="*/ 2233003 h 6858000"/>
              <a:gd name="connsiteX103" fmla="*/ 792429 w 7360592"/>
              <a:gd name="connsiteY103" fmla="*/ 2229498 h 6858000"/>
              <a:gd name="connsiteX104" fmla="*/ 793227 w 7360592"/>
              <a:gd name="connsiteY104" fmla="*/ 2228401 h 6858000"/>
              <a:gd name="connsiteX105" fmla="*/ 795299 w 7360592"/>
              <a:gd name="connsiteY105" fmla="*/ 2197903 h 6858000"/>
              <a:gd name="connsiteX106" fmla="*/ 808822 w 7360592"/>
              <a:gd name="connsiteY106" fmla="*/ 2134368 h 6858000"/>
              <a:gd name="connsiteX107" fmla="*/ 820138 w 7360592"/>
              <a:gd name="connsiteY107" fmla="*/ 2099989 h 6858000"/>
              <a:gd name="connsiteX108" fmla="*/ 847225 w 7360592"/>
              <a:gd name="connsiteY108" fmla="*/ 2003626 h 6858000"/>
              <a:gd name="connsiteX109" fmla="*/ 871446 w 7360592"/>
              <a:gd name="connsiteY109" fmla="*/ 1905232 h 6858000"/>
              <a:gd name="connsiteX110" fmla="*/ 866894 w 7360592"/>
              <a:gd name="connsiteY110" fmla="*/ 1846725 h 6858000"/>
              <a:gd name="connsiteX111" fmla="*/ 868241 w 7360592"/>
              <a:gd name="connsiteY111" fmla="*/ 1841071 h 6858000"/>
              <a:gd name="connsiteX112" fmla="*/ 875742 w 7360592"/>
              <a:gd name="connsiteY112" fmla="*/ 1828958 h 6858000"/>
              <a:gd name="connsiteX113" fmla="*/ 879192 w 7360592"/>
              <a:gd name="connsiteY113" fmla="*/ 1824953 h 6858000"/>
              <a:gd name="connsiteX114" fmla="*/ 882790 w 7360592"/>
              <a:gd name="connsiteY114" fmla="*/ 1817574 h 6858000"/>
              <a:gd name="connsiteX115" fmla="*/ 886658 w 7360592"/>
              <a:gd name="connsiteY115" fmla="*/ 1811329 h 6858000"/>
              <a:gd name="connsiteX116" fmla="*/ 1021695 w 7360592"/>
              <a:gd name="connsiteY116" fmla="*/ 1753240 h 6858000"/>
              <a:gd name="connsiteX117" fmla="*/ 1109428 w 7360592"/>
              <a:gd name="connsiteY117" fmla="*/ 1570998 h 6858000"/>
              <a:gd name="connsiteX118" fmla="*/ 1250520 w 7360592"/>
              <a:gd name="connsiteY118" fmla="*/ 1425857 h 6858000"/>
              <a:gd name="connsiteX119" fmla="*/ 1320087 w 7360592"/>
              <a:gd name="connsiteY119" fmla="*/ 1339305 h 6858000"/>
              <a:gd name="connsiteX120" fmla="*/ 1496269 w 7360592"/>
              <a:gd name="connsiteY120" fmla="*/ 1094720 h 6858000"/>
              <a:gd name="connsiteX121" fmla="*/ 1516735 w 7360592"/>
              <a:gd name="connsiteY121" fmla="*/ 913489 h 6858000"/>
              <a:gd name="connsiteX122" fmla="*/ 1518279 w 7360592"/>
              <a:gd name="connsiteY122" fmla="*/ 802489 h 6858000"/>
              <a:gd name="connsiteX123" fmla="*/ 1589359 w 7360592"/>
              <a:gd name="connsiteY123" fmla="*/ 598702 h 6858000"/>
              <a:gd name="connsiteX124" fmla="*/ 1674468 w 7360592"/>
              <a:gd name="connsiteY124" fmla="*/ 380053 h 6858000"/>
              <a:gd name="connsiteX125" fmla="*/ 1713442 w 7360592"/>
              <a:gd name="connsiteY125" fmla="*/ 307108 h 6858000"/>
              <a:gd name="connsiteX126" fmla="*/ 1723372 w 7360592"/>
              <a:gd name="connsiteY126" fmla="*/ 277643 h 6858000"/>
              <a:gd name="connsiteX127" fmla="*/ 1740253 w 7360592"/>
              <a:gd name="connsiteY127" fmla="*/ 228503 h 6858000"/>
              <a:gd name="connsiteX128" fmla="*/ 1743263 w 7360592"/>
              <a:gd name="connsiteY128" fmla="*/ 182970 h 6858000"/>
              <a:gd name="connsiteX129" fmla="*/ 1761186 w 7360592"/>
              <a:gd name="connsiteY129" fmla="*/ 145367 h 6858000"/>
              <a:gd name="connsiteX130" fmla="*/ 1777775 w 7360592"/>
              <a:gd name="connsiteY130" fmla="*/ 148014 h 6858000"/>
              <a:gd name="connsiteX131" fmla="*/ 1792914 w 7360592"/>
              <a:gd name="connsiteY131" fmla="*/ 104094 h 6858000"/>
              <a:gd name="connsiteX132" fmla="*/ 1814516 w 7360592"/>
              <a:gd name="connsiteY132" fmla="*/ 36224 h 6858000"/>
              <a:gd name="connsiteX133" fmla="*/ 1821598 w 7360592"/>
              <a:gd name="connsiteY133" fmla="*/ 28008 h 6858000"/>
              <a:gd name="connsiteX134" fmla="*/ 1813947 w 7360592"/>
              <a:gd name="connsiteY134" fmla="*/ 11863 h 6858000"/>
              <a:gd name="connsiteX135" fmla="*/ 1814929 w 7360592"/>
              <a:gd name="connsiteY135" fmla="*/ 0 h 6858000"/>
              <a:gd name="connsiteX0" fmla="*/ 1814929 w 7360592"/>
              <a:gd name="connsiteY0" fmla="*/ 0 h 6858000"/>
              <a:gd name="connsiteX1" fmla="*/ 7349959 w 7360592"/>
              <a:gd name="connsiteY1" fmla="*/ 0 h 6858000"/>
              <a:gd name="connsiteX2" fmla="*/ 7360592 w 7360592"/>
              <a:gd name="connsiteY2" fmla="*/ 6858000 h 6858000"/>
              <a:gd name="connsiteX3" fmla="*/ 0 w 7360592"/>
              <a:gd name="connsiteY3" fmla="*/ 6858000 h 6858000"/>
              <a:gd name="connsiteX4" fmla="*/ 2310 w 7360592"/>
              <a:gd name="connsiteY4" fmla="*/ 6853652 h 6858000"/>
              <a:gd name="connsiteX5" fmla="*/ 91006 w 7360592"/>
              <a:gd name="connsiteY5" fmla="*/ 6620968 h 6858000"/>
              <a:gd name="connsiteX6" fmla="*/ 81892 w 7360592"/>
              <a:gd name="connsiteY6" fmla="*/ 6435659 h 6858000"/>
              <a:gd name="connsiteX7" fmla="*/ 80998 w 7360592"/>
              <a:gd name="connsiteY7" fmla="*/ 6414855 h 6858000"/>
              <a:gd name="connsiteX8" fmla="*/ 75836 w 7360592"/>
              <a:gd name="connsiteY8" fmla="*/ 6409671 h 6858000"/>
              <a:gd name="connsiteX9" fmla="*/ 77989 w 7360592"/>
              <a:gd name="connsiteY9" fmla="*/ 6396556 h 6858000"/>
              <a:gd name="connsiteX10" fmla="*/ 77374 w 7360592"/>
              <a:gd name="connsiteY10" fmla="*/ 6392981 h 6858000"/>
              <a:gd name="connsiteX11" fmla="*/ 75036 w 7360592"/>
              <a:gd name="connsiteY11" fmla="*/ 6372572 h 6858000"/>
              <a:gd name="connsiteX12" fmla="*/ 99554 w 7360592"/>
              <a:gd name="connsiteY12" fmla="*/ 6331118 h 6858000"/>
              <a:gd name="connsiteX13" fmla="*/ 105442 w 7360592"/>
              <a:gd name="connsiteY13" fmla="*/ 6278374 h 6858000"/>
              <a:gd name="connsiteX14" fmla="*/ 172914 w 7360592"/>
              <a:gd name="connsiteY14" fmla="*/ 6144628 h 6858000"/>
              <a:gd name="connsiteX15" fmla="*/ 264181 w 7360592"/>
              <a:gd name="connsiteY15" fmla="*/ 5952072 h 6858000"/>
              <a:gd name="connsiteX16" fmla="*/ 423554 w 7360592"/>
              <a:gd name="connsiteY16" fmla="*/ 5679532 h 6858000"/>
              <a:gd name="connsiteX17" fmla="*/ 485571 w 7360592"/>
              <a:gd name="connsiteY17" fmla="*/ 5396320 h 6858000"/>
              <a:gd name="connsiteX18" fmla="*/ 455275 w 7360592"/>
              <a:gd name="connsiteY18" fmla="*/ 5176878 h 6858000"/>
              <a:gd name="connsiteX19" fmla="*/ 367284 w 7360592"/>
              <a:gd name="connsiteY19" fmla="*/ 5066430 h 6858000"/>
              <a:gd name="connsiteX20" fmla="*/ 317365 w 7360592"/>
              <a:gd name="connsiteY20" fmla="*/ 5016642 h 6858000"/>
              <a:gd name="connsiteX21" fmla="*/ 317834 w 7360592"/>
              <a:gd name="connsiteY21" fmla="*/ 5008528 h 6858000"/>
              <a:gd name="connsiteX22" fmla="*/ 317591 w 7360592"/>
              <a:gd name="connsiteY22" fmla="*/ 5008366 h 6858000"/>
              <a:gd name="connsiteX23" fmla="*/ 318532 w 7360592"/>
              <a:gd name="connsiteY23" fmla="*/ 5000689 h 6858000"/>
              <a:gd name="connsiteX24" fmla="*/ 326373 w 7360592"/>
              <a:gd name="connsiteY24" fmla="*/ 4962649 h 6858000"/>
              <a:gd name="connsiteX25" fmla="*/ 304517 w 7360592"/>
              <a:gd name="connsiteY25" fmla="*/ 4845612 h 6858000"/>
              <a:gd name="connsiteX26" fmla="*/ 312138 w 7360592"/>
              <a:gd name="connsiteY26" fmla="*/ 4821435 h 6858000"/>
              <a:gd name="connsiteX27" fmla="*/ 314669 w 7360592"/>
              <a:gd name="connsiteY27" fmla="*/ 4809154 h 6858000"/>
              <a:gd name="connsiteX28" fmla="*/ 318283 w 7360592"/>
              <a:gd name="connsiteY28" fmla="*/ 4805250 h 6858000"/>
              <a:gd name="connsiteX29" fmla="*/ 320547 w 7360592"/>
              <a:gd name="connsiteY29" fmla="*/ 4787345 h 6858000"/>
              <a:gd name="connsiteX30" fmla="*/ 319715 w 7360592"/>
              <a:gd name="connsiteY30" fmla="*/ 4785453 h 6858000"/>
              <a:gd name="connsiteX31" fmla="*/ 325649 w 7360592"/>
              <a:gd name="connsiteY31" fmla="*/ 4770073 h 6858000"/>
              <a:gd name="connsiteX32" fmla="*/ 335542 w 7360592"/>
              <a:gd name="connsiteY32" fmla="*/ 4756450 h 6858000"/>
              <a:gd name="connsiteX33" fmla="*/ 339391 w 7360592"/>
              <a:gd name="connsiteY33" fmla="*/ 4606479 h 6858000"/>
              <a:gd name="connsiteX34" fmla="*/ 385485 w 7360592"/>
              <a:gd name="connsiteY34" fmla="*/ 4470620 h 6858000"/>
              <a:gd name="connsiteX35" fmla="*/ 386474 w 7360592"/>
              <a:gd name="connsiteY35" fmla="*/ 4389388 h 6858000"/>
              <a:gd name="connsiteX36" fmla="*/ 365661 w 7360592"/>
              <a:gd name="connsiteY36" fmla="*/ 4365498 h 6858000"/>
              <a:gd name="connsiteX37" fmla="*/ 389339 w 7360592"/>
              <a:gd name="connsiteY37" fmla="*/ 4160513 h 6858000"/>
              <a:gd name="connsiteX38" fmla="*/ 385403 w 7360592"/>
              <a:gd name="connsiteY38" fmla="*/ 4109650 h 6858000"/>
              <a:gd name="connsiteX39" fmla="*/ 402327 w 7360592"/>
              <a:gd name="connsiteY39" fmla="*/ 4061824 h 6858000"/>
              <a:gd name="connsiteX40" fmla="*/ 396156 w 7360592"/>
              <a:gd name="connsiteY40" fmla="*/ 4043965 h 6858000"/>
              <a:gd name="connsiteX41" fmla="*/ 394868 w 7360592"/>
              <a:gd name="connsiteY41" fmla="*/ 4040920 h 6858000"/>
              <a:gd name="connsiteX42" fmla="*/ 394584 w 7360592"/>
              <a:gd name="connsiteY42" fmla="*/ 4028000 h 6858000"/>
              <a:gd name="connsiteX43" fmla="*/ 388418 w 7360592"/>
              <a:gd name="connsiteY43" fmla="*/ 4025270 h 6858000"/>
              <a:gd name="connsiteX44" fmla="*/ 383628 w 7360592"/>
              <a:gd name="connsiteY44" fmla="*/ 4006478 h 6858000"/>
              <a:gd name="connsiteX45" fmla="*/ 384802 w 7360592"/>
              <a:gd name="connsiteY45" fmla="*/ 3982442 h 6858000"/>
              <a:gd name="connsiteX46" fmla="*/ 397167 w 7360592"/>
              <a:gd name="connsiteY46" fmla="*/ 3867331 h 6858000"/>
              <a:gd name="connsiteX47" fmla="*/ 400691 w 7360592"/>
              <a:gd name="connsiteY47" fmla="*/ 3798966 h 6858000"/>
              <a:gd name="connsiteX48" fmla="*/ 395946 w 7360592"/>
              <a:gd name="connsiteY48" fmla="*/ 3773791 h 6858000"/>
              <a:gd name="connsiteX49" fmla="*/ 393410 w 7360592"/>
              <a:gd name="connsiteY49" fmla="*/ 3738098 h 6858000"/>
              <a:gd name="connsiteX50" fmla="*/ 384223 w 7360592"/>
              <a:gd name="connsiteY50" fmla="*/ 3675719 h 6858000"/>
              <a:gd name="connsiteX51" fmla="*/ 386290 w 7360592"/>
              <a:gd name="connsiteY51" fmla="*/ 3642763 h 6858000"/>
              <a:gd name="connsiteX52" fmla="*/ 382514 w 7360592"/>
              <a:gd name="connsiteY52" fmla="*/ 3624093 h 6858000"/>
              <a:gd name="connsiteX53" fmla="*/ 383976 w 7360592"/>
              <a:gd name="connsiteY53" fmla="*/ 3616602 h 6858000"/>
              <a:gd name="connsiteX54" fmla="*/ 385517 w 7360592"/>
              <a:gd name="connsiteY54" fmla="*/ 3591527 h 6858000"/>
              <a:gd name="connsiteX55" fmla="*/ 387146 w 7360592"/>
              <a:gd name="connsiteY55" fmla="*/ 3577241 h 6858000"/>
              <a:gd name="connsiteX56" fmla="*/ 388068 w 7360592"/>
              <a:gd name="connsiteY56" fmla="*/ 3571585 h 6858000"/>
              <a:gd name="connsiteX57" fmla="*/ 395496 w 7360592"/>
              <a:gd name="connsiteY57" fmla="*/ 3559720 h 6858000"/>
              <a:gd name="connsiteX58" fmla="*/ 394985 w 7360592"/>
              <a:gd name="connsiteY58" fmla="*/ 3543047 h 6858000"/>
              <a:gd name="connsiteX59" fmla="*/ 403028 w 7360592"/>
              <a:gd name="connsiteY59" fmla="*/ 3525651 h 6858000"/>
              <a:gd name="connsiteX60" fmla="*/ 398728 w 7360592"/>
              <a:gd name="connsiteY60" fmla="*/ 3520715 h 6858000"/>
              <a:gd name="connsiteX61" fmla="*/ 395530 w 7360592"/>
              <a:gd name="connsiteY61" fmla="*/ 3505412 h 6858000"/>
              <a:gd name="connsiteX62" fmla="*/ 402719 w 7360592"/>
              <a:gd name="connsiteY62" fmla="*/ 3493445 h 6858000"/>
              <a:gd name="connsiteX63" fmla="*/ 409328 w 7360592"/>
              <a:gd name="connsiteY63" fmla="*/ 3467406 h 6858000"/>
              <a:gd name="connsiteX64" fmla="*/ 409292 w 7360592"/>
              <a:gd name="connsiteY64" fmla="*/ 3460033 h 6858000"/>
              <a:gd name="connsiteX65" fmla="*/ 419755 w 7360592"/>
              <a:gd name="connsiteY65" fmla="*/ 3435495 h 6858000"/>
              <a:gd name="connsiteX66" fmla="*/ 430771 w 7360592"/>
              <a:gd name="connsiteY66" fmla="*/ 3395884 h 6858000"/>
              <a:gd name="connsiteX67" fmla="*/ 439140 w 7360592"/>
              <a:gd name="connsiteY67" fmla="*/ 3350083 h 6858000"/>
              <a:gd name="connsiteX68" fmla="*/ 446544 w 7360592"/>
              <a:gd name="connsiteY68" fmla="*/ 3337690 h 6858000"/>
              <a:gd name="connsiteX69" fmla="*/ 470731 w 7360592"/>
              <a:gd name="connsiteY69" fmla="*/ 3254519 h 6858000"/>
              <a:gd name="connsiteX70" fmla="*/ 477713 w 7360592"/>
              <a:gd name="connsiteY70" fmla="*/ 3231166 h 6858000"/>
              <a:gd name="connsiteX71" fmla="*/ 478087 w 7360592"/>
              <a:gd name="connsiteY71" fmla="*/ 3210262 h 6858000"/>
              <a:gd name="connsiteX72" fmla="*/ 473269 w 7360592"/>
              <a:gd name="connsiteY72" fmla="*/ 3204689 h 6858000"/>
              <a:gd name="connsiteX73" fmla="*/ 476207 w 7360592"/>
              <a:gd name="connsiteY73" fmla="*/ 3191713 h 6858000"/>
              <a:gd name="connsiteX74" fmla="*/ 475813 w 7360592"/>
              <a:gd name="connsiteY74" fmla="*/ 3188085 h 6858000"/>
              <a:gd name="connsiteX75" fmla="*/ 474728 w 7360592"/>
              <a:gd name="connsiteY75" fmla="*/ 3167471 h 6858000"/>
              <a:gd name="connsiteX76" fmla="*/ 501612 w 7360592"/>
              <a:gd name="connsiteY76" fmla="*/ 3127774 h 6858000"/>
              <a:gd name="connsiteX77" fmla="*/ 510667 w 7360592"/>
              <a:gd name="connsiteY77" fmla="*/ 3075380 h 6858000"/>
              <a:gd name="connsiteX78" fmla="*/ 582379 w 7360592"/>
              <a:gd name="connsiteY78" fmla="*/ 2882573 h 6858000"/>
              <a:gd name="connsiteX79" fmla="*/ 569744 w 7360592"/>
              <a:gd name="connsiteY79" fmla="*/ 2849169 h 6858000"/>
              <a:gd name="connsiteX80" fmla="*/ 590685 w 7360592"/>
              <a:gd name="connsiteY80" fmla="*/ 2768869 h 6858000"/>
              <a:gd name="connsiteX81" fmla="*/ 665292 w 7360592"/>
              <a:gd name="connsiteY81" fmla="*/ 2655182 h 6858000"/>
              <a:gd name="connsiteX82" fmla="*/ 705757 w 7360592"/>
              <a:gd name="connsiteY82" fmla="*/ 2507872 h 6858000"/>
              <a:gd name="connsiteX83" fmla="*/ 717932 w 7360592"/>
              <a:gd name="connsiteY83" fmla="*/ 2498916 h 6858000"/>
              <a:gd name="connsiteX84" fmla="*/ 727017 w 7360592"/>
              <a:gd name="connsiteY84" fmla="*/ 2486382 h 6858000"/>
              <a:gd name="connsiteX85" fmla="*/ 726741 w 7360592"/>
              <a:gd name="connsiteY85" fmla="*/ 2484113 h 6858000"/>
              <a:gd name="connsiteX86" fmla="*/ 733179 w 7360592"/>
              <a:gd name="connsiteY86" fmla="*/ 2467361 h 6858000"/>
              <a:gd name="connsiteX87" fmla="*/ 737364 w 7360592"/>
              <a:gd name="connsiteY87" fmla="*/ 2465156 h 6858000"/>
              <a:gd name="connsiteX88" fmla="*/ 742650 w 7360592"/>
              <a:gd name="connsiteY88" fmla="*/ 2454122 h 6858000"/>
              <a:gd name="connsiteX89" fmla="*/ 755408 w 7360592"/>
              <a:gd name="connsiteY89" fmla="*/ 2433619 h 6858000"/>
              <a:gd name="connsiteX90" fmla="*/ 755598 w 7360592"/>
              <a:gd name="connsiteY90" fmla="*/ 2428626 h 6858000"/>
              <a:gd name="connsiteX91" fmla="*/ 771418 w 7360592"/>
              <a:gd name="connsiteY91" fmla="*/ 2395899 h 6858000"/>
              <a:gd name="connsiteX92" fmla="*/ 770593 w 7360592"/>
              <a:gd name="connsiteY92" fmla="*/ 2394897 h 6858000"/>
              <a:gd name="connsiteX93" fmla="*/ 770497 w 7360592"/>
              <a:gd name="connsiteY93" fmla="*/ 2383267 h 6858000"/>
              <a:gd name="connsiteX94" fmla="*/ 772693 w 7360592"/>
              <a:gd name="connsiteY94" fmla="*/ 2362296 h 6858000"/>
              <a:gd name="connsiteX95" fmla="*/ 764846 w 7360592"/>
              <a:gd name="connsiteY95" fmla="*/ 2307129 h 6858000"/>
              <a:gd name="connsiteX96" fmla="*/ 781226 w 7360592"/>
              <a:gd name="connsiteY96" fmla="*/ 2272947 h 6858000"/>
              <a:gd name="connsiteX97" fmla="*/ 783960 w 7360592"/>
              <a:gd name="connsiteY97" fmla="*/ 2265753 h 6858000"/>
              <a:gd name="connsiteX98" fmla="*/ 783783 w 7360592"/>
              <a:gd name="connsiteY98" fmla="*/ 2265478 h 6858000"/>
              <a:gd name="connsiteX99" fmla="*/ 786206 w 7360592"/>
              <a:gd name="connsiteY99" fmla="*/ 2257630 h 6858000"/>
              <a:gd name="connsiteX100" fmla="*/ 788946 w 7360592"/>
              <a:gd name="connsiteY100" fmla="*/ 2252635 h 6858000"/>
              <a:gd name="connsiteX101" fmla="*/ 794250 w 7360592"/>
              <a:gd name="connsiteY101" fmla="*/ 2238675 h 6858000"/>
              <a:gd name="connsiteX102" fmla="*/ 794536 w 7360592"/>
              <a:gd name="connsiteY102" fmla="*/ 2233003 h 6858000"/>
              <a:gd name="connsiteX103" fmla="*/ 792429 w 7360592"/>
              <a:gd name="connsiteY103" fmla="*/ 2229498 h 6858000"/>
              <a:gd name="connsiteX104" fmla="*/ 793227 w 7360592"/>
              <a:gd name="connsiteY104" fmla="*/ 2228401 h 6858000"/>
              <a:gd name="connsiteX105" fmla="*/ 795299 w 7360592"/>
              <a:gd name="connsiteY105" fmla="*/ 2197903 h 6858000"/>
              <a:gd name="connsiteX106" fmla="*/ 808822 w 7360592"/>
              <a:gd name="connsiteY106" fmla="*/ 2134368 h 6858000"/>
              <a:gd name="connsiteX107" fmla="*/ 820138 w 7360592"/>
              <a:gd name="connsiteY107" fmla="*/ 2099989 h 6858000"/>
              <a:gd name="connsiteX108" fmla="*/ 847225 w 7360592"/>
              <a:gd name="connsiteY108" fmla="*/ 2003626 h 6858000"/>
              <a:gd name="connsiteX109" fmla="*/ 871446 w 7360592"/>
              <a:gd name="connsiteY109" fmla="*/ 1905232 h 6858000"/>
              <a:gd name="connsiteX110" fmla="*/ 866894 w 7360592"/>
              <a:gd name="connsiteY110" fmla="*/ 1846725 h 6858000"/>
              <a:gd name="connsiteX111" fmla="*/ 868241 w 7360592"/>
              <a:gd name="connsiteY111" fmla="*/ 1841071 h 6858000"/>
              <a:gd name="connsiteX112" fmla="*/ 875742 w 7360592"/>
              <a:gd name="connsiteY112" fmla="*/ 1828958 h 6858000"/>
              <a:gd name="connsiteX113" fmla="*/ 879192 w 7360592"/>
              <a:gd name="connsiteY113" fmla="*/ 1824953 h 6858000"/>
              <a:gd name="connsiteX114" fmla="*/ 882790 w 7360592"/>
              <a:gd name="connsiteY114" fmla="*/ 1817574 h 6858000"/>
              <a:gd name="connsiteX115" fmla="*/ 938174 w 7360592"/>
              <a:gd name="connsiteY115" fmla="*/ 1837086 h 6858000"/>
              <a:gd name="connsiteX116" fmla="*/ 1021695 w 7360592"/>
              <a:gd name="connsiteY116" fmla="*/ 1753240 h 6858000"/>
              <a:gd name="connsiteX117" fmla="*/ 1109428 w 7360592"/>
              <a:gd name="connsiteY117" fmla="*/ 1570998 h 6858000"/>
              <a:gd name="connsiteX118" fmla="*/ 1250520 w 7360592"/>
              <a:gd name="connsiteY118" fmla="*/ 1425857 h 6858000"/>
              <a:gd name="connsiteX119" fmla="*/ 1320087 w 7360592"/>
              <a:gd name="connsiteY119" fmla="*/ 1339305 h 6858000"/>
              <a:gd name="connsiteX120" fmla="*/ 1496269 w 7360592"/>
              <a:gd name="connsiteY120" fmla="*/ 1094720 h 6858000"/>
              <a:gd name="connsiteX121" fmla="*/ 1516735 w 7360592"/>
              <a:gd name="connsiteY121" fmla="*/ 913489 h 6858000"/>
              <a:gd name="connsiteX122" fmla="*/ 1518279 w 7360592"/>
              <a:gd name="connsiteY122" fmla="*/ 802489 h 6858000"/>
              <a:gd name="connsiteX123" fmla="*/ 1589359 w 7360592"/>
              <a:gd name="connsiteY123" fmla="*/ 598702 h 6858000"/>
              <a:gd name="connsiteX124" fmla="*/ 1674468 w 7360592"/>
              <a:gd name="connsiteY124" fmla="*/ 380053 h 6858000"/>
              <a:gd name="connsiteX125" fmla="*/ 1713442 w 7360592"/>
              <a:gd name="connsiteY125" fmla="*/ 307108 h 6858000"/>
              <a:gd name="connsiteX126" fmla="*/ 1723372 w 7360592"/>
              <a:gd name="connsiteY126" fmla="*/ 277643 h 6858000"/>
              <a:gd name="connsiteX127" fmla="*/ 1740253 w 7360592"/>
              <a:gd name="connsiteY127" fmla="*/ 228503 h 6858000"/>
              <a:gd name="connsiteX128" fmla="*/ 1743263 w 7360592"/>
              <a:gd name="connsiteY128" fmla="*/ 182970 h 6858000"/>
              <a:gd name="connsiteX129" fmla="*/ 1761186 w 7360592"/>
              <a:gd name="connsiteY129" fmla="*/ 145367 h 6858000"/>
              <a:gd name="connsiteX130" fmla="*/ 1777775 w 7360592"/>
              <a:gd name="connsiteY130" fmla="*/ 148014 h 6858000"/>
              <a:gd name="connsiteX131" fmla="*/ 1792914 w 7360592"/>
              <a:gd name="connsiteY131" fmla="*/ 104094 h 6858000"/>
              <a:gd name="connsiteX132" fmla="*/ 1814516 w 7360592"/>
              <a:gd name="connsiteY132" fmla="*/ 36224 h 6858000"/>
              <a:gd name="connsiteX133" fmla="*/ 1821598 w 7360592"/>
              <a:gd name="connsiteY133" fmla="*/ 28008 h 6858000"/>
              <a:gd name="connsiteX134" fmla="*/ 1813947 w 7360592"/>
              <a:gd name="connsiteY134" fmla="*/ 11863 h 6858000"/>
              <a:gd name="connsiteX135" fmla="*/ 1814929 w 7360592"/>
              <a:gd name="connsiteY135" fmla="*/ 0 h 6858000"/>
              <a:gd name="connsiteX0" fmla="*/ 1814929 w 7360592"/>
              <a:gd name="connsiteY0" fmla="*/ 0 h 6858000"/>
              <a:gd name="connsiteX1" fmla="*/ 7349959 w 7360592"/>
              <a:gd name="connsiteY1" fmla="*/ 0 h 6858000"/>
              <a:gd name="connsiteX2" fmla="*/ 7360592 w 7360592"/>
              <a:gd name="connsiteY2" fmla="*/ 6858000 h 6858000"/>
              <a:gd name="connsiteX3" fmla="*/ 0 w 7360592"/>
              <a:gd name="connsiteY3" fmla="*/ 6858000 h 6858000"/>
              <a:gd name="connsiteX4" fmla="*/ 2310 w 7360592"/>
              <a:gd name="connsiteY4" fmla="*/ 6853652 h 6858000"/>
              <a:gd name="connsiteX5" fmla="*/ 91006 w 7360592"/>
              <a:gd name="connsiteY5" fmla="*/ 6620968 h 6858000"/>
              <a:gd name="connsiteX6" fmla="*/ 81892 w 7360592"/>
              <a:gd name="connsiteY6" fmla="*/ 6435659 h 6858000"/>
              <a:gd name="connsiteX7" fmla="*/ 80998 w 7360592"/>
              <a:gd name="connsiteY7" fmla="*/ 6414855 h 6858000"/>
              <a:gd name="connsiteX8" fmla="*/ 75836 w 7360592"/>
              <a:gd name="connsiteY8" fmla="*/ 6409671 h 6858000"/>
              <a:gd name="connsiteX9" fmla="*/ 77989 w 7360592"/>
              <a:gd name="connsiteY9" fmla="*/ 6396556 h 6858000"/>
              <a:gd name="connsiteX10" fmla="*/ 77374 w 7360592"/>
              <a:gd name="connsiteY10" fmla="*/ 6392981 h 6858000"/>
              <a:gd name="connsiteX11" fmla="*/ 75036 w 7360592"/>
              <a:gd name="connsiteY11" fmla="*/ 6372572 h 6858000"/>
              <a:gd name="connsiteX12" fmla="*/ 99554 w 7360592"/>
              <a:gd name="connsiteY12" fmla="*/ 6331118 h 6858000"/>
              <a:gd name="connsiteX13" fmla="*/ 105442 w 7360592"/>
              <a:gd name="connsiteY13" fmla="*/ 6278374 h 6858000"/>
              <a:gd name="connsiteX14" fmla="*/ 172914 w 7360592"/>
              <a:gd name="connsiteY14" fmla="*/ 6144628 h 6858000"/>
              <a:gd name="connsiteX15" fmla="*/ 264181 w 7360592"/>
              <a:gd name="connsiteY15" fmla="*/ 5952072 h 6858000"/>
              <a:gd name="connsiteX16" fmla="*/ 423554 w 7360592"/>
              <a:gd name="connsiteY16" fmla="*/ 5679532 h 6858000"/>
              <a:gd name="connsiteX17" fmla="*/ 485571 w 7360592"/>
              <a:gd name="connsiteY17" fmla="*/ 5396320 h 6858000"/>
              <a:gd name="connsiteX18" fmla="*/ 416638 w 7360592"/>
              <a:gd name="connsiteY18" fmla="*/ 5202635 h 6858000"/>
              <a:gd name="connsiteX19" fmla="*/ 367284 w 7360592"/>
              <a:gd name="connsiteY19" fmla="*/ 5066430 h 6858000"/>
              <a:gd name="connsiteX20" fmla="*/ 317365 w 7360592"/>
              <a:gd name="connsiteY20" fmla="*/ 5016642 h 6858000"/>
              <a:gd name="connsiteX21" fmla="*/ 317834 w 7360592"/>
              <a:gd name="connsiteY21" fmla="*/ 5008528 h 6858000"/>
              <a:gd name="connsiteX22" fmla="*/ 317591 w 7360592"/>
              <a:gd name="connsiteY22" fmla="*/ 5008366 h 6858000"/>
              <a:gd name="connsiteX23" fmla="*/ 318532 w 7360592"/>
              <a:gd name="connsiteY23" fmla="*/ 5000689 h 6858000"/>
              <a:gd name="connsiteX24" fmla="*/ 326373 w 7360592"/>
              <a:gd name="connsiteY24" fmla="*/ 4962649 h 6858000"/>
              <a:gd name="connsiteX25" fmla="*/ 304517 w 7360592"/>
              <a:gd name="connsiteY25" fmla="*/ 4845612 h 6858000"/>
              <a:gd name="connsiteX26" fmla="*/ 312138 w 7360592"/>
              <a:gd name="connsiteY26" fmla="*/ 4821435 h 6858000"/>
              <a:gd name="connsiteX27" fmla="*/ 314669 w 7360592"/>
              <a:gd name="connsiteY27" fmla="*/ 4809154 h 6858000"/>
              <a:gd name="connsiteX28" fmla="*/ 318283 w 7360592"/>
              <a:gd name="connsiteY28" fmla="*/ 4805250 h 6858000"/>
              <a:gd name="connsiteX29" fmla="*/ 320547 w 7360592"/>
              <a:gd name="connsiteY29" fmla="*/ 4787345 h 6858000"/>
              <a:gd name="connsiteX30" fmla="*/ 319715 w 7360592"/>
              <a:gd name="connsiteY30" fmla="*/ 4785453 h 6858000"/>
              <a:gd name="connsiteX31" fmla="*/ 325649 w 7360592"/>
              <a:gd name="connsiteY31" fmla="*/ 4770073 h 6858000"/>
              <a:gd name="connsiteX32" fmla="*/ 335542 w 7360592"/>
              <a:gd name="connsiteY32" fmla="*/ 4756450 h 6858000"/>
              <a:gd name="connsiteX33" fmla="*/ 339391 w 7360592"/>
              <a:gd name="connsiteY33" fmla="*/ 4606479 h 6858000"/>
              <a:gd name="connsiteX34" fmla="*/ 385485 w 7360592"/>
              <a:gd name="connsiteY34" fmla="*/ 4470620 h 6858000"/>
              <a:gd name="connsiteX35" fmla="*/ 386474 w 7360592"/>
              <a:gd name="connsiteY35" fmla="*/ 4389388 h 6858000"/>
              <a:gd name="connsiteX36" fmla="*/ 365661 w 7360592"/>
              <a:gd name="connsiteY36" fmla="*/ 4365498 h 6858000"/>
              <a:gd name="connsiteX37" fmla="*/ 389339 w 7360592"/>
              <a:gd name="connsiteY37" fmla="*/ 4160513 h 6858000"/>
              <a:gd name="connsiteX38" fmla="*/ 385403 w 7360592"/>
              <a:gd name="connsiteY38" fmla="*/ 4109650 h 6858000"/>
              <a:gd name="connsiteX39" fmla="*/ 402327 w 7360592"/>
              <a:gd name="connsiteY39" fmla="*/ 4061824 h 6858000"/>
              <a:gd name="connsiteX40" fmla="*/ 396156 w 7360592"/>
              <a:gd name="connsiteY40" fmla="*/ 4043965 h 6858000"/>
              <a:gd name="connsiteX41" fmla="*/ 394868 w 7360592"/>
              <a:gd name="connsiteY41" fmla="*/ 4040920 h 6858000"/>
              <a:gd name="connsiteX42" fmla="*/ 394584 w 7360592"/>
              <a:gd name="connsiteY42" fmla="*/ 4028000 h 6858000"/>
              <a:gd name="connsiteX43" fmla="*/ 388418 w 7360592"/>
              <a:gd name="connsiteY43" fmla="*/ 4025270 h 6858000"/>
              <a:gd name="connsiteX44" fmla="*/ 383628 w 7360592"/>
              <a:gd name="connsiteY44" fmla="*/ 4006478 h 6858000"/>
              <a:gd name="connsiteX45" fmla="*/ 384802 w 7360592"/>
              <a:gd name="connsiteY45" fmla="*/ 3982442 h 6858000"/>
              <a:gd name="connsiteX46" fmla="*/ 397167 w 7360592"/>
              <a:gd name="connsiteY46" fmla="*/ 3867331 h 6858000"/>
              <a:gd name="connsiteX47" fmla="*/ 400691 w 7360592"/>
              <a:gd name="connsiteY47" fmla="*/ 3798966 h 6858000"/>
              <a:gd name="connsiteX48" fmla="*/ 395946 w 7360592"/>
              <a:gd name="connsiteY48" fmla="*/ 3773791 h 6858000"/>
              <a:gd name="connsiteX49" fmla="*/ 393410 w 7360592"/>
              <a:gd name="connsiteY49" fmla="*/ 3738098 h 6858000"/>
              <a:gd name="connsiteX50" fmla="*/ 384223 w 7360592"/>
              <a:gd name="connsiteY50" fmla="*/ 3675719 h 6858000"/>
              <a:gd name="connsiteX51" fmla="*/ 386290 w 7360592"/>
              <a:gd name="connsiteY51" fmla="*/ 3642763 h 6858000"/>
              <a:gd name="connsiteX52" fmla="*/ 382514 w 7360592"/>
              <a:gd name="connsiteY52" fmla="*/ 3624093 h 6858000"/>
              <a:gd name="connsiteX53" fmla="*/ 383976 w 7360592"/>
              <a:gd name="connsiteY53" fmla="*/ 3616602 h 6858000"/>
              <a:gd name="connsiteX54" fmla="*/ 385517 w 7360592"/>
              <a:gd name="connsiteY54" fmla="*/ 3591527 h 6858000"/>
              <a:gd name="connsiteX55" fmla="*/ 387146 w 7360592"/>
              <a:gd name="connsiteY55" fmla="*/ 3577241 h 6858000"/>
              <a:gd name="connsiteX56" fmla="*/ 388068 w 7360592"/>
              <a:gd name="connsiteY56" fmla="*/ 3571585 h 6858000"/>
              <a:gd name="connsiteX57" fmla="*/ 395496 w 7360592"/>
              <a:gd name="connsiteY57" fmla="*/ 3559720 h 6858000"/>
              <a:gd name="connsiteX58" fmla="*/ 394985 w 7360592"/>
              <a:gd name="connsiteY58" fmla="*/ 3543047 h 6858000"/>
              <a:gd name="connsiteX59" fmla="*/ 403028 w 7360592"/>
              <a:gd name="connsiteY59" fmla="*/ 3525651 h 6858000"/>
              <a:gd name="connsiteX60" fmla="*/ 398728 w 7360592"/>
              <a:gd name="connsiteY60" fmla="*/ 3520715 h 6858000"/>
              <a:gd name="connsiteX61" fmla="*/ 395530 w 7360592"/>
              <a:gd name="connsiteY61" fmla="*/ 3505412 h 6858000"/>
              <a:gd name="connsiteX62" fmla="*/ 402719 w 7360592"/>
              <a:gd name="connsiteY62" fmla="*/ 3493445 h 6858000"/>
              <a:gd name="connsiteX63" fmla="*/ 409328 w 7360592"/>
              <a:gd name="connsiteY63" fmla="*/ 3467406 h 6858000"/>
              <a:gd name="connsiteX64" fmla="*/ 409292 w 7360592"/>
              <a:gd name="connsiteY64" fmla="*/ 3460033 h 6858000"/>
              <a:gd name="connsiteX65" fmla="*/ 419755 w 7360592"/>
              <a:gd name="connsiteY65" fmla="*/ 3435495 h 6858000"/>
              <a:gd name="connsiteX66" fmla="*/ 430771 w 7360592"/>
              <a:gd name="connsiteY66" fmla="*/ 3395884 h 6858000"/>
              <a:gd name="connsiteX67" fmla="*/ 439140 w 7360592"/>
              <a:gd name="connsiteY67" fmla="*/ 3350083 h 6858000"/>
              <a:gd name="connsiteX68" fmla="*/ 446544 w 7360592"/>
              <a:gd name="connsiteY68" fmla="*/ 3337690 h 6858000"/>
              <a:gd name="connsiteX69" fmla="*/ 470731 w 7360592"/>
              <a:gd name="connsiteY69" fmla="*/ 3254519 h 6858000"/>
              <a:gd name="connsiteX70" fmla="*/ 477713 w 7360592"/>
              <a:gd name="connsiteY70" fmla="*/ 3231166 h 6858000"/>
              <a:gd name="connsiteX71" fmla="*/ 478087 w 7360592"/>
              <a:gd name="connsiteY71" fmla="*/ 3210262 h 6858000"/>
              <a:gd name="connsiteX72" fmla="*/ 473269 w 7360592"/>
              <a:gd name="connsiteY72" fmla="*/ 3204689 h 6858000"/>
              <a:gd name="connsiteX73" fmla="*/ 476207 w 7360592"/>
              <a:gd name="connsiteY73" fmla="*/ 3191713 h 6858000"/>
              <a:gd name="connsiteX74" fmla="*/ 475813 w 7360592"/>
              <a:gd name="connsiteY74" fmla="*/ 3188085 h 6858000"/>
              <a:gd name="connsiteX75" fmla="*/ 474728 w 7360592"/>
              <a:gd name="connsiteY75" fmla="*/ 3167471 h 6858000"/>
              <a:gd name="connsiteX76" fmla="*/ 501612 w 7360592"/>
              <a:gd name="connsiteY76" fmla="*/ 3127774 h 6858000"/>
              <a:gd name="connsiteX77" fmla="*/ 510667 w 7360592"/>
              <a:gd name="connsiteY77" fmla="*/ 3075380 h 6858000"/>
              <a:gd name="connsiteX78" fmla="*/ 582379 w 7360592"/>
              <a:gd name="connsiteY78" fmla="*/ 2882573 h 6858000"/>
              <a:gd name="connsiteX79" fmla="*/ 569744 w 7360592"/>
              <a:gd name="connsiteY79" fmla="*/ 2849169 h 6858000"/>
              <a:gd name="connsiteX80" fmla="*/ 590685 w 7360592"/>
              <a:gd name="connsiteY80" fmla="*/ 2768869 h 6858000"/>
              <a:gd name="connsiteX81" fmla="*/ 665292 w 7360592"/>
              <a:gd name="connsiteY81" fmla="*/ 2655182 h 6858000"/>
              <a:gd name="connsiteX82" fmla="*/ 705757 w 7360592"/>
              <a:gd name="connsiteY82" fmla="*/ 2507872 h 6858000"/>
              <a:gd name="connsiteX83" fmla="*/ 717932 w 7360592"/>
              <a:gd name="connsiteY83" fmla="*/ 2498916 h 6858000"/>
              <a:gd name="connsiteX84" fmla="*/ 727017 w 7360592"/>
              <a:gd name="connsiteY84" fmla="*/ 2486382 h 6858000"/>
              <a:gd name="connsiteX85" fmla="*/ 726741 w 7360592"/>
              <a:gd name="connsiteY85" fmla="*/ 2484113 h 6858000"/>
              <a:gd name="connsiteX86" fmla="*/ 733179 w 7360592"/>
              <a:gd name="connsiteY86" fmla="*/ 2467361 h 6858000"/>
              <a:gd name="connsiteX87" fmla="*/ 737364 w 7360592"/>
              <a:gd name="connsiteY87" fmla="*/ 2465156 h 6858000"/>
              <a:gd name="connsiteX88" fmla="*/ 742650 w 7360592"/>
              <a:gd name="connsiteY88" fmla="*/ 2454122 h 6858000"/>
              <a:gd name="connsiteX89" fmla="*/ 755408 w 7360592"/>
              <a:gd name="connsiteY89" fmla="*/ 2433619 h 6858000"/>
              <a:gd name="connsiteX90" fmla="*/ 755598 w 7360592"/>
              <a:gd name="connsiteY90" fmla="*/ 2428626 h 6858000"/>
              <a:gd name="connsiteX91" fmla="*/ 771418 w 7360592"/>
              <a:gd name="connsiteY91" fmla="*/ 2395899 h 6858000"/>
              <a:gd name="connsiteX92" fmla="*/ 770593 w 7360592"/>
              <a:gd name="connsiteY92" fmla="*/ 2394897 h 6858000"/>
              <a:gd name="connsiteX93" fmla="*/ 770497 w 7360592"/>
              <a:gd name="connsiteY93" fmla="*/ 2383267 h 6858000"/>
              <a:gd name="connsiteX94" fmla="*/ 772693 w 7360592"/>
              <a:gd name="connsiteY94" fmla="*/ 2362296 h 6858000"/>
              <a:gd name="connsiteX95" fmla="*/ 764846 w 7360592"/>
              <a:gd name="connsiteY95" fmla="*/ 2307129 h 6858000"/>
              <a:gd name="connsiteX96" fmla="*/ 781226 w 7360592"/>
              <a:gd name="connsiteY96" fmla="*/ 2272947 h 6858000"/>
              <a:gd name="connsiteX97" fmla="*/ 783960 w 7360592"/>
              <a:gd name="connsiteY97" fmla="*/ 2265753 h 6858000"/>
              <a:gd name="connsiteX98" fmla="*/ 783783 w 7360592"/>
              <a:gd name="connsiteY98" fmla="*/ 2265478 h 6858000"/>
              <a:gd name="connsiteX99" fmla="*/ 786206 w 7360592"/>
              <a:gd name="connsiteY99" fmla="*/ 2257630 h 6858000"/>
              <a:gd name="connsiteX100" fmla="*/ 788946 w 7360592"/>
              <a:gd name="connsiteY100" fmla="*/ 2252635 h 6858000"/>
              <a:gd name="connsiteX101" fmla="*/ 794250 w 7360592"/>
              <a:gd name="connsiteY101" fmla="*/ 2238675 h 6858000"/>
              <a:gd name="connsiteX102" fmla="*/ 794536 w 7360592"/>
              <a:gd name="connsiteY102" fmla="*/ 2233003 h 6858000"/>
              <a:gd name="connsiteX103" fmla="*/ 792429 w 7360592"/>
              <a:gd name="connsiteY103" fmla="*/ 2229498 h 6858000"/>
              <a:gd name="connsiteX104" fmla="*/ 793227 w 7360592"/>
              <a:gd name="connsiteY104" fmla="*/ 2228401 h 6858000"/>
              <a:gd name="connsiteX105" fmla="*/ 795299 w 7360592"/>
              <a:gd name="connsiteY105" fmla="*/ 2197903 h 6858000"/>
              <a:gd name="connsiteX106" fmla="*/ 808822 w 7360592"/>
              <a:gd name="connsiteY106" fmla="*/ 2134368 h 6858000"/>
              <a:gd name="connsiteX107" fmla="*/ 820138 w 7360592"/>
              <a:gd name="connsiteY107" fmla="*/ 2099989 h 6858000"/>
              <a:gd name="connsiteX108" fmla="*/ 847225 w 7360592"/>
              <a:gd name="connsiteY108" fmla="*/ 2003626 h 6858000"/>
              <a:gd name="connsiteX109" fmla="*/ 871446 w 7360592"/>
              <a:gd name="connsiteY109" fmla="*/ 1905232 h 6858000"/>
              <a:gd name="connsiteX110" fmla="*/ 866894 w 7360592"/>
              <a:gd name="connsiteY110" fmla="*/ 1846725 h 6858000"/>
              <a:gd name="connsiteX111" fmla="*/ 868241 w 7360592"/>
              <a:gd name="connsiteY111" fmla="*/ 1841071 h 6858000"/>
              <a:gd name="connsiteX112" fmla="*/ 875742 w 7360592"/>
              <a:gd name="connsiteY112" fmla="*/ 1828958 h 6858000"/>
              <a:gd name="connsiteX113" fmla="*/ 879192 w 7360592"/>
              <a:gd name="connsiteY113" fmla="*/ 1824953 h 6858000"/>
              <a:gd name="connsiteX114" fmla="*/ 882790 w 7360592"/>
              <a:gd name="connsiteY114" fmla="*/ 1817574 h 6858000"/>
              <a:gd name="connsiteX115" fmla="*/ 938174 w 7360592"/>
              <a:gd name="connsiteY115" fmla="*/ 1837086 h 6858000"/>
              <a:gd name="connsiteX116" fmla="*/ 1021695 w 7360592"/>
              <a:gd name="connsiteY116" fmla="*/ 1753240 h 6858000"/>
              <a:gd name="connsiteX117" fmla="*/ 1109428 w 7360592"/>
              <a:gd name="connsiteY117" fmla="*/ 1570998 h 6858000"/>
              <a:gd name="connsiteX118" fmla="*/ 1250520 w 7360592"/>
              <a:gd name="connsiteY118" fmla="*/ 1425857 h 6858000"/>
              <a:gd name="connsiteX119" fmla="*/ 1320087 w 7360592"/>
              <a:gd name="connsiteY119" fmla="*/ 1339305 h 6858000"/>
              <a:gd name="connsiteX120" fmla="*/ 1496269 w 7360592"/>
              <a:gd name="connsiteY120" fmla="*/ 1094720 h 6858000"/>
              <a:gd name="connsiteX121" fmla="*/ 1516735 w 7360592"/>
              <a:gd name="connsiteY121" fmla="*/ 913489 h 6858000"/>
              <a:gd name="connsiteX122" fmla="*/ 1518279 w 7360592"/>
              <a:gd name="connsiteY122" fmla="*/ 802489 h 6858000"/>
              <a:gd name="connsiteX123" fmla="*/ 1589359 w 7360592"/>
              <a:gd name="connsiteY123" fmla="*/ 598702 h 6858000"/>
              <a:gd name="connsiteX124" fmla="*/ 1674468 w 7360592"/>
              <a:gd name="connsiteY124" fmla="*/ 380053 h 6858000"/>
              <a:gd name="connsiteX125" fmla="*/ 1713442 w 7360592"/>
              <a:gd name="connsiteY125" fmla="*/ 307108 h 6858000"/>
              <a:gd name="connsiteX126" fmla="*/ 1723372 w 7360592"/>
              <a:gd name="connsiteY126" fmla="*/ 277643 h 6858000"/>
              <a:gd name="connsiteX127" fmla="*/ 1740253 w 7360592"/>
              <a:gd name="connsiteY127" fmla="*/ 228503 h 6858000"/>
              <a:gd name="connsiteX128" fmla="*/ 1743263 w 7360592"/>
              <a:gd name="connsiteY128" fmla="*/ 182970 h 6858000"/>
              <a:gd name="connsiteX129" fmla="*/ 1761186 w 7360592"/>
              <a:gd name="connsiteY129" fmla="*/ 145367 h 6858000"/>
              <a:gd name="connsiteX130" fmla="*/ 1777775 w 7360592"/>
              <a:gd name="connsiteY130" fmla="*/ 148014 h 6858000"/>
              <a:gd name="connsiteX131" fmla="*/ 1792914 w 7360592"/>
              <a:gd name="connsiteY131" fmla="*/ 104094 h 6858000"/>
              <a:gd name="connsiteX132" fmla="*/ 1814516 w 7360592"/>
              <a:gd name="connsiteY132" fmla="*/ 36224 h 6858000"/>
              <a:gd name="connsiteX133" fmla="*/ 1821598 w 7360592"/>
              <a:gd name="connsiteY133" fmla="*/ 28008 h 6858000"/>
              <a:gd name="connsiteX134" fmla="*/ 1813947 w 7360592"/>
              <a:gd name="connsiteY134" fmla="*/ 11863 h 6858000"/>
              <a:gd name="connsiteX135" fmla="*/ 1814929 w 7360592"/>
              <a:gd name="connsiteY135" fmla="*/ 0 h 6858000"/>
              <a:gd name="connsiteX0" fmla="*/ 1814929 w 7360592"/>
              <a:gd name="connsiteY0" fmla="*/ 0 h 6858000"/>
              <a:gd name="connsiteX1" fmla="*/ 7349959 w 7360592"/>
              <a:gd name="connsiteY1" fmla="*/ 0 h 6858000"/>
              <a:gd name="connsiteX2" fmla="*/ 7360592 w 7360592"/>
              <a:gd name="connsiteY2" fmla="*/ 6858000 h 6858000"/>
              <a:gd name="connsiteX3" fmla="*/ 0 w 7360592"/>
              <a:gd name="connsiteY3" fmla="*/ 6858000 h 6858000"/>
              <a:gd name="connsiteX4" fmla="*/ 2310 w 7360592"/>
              <a:gd name="connsiteY4" fmla="*/ 6853652 h 6858000"/>
              <a:gd name="connsiteX5" fmla="*/ 91006 w 7360592"/>
              <a:gd name="connsiteY5" fmla="*/ 6620968 h 6858000"/>
              <a:gd name="connsiteX6" fmla="*/ 81892 w 7360592"/>
              <a:gd name="connsiteY6" fmla="*/ 6435659 h 6858000"/>
              <a:gd name="connsiteX7" fmla="*/ 80998 w 7360592"/>
              <a:gd name="connsiteY7" fmla="*/ 6414855 h 6858000"/>
              <a:gd name="connsiteX8" fmla="*/ 75836 w 7360592"/>
              <a:gd name="connsiteY8" fmla="*/ 6409671 h 6858000"/>
              <a:gd name="connsiteX9" fmla="*/ 77989 w 7360592"/>
              <a:gd name="connsiteY9" fmla="*/ 6396556 h 6858000"/>
              <a:gd name="connsiteX10" fmla="*/ 77374 w 7360592"/>
              <a:gd name="connsiteY10" fmla="*/ 6392981 h 6858000"/>
              <a:gd name="connsiteX11" fmla="*/ 75036 w 7360592"/>
              <a:gd name="connsiteY11" fmla="*/ 6372572 h 6858000"/>
              <a:gd name="connsiteX12" fmla="*/ 99554 w 7360592"/>
              <a:gd name="connsiteY12" fmla="*/ 6331118 h 6858000"/>
              <a:gd name="connsiteX13" fmla="*/ 105442 w 7360592"/>
              <a:gd name="connsiteY13" fmla="*/ 6278374 h 6858000"/>
              <a:gd name="connsiteX14" fmla="*/ 172914 w 7360592"/>
              <a:gd name="connsiteY14" fmla="*/ 6144628 h 6858000"/>
              <a:gd name="connsiteX15" fmla="*/ 264181 w 7360592"/>
              <a:gd name="connsiteY15" fmla="*/ 5952072 h 6858000"/>
              <a:gd name="connsiteX16" fmla="*/ 423554 w 7360592"/>
              <a:gd name="connsiteY16" fmla="*/ 5679532 h 6858000"/>
              <a:gd name="connsiteX17" fmla="*/ 446935 w 7360592"/>
              <a:gd name="connsiteY17" fmla="*/ 5383441 h 6858000"/>
              <a:gd name="connsiteX18" fmla="*/ 416638 w 7360592"/>
              <a:gd name="connsiteY18" fmla="*/ 5202635 h 6858000"/>
              <a:gd name="connsiteX19" fmla="*/ 367284 w 7360592"/>
              <a:gd name="connsiteY19" fmla="*/ 5066430 h 6858000"/>
              <a:gd name="connsiteX20" fmla="*/ 317365 w 7360592"/>
              <a:gd name="connsiteY20" fmla="*/ 5016642 h 6858000"/>
              <a:gd name="connsiteX21" fmla="*/ 317834 w 7360592"/>
              <a:gd name="connsiteY21" fmla="*/ 5008528 h 6858000"/>
              <a:gd name="connsiteX22" fmla="*/ 317591 w 7360592"/>
              <a:gd name="connsiteY22" fmla="*/ 5008366 h 6858000"/>
              <a:gd name="connsiteX23" fmla="*/ 318532 w 7360592"/>
              <a:gd name="connsiteY23" fmla="*/ 5000689 h 6858000"/>
              <a:gd name="connsiteX24" fmla="*/ 326373 w 7360592"/>
              <a:gd name="connsiteY24" fmla="*/ 4962649 h 6858000"/>
              <a:gd name="connsiteX25" fmla="*/ 304517 w 7360592"/>
              <a:gd name="connsiteY25" fmla="*/ 4845612 h 6858000"/>
              <a:gd name="connsiteX26" fmla="*/ 312138 w 7360592"/>
              <a:gd name="connsiteY26" fmla="*/ 4821435 h 6858000"/>
              <a:gd name="connsiteX27" fmla="*/ 314669 w 7360592"/>
              <a:gd name="connsiteY27" fmla="*/ 4809154 h 6858000"/>
              <a:gd name="connsiteX28" fmla="*/ 318283 w 7360592"/>
              <a:gd name="connsiteY28" fmla="*/ 4805250 h 6858000"/>
              <a:gd name="connsiteX29" fmla="*/ 320547 w 7360592"/>
              <a:gd name="connsiteY29" fmla="*/ 4787345 h 6858000"/>
              <a:gd name="connsiteX30" fmla="*/ 319715 w 7360592"/>
              <a:gd name="connsiteY30" fmla="*/ 4785453 h 6858000"/>
              <a:gd name="connsiteX31" fmla="*/ 325649 w 7360592"/>
              <a:gd name="connsiteY31" fmla="*/ 4770073 h 6858000"/>
              <a:gd name="connsiteX32" fmla="*/ 335542 w 7360592"/>
              <a:gd name="connsiteY32" fmla="*/ 4756450 h 6858000"/>
              <a:gd name="connsiteX33" fmla="*/ 339391 w 7360592"/>
              <a:gd name="connsiteY33" fmla="*/ 4606479 h 6858000"/>
              <a:gd name="connsiteX34" fmla="*/ 385485 w 7360592"/>
              <a:gd name="connsiteY34" fmla="*/ 4470620 h 6858000"/>
              <a:gd name="connsiteX35" fmla="*/ 386474 w 7360592"/>
              <a:gd name="connsiteY35" fmla="*/ 4389388 h 6858000"/>
              <a:gd name="connsiteX36" fmla="*/ 365661 w 7360592"/>
              <a:gd name="connsiteY36" fmla="*/ 4365498 h 6858000"/>
              <a:gd name="connsiteX37" fmla="*/ 389339 w 7360592"/>
              <a:gd name="connsiteY37" fmla="*/ 4160513 h 6858000"/>
              <a:gd name="connsiteX38" fmla="*/ 385403 w 7360592"/>
              <a:gd name="connsiteY38" fmla="*/ 4109650 h 6858000"/>
              <a:gd name="connsiteX39" fmla="*/ 402327 w 7360592"/>
              <a:gd name="connsiteY39" fmla="*/ 4061824 h 6858000"/>
              <a:gd name="connsiteX40" fmla="*/ 396156 w 7360592"/>
              <a:gd name="connsiteY40" fmla="*/ 4043965 h 6858000"/>
              <a:gd name="connsiteX41" fmla="*/ 394868 w 7360592"/>
              <a:gd name="connsiteY41" fmla="*/ 4040920 h 6858000"/>
              <a:gd name="connsiteX42" fmla="*/ 394584 w 7360592"/>
              <a:gd name="connsiteY42" fmla="*/ 4028000 h 6858000"/>
              <a:gd name="connsiteX43" fmla="*/ 388418 w 7360592"/>
              <a:gd name="connsiteY43" fmla="*/ 4025270 h 6858000"/>
              <a:gd name="connsiteX44" fmla="*/ 383628 w 7360592"/>
              <a:gd name="connsiteY44" fmla="*/ 4006478 h 6858000"/>
              <a:gd name="connsiteX45" fmla="*/ 384802 w 7360592"/>
              <a:gd name="connsiteY45" fmla="*/ 3982442 h 6858000"/>
              <a:gd name="connsiteX46" fmla="*/ 397167 w 7360592"/>
              <a:gd name="connsiteY46" fmla="*/ 3867331 h 6858000"/>
              <a:gd name="connsiteX47" fmla="*/ 400691 w 7360592"/>
              <a:gd name="connsiteY47" fmla="*/ 3798966 h 6858000"/>
              <a:gd name="connsiteX48" fmla="*/ 395946 w 7360592"/>
              <a:gd name="connsiteY48" fmla="*/ 3773791 h 6858000"/>
              <a:gd name="connsiteX49" fmla="*/ 393410 w 7360592"/>
              <a:gd name="connsiteY49" fmla="*/ 3738098 h 6858000"/>
              <a:gd name="connsiteX50" fmla="*/ 384223 w 7360592"/>
              <a:gd name="connsiteY50" fmla="*/ 3675719 h 6858000"/>
              <a:gd name="connsiteX51" fmla="*/ 386290 w 7360592"/>
              <a:gd name="connsiteY51" fmla="*/ 3642763 h 6858000"/>
              <a:gd name="connsiteX52" fmla="*/ 382514 w 7360592"/>
              <a:gd name="connsiteY52" fmla="*/ 3624093 h 6858000"/>
              <a:gd name="connsiteX53" fmla="*/ 383976 w 7360592"/>
              <a:gd name="connsiteY53" fmla="*/ 3616602 h 6858000"/>
              <a:gd name="connsiteX54" fmla="*/ 385517 w 7360592"/>
              <a:gd name="connsiteY54" fmla="*/ 3591527 h 6858000"/>
              <a:gd name="connsiteX55" fmla="*/ 387146 w 7360592"/>
              <a:gd name="connsiteY55" fmla="*/ 3577241 h 6858000"/>
              <a:gd name="connsiteX56" fmla="*/ 388068 w 7360592"/>
              <a:gd name="connsiteY56" fmla="*/ 3571585 h 6858000"/>
              <a:gd name="connsiteX57" fmla="*/ 395496 w 7360592"/>
              <a:gd name="connsiteY57" fmla="*/ 3559720 h 6858000"/>
              <a:gd name="connsiteX58" fmla="*/ 394985 w 7360592"/>
              <a:gd name="connsiteY58" fmla="*/ 3543047 h 6858000"/>
              <a:gd name="connsiteX59" fmla="*/ 403028 w 7360592"/>
              <a:gd name="connsiteY59" fmla="*/ 3525651 h 6858000"/>
              <a:gd name="connsiteX60" fmla="*/ 398728 w 7360592"/>
              <a:gd name="connsiteY60" fmla="*/ 3520715 h 6858000"/>
              <a:gd name="connsiteX61" fmla="*/ 395530 w 7360592"/>
              <a:gd name="connsiteY61" fmla="*/ 3505412 h 6858000"/>
              <a:gd name="connsiteX62" fmla="*/ 402719 w 7360592"/>
              <a:gd name="connsiteY62" fmla="*/ 3493445 h 6858000"/>
              <a:gd name="connsiteX63" fmla="*/ 409328 w 7360592"/>
              <a:gd name="connsiteY63" fmla="*/ 3467406 h 6858000"/>
              <a:gd name="connsiteX64" fmla="*/ 409292 w 7360592"/>
              <a:gd name="connsiteY64" fmla="*/ 3460033 h 6858000"/>
              <a:gd name="connsiteX65" fmla="*/ 419755 w 7360592"/>
              <a:gd name="connsiteY65" fmla="*/ 3435495 h 6858000"/>
              <a:gd name="connsiteX66" fmla="*/ 430771 w 7360592"/>
              <a:gd name="connsiteY66" fmla="*/ 3395884 h 6858000"/>
              <a:gd name="connsiteX67" fmla="*/ 439140 w 7360592"/>
              <a:gd name="connsiteY67" fmla="*/ 3350083 h 6858000"/>
              <a:gd name="connsiteX68" fmla="*/ 446544 w 7360592"/>
              <a:gd name="connsiteY68" fmla="*/ 3337690 h 6858000"/>
              <a:gd name="connsiteX69" fmla="*/ 470731 w 7360592"/>
              <a:gd name="connsiteY69" fmla="*/ 3254519 h 6858000"/>
              <a:gd name="connsiteX70" fmla="*/ 477713 w 7360592"/>
              <a:gd name="connsiteY70" fmla="*/ 3231166 h 6858000"/>
              <a:gd name="connsiteX71" fmla="*/ 478087 w 7360592"/>
              <a:gd name="connsiteY71" fmla="*/ 3210262 h 6858000"/>
              <a:gd name="connsiteX72" fmla="*/ 473269 w 7360592"/>
              <a:gd name="connsiteY72" fmla="*/ 3204689 h 6858000"/>
              <a:gd name="connsiteX73" fmla="*/ 476207 w 7360592"/>
              <a:gd name="connsiteY73" fmla="*/ 3191713 h 6858000"/>
              <a:gd name="connsiteX74" fmla="*/ 475813 w 7360592"/>
              <a:gd name="connsiteY74" fmla="*/ 3188085 h 6858000"/>
              <a:gd name="connsiteX75" fmla="*/ 474728 w 7360592"/>
              <a:gd name="connsiteY75" fmla="*/ 3167471 h 6858000"/>
              <a:gd name="connsiteX76" fmla="*/ 501612 w 7360592"/>
              <a:gd name="connsiteY76" fmla="*/ 3127774 h 6858000"/>
              <a:gd name="connsiteX77" fmla="*/ 510667 w 7360592"/>
              <a:gd name="connsiteY77" fmla="*/ 3075380 h 6858000"/>
              <a:gd name="connsiteX78" fmla="*/ 582379 w 7360592"/>
              <a:gd name="connsiteY78" fmla="*/ 2882573 h 6858000"/>
              <a:gd name="connsiteX79" fmla="*/ 569744 w 7360592"/>
              <a:gd name="connsiteY79" fmla="*/ 2849169 h 6858000"/>
              <a:gd name="connsiteX80" fmla="*/ 590685 w 7360592"/>
              <a:gd name="connsiteY80" fmla="*/ 2768869 h 6858000"/>
              <a:gd name="connsiteX81" fmla="*/ 665292 w 7360592"/>
              <a:gd name="connsiteY81" fmla="*/ 2655182 h 6858000"/>
              <a:gd name="connsiteX82" fmla="*/ 705757 w 7360592"/>
              <a:gd name="connsiteY82" fmla="*/ 2507872 h 6858000"/>
              <a:gd name="connsiteX83" fmla="*/ 717932 w 7360592"/>
              <a:gd name="connsiteY83" fmla="*/ 2498916 h 6858000"/>
              <a:gd name="connsiteX84" fmla="*/ 727017 w 7360592"/>
              <a:gd name="connsiteY84" fmla="*/ 2486382 h 6858000"/>
              <a:gd name="connsiteX85" fmla="*/ 726741 w 7360592"/>
              <a:gd name="connsiteY85" fmla="*/ 2484113 h 6858000"/>
              <a:gd name="connsiteX86" fmla="*/ 733179 w 7360592"/>
              <a:gd name="connsiteY86" fmla="*/ 2467361 h 6858000"/>
              <a:gd name="connsiteX87" fmla="*/ 737364 w 7360592"/>
              <a:gd name="connsiteY87" fmla="*/ 2465156 h 6858000"/>
              <a:gd name="connsiteX88" fmla="*/ 742650 w 7360592"/>
              <a:gd name="connsiteY88" fmla="*/ 2454122 h 6858000"/>
              <a:gd name="connsiteX89" fmla="*/ 755408 w 7360592"/>
              <a:gd name="connsiteY89" fmla="*/ 2433619 h 6858000"/>
              <a:gd name="connsiteX90" fmla="*/ 755598 w 7360592"/>
              <a:gd name="connsiteY90" fmla="*/ 2428626 h 6858000"/>
              <a:gd name="connsiteX91" fmla="*/ 771418 w 7360592"/>
              <a:gd name="connsiteY91" fmla="*/ 2395899 h 6858000"/>
              <a:gd name="connsiteX92" fmla="*/ 770593 w 7360592"/>
              <a:gd name="connsiteY92" fmla="*/ 2394897 h 6858000"/>
              <a:gd name="connsiteX93" fmla="*/ 770497 w 7360592"/>
              <a:gd name="connsiteY93" fmla="*/ 2383267 h 6858000"/>
              <a:gd name="connsiteX94" fmla="*/ 772693 w 7360592"/>
              <a:gd name="connsiteY94" fmla="*/ 2362296 h 6858000"/>
              <a:gd name="connsiteX95" fmla="*/ 764846 w 7360592"/>
              <a:gd name="connsiteY95" fmla="*/ 2307129 h 6858000"/>
              <a:gd name="connsiteX96" fmla="*/ 781226 w 7360592"/>
              <a:gd name="connsiteY96" fmla="*/ 2272947 h 6858000"/>
              <a:gd name="connsiteX97" fmla="*/ 783960 w 7360592"/>
              <a:gd name="connsiteY97" fmla="*/ 2265753 h 6858000"/>
              <a:gd name="connsiteX98" fmla="*/ 783783 w 7360592"/>
              <a:gd name="connsiteY98" fmla="*/ 2265478 h 6858000"/>
              <a:gd name="connsiteX99" fmla="*/ 786206 w 7360592"/>
              <a:gd name="connsiteY99" fmla="*/ 2257630 h 6858000"/>
              <a:gd name="connsiteX100" fmla="*/ 788946 w 7360592"/>
              <a:gd name="connsiteY100" fmla="*/ 2252635 h 6858000"/>
              <a:gd name="connsiteX101" fmla="*/ 794250 w 7360592"/>
              <a:gd name="connsiteY101" fmla="*/ 2238675 h 6858000"/>
              <a:gd name="connsiteX102" fmla="*/ 794536 w 7360592"/>
              <a:gd name="connsiteY102" fmla="*/ 2233003 h 6858000"/>
              <a:gd name="connsiteX103" fmla="*/ 792429 w 7360592"/>
              <a:gd name="connsiteY103" fmla="*/ 2229498 h 6858000"/>
              <a:gd name="connsiteX104" fmla="*/ 793227 w 7360592"/>
              <a:gd name="connsiteY104" fmla="*/ 2228401 h 6858000"/>
              <a:gd name="connsiteX105" fmla="*/ 795299 w 7360592"/>
              <a:gd name="connsiteY105" fmla="*/ 2197903 h 6858000"/>
              <a:gd name="connsiteX106" fmla="*/ 808822 w 7360592"/>
              <a:gd name="connsiteY106" fmla="*/ 2134368 h 6858000"/>
              <a:gd name="connsiteX107" fmla="*/ 820138 w 7360592"/>
              <a:gd name="connsiteY107" fmla="*/ 2099989 h 6858000"/>
              <a:gd name="connsiteX108" fmla="*/ 847225 w 7360592"/>
              <a:gd name="connsiteY108" fmla="*/ 2003626 h 6858000"/>
              <a:gd name="connsiteX109" fmla="*/ 871446 w 7360592"/>
              <a:gd name="connsiteY109" fmla="*/ 1905232 h 6858000"/>
              <a:gd name="connsiteX110" fmla="*/ 866894 w 7360592"/>
              <a:gd name="connsiteY110" fmla="*/ 1846725 h 6858000"/>
              <a:gd name="connsiteX111" fmla="*/ 868241 w 7360592"/>
              <a:gd name="connsiteY111" fmla="*/ 1841071 h 6858000"/>
              <a:gd name="connsiteX112" fmla="*/ 875742 w 7360592"/>
              <a:gd name="connsiteY112" fmla="*/ 1828958 h 6858000"/>
              <a:gd name="connsiteX113" fmla="*/ 879192 w 7360592"/>
              <a:gd name="connsiteY113" fmla="*/ 1824953 h 6858000"/>
              <a:gd name="connsiteX114" fmla="*/ 882790 w 7360592"/>
              <a:gd name="connsiteY114" fmla="*/ 1817574 h 6858000"/>
              <a:gd name="connsiteX115" fmla="*/ 938174 w 7360592"/>
              <a:gd name="connsiteY115" fmla="*/ 1837086 h 6858000"/>
              <a:gd name="connsiteX116" fmla="*/ 1021695 w 7360592"/>
              <a:gd name="connsiteY116" fmla="*/ 1753240 h 6858000"/>
              <a:gd name="connsiteX117" fmla="*/ 1109428 w 7360592"/>
              <a:gd name="connsiteY117" fmla="*/ 1570998 h 6858000"/>
              <a:gd name="connsiteX118" fmla="*/ 1250520 w 7360592"/>
              <a:gd name="connsiteY118" fmla="*/ 1425857 h 6858000"/>
              <a:gd name="connsiteX119" fmla="*/ 1320087 w 7360592"/>
              <a:gd name="connsiteY119" fmla="*/ 1339305 h 6858000"/>
              <a:gd name="connsiteX120" fmla="*/ 1496269 w 7360592"/>
              <a:gd name="connsiteY120" fmla="*/ 1094720 h 6858000"/>
              <a:gd name="connsiteX121" fmla="*/ 1516735 w 7360592"/>
              <a:gd name="connsiteY121" fmla="*/ 913489 h 6858000"/>
              <a:gd name="connsiteX122" fmla="*/ 1518279 w 7360592"/>
              <a:gd name="connsiteY122" fmla="*/ 802489 h 6858000"/>
              <a:gd name="connsiteX123" fmla="*/ 1589359 w 7360592"/>
              <a:gd name="connsiteY123" fmla="*/ 598702 h 6858000"/>
              <a:gd name="connsiteX124" fmla="*/ 1674468 w 7360592"/>
              <a:gd name="connsiteY124" fmla="*/ 380053 h 6858000"/>
              <a:gd name="connsiteX125" fmla="*/ 1713442 w 7360592"/>
              <a:gd name="connsiteY125" fmla="*/ 307108 h 6858000"/>
              <a:gd name="connsiteX126" fmla="*/ 1723372 w 7360592"/>
              <a:gd name="connsiteY126" fmla="*/ 277643 h 6858000"/>
              <a:gd name="connsiteX127" fmla="*/ 1740253 w 7360592"/>
              <a:gd name="connsiteY127" fmla="*/ 228503 h 6858000"/>
              <a:gd name="connsiteX128" fmla="*/ 1743263 w 7360592"/>
              <a:gd name="connsiteY128" fmla="*/ 182970 h 6858000"/>
              <a:gd name="connsiteX129" fmla="*/ 1761186 w 7360592"/>
              <a:gd name="connsiteY129" fmla="*/ 145367 h 6858000"/>
              <a:gd name="connsiteX130" fmla="*/ 1777775 w 7360592"/>
              <a:gd name="connsiteY130" fmla="*/ 148014 h 6858000"/>
              <a:gd name="connsiteX131" fmla="*/ 1792914 w 7360592"/>
              <a:gd name="connsiteY131" fmla="*/ 104094 h 6858000"/>
              <a:gd name="connsiteX132" fmla="*/ 1814516 w 7360592"/>
              <a:gd name="connsiteY132" fmla="*/ 36224 h 6858000"/>
              <a:gd name="connsiteX133" fmla="*/ 1821598 w 7360592"/>
              <a:gd name="connsiteY133" fmla="*/ 28008 h 6858000"/>
              <a:gd name="connsiteX134" fmla="*/ 1813947 w 7360592"/>
              <a:gd name="connsiteY134" fmla="*/ 11863 h 6858000"/>
              <a:gd name="connsiteX135" fmla="*/ 1814929 w 7360592"/>
              <a:gd name="connsiteY13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7360592" h="6858000">
                <a:moveTo>
                  <a:pt x="1814929" y="0"/>
                </a:moveTo>
                <a:lnTo>
                  <a:pt x="7349959" y="0"/>
                </a:lnTo>
                <a:cubicBezTo>
                  <a:pt x="7353503" y="2286000"/>
                  <a:pt x="7357048" y="4572000"/>
                  <a:pt x="7360592" y="6858000"/>
                </a:cubicBezTo>
                <a:lnTo>
                  <a:pt x="0" y="6858000"/>
                </a:lnTo>
                <a:lnTo>
                  <a:pt x="2310" y="6853652"/>
                </a:lnTo>
                <a:cubicBezTo>
                  <a:pt x="29810" y="6805010"/>
                  <a:pt x="56276" y="6770828"/>
                  <a:pt x="91006" y="6620968"/>
                </a:cubicBezTo>
                <a:cubicBezTo>
                  <a:pt x="94381" y="6612671"/>
                  <a:pt x="81335" y="6443221"/>
                  <a:pt x="81892" y="6435659"/>
                </a:cubicBezTo>
                <a:lnTo>
                  <a:pt x="80998" y="6414855"/>
                </a:lnTo>
                <a:lnTo>
                  <a:pt x="75836" y="6409671"/>
                </a:lnTo>
                <a:lnTo>
                  <a:pt x="77989" y="6396556"/>
                </a:lnTo>
                <a:lnTo>
                  <a:pt x="77374" y="6392981"/>
                </a:lnTo>
                <a:cubicBezTo>
                  <a:pt x="76172" y="6386157"/>
                  <a:pt x="75177" y="6379394"/>
                  <a:pt x="75036" y="6372572"/>
                </a:cubicBezTo>
                <a:cubicBezTo>
                  <a:pt x="102194" y="6377497"/>
                  <a:pt x="78306" y="6315359"/>
                  <a:pt x="99554" y="6331118"/>
                </a:cubicBezTo>
                <a:cubicBezTo>
                  <a:pt x="103496" y="6294492"/>
                  <a:pt x="122687" y="6319101"/>
                  <a:pt x="105442" y="6278374"/>
                </a:cubicBezTo>
                <a:cubicBezTo>
                  <a:pt x="113996" y="6231380"/>
                  <a:pt x="151354" y="6216149"/>
                  <a:pt x="172914" y="6144628"/>
                </a:cubicBezTo>
                <a:cubicBezTo>
                  <a:pt x="184454" y="6105934"/>
                  <a:pt x="219188" y="6021085"/>
                  <a:pt x="264181" y="5952072"/>
                </a:cubicBezTo>
                <a:cubicBezTo>
                  <a:pt x="320644" y="5872108"/>
                  <a:pt x="367070" y="5761141"/>
                  <a:pt x="423554" y="5679532"/>
                </a:cubicBezTo>
                <a:lnTo>
                  <a:pt x="446935" y="5383441"/>
                </a:lnTo>
                <a:cubicBezTo>
                  <a:pt x="408154" y="5295993"/>
                  <a:pt x="446289" y="5276257"/>
                  <a:pt x="416638" y="5202635"/>
                </a:cubicBezTo>
                <a:lnTo>
                  <a:pt x="367284" y="5066430"/>
                </a:lnTo>
                <a:lnTo>
                  <a:pt x="317365" y="5016642"/>
                </a:lnTo>
                <a:cubicBezTo>
                  <a:pt x="318092" y="5012746"/>
                  <a:pt x="318190" y="5010215"/>
                  <a:pt x="317834" y="5008528"/>
                </a:cubicBezTo>
                <a:lnTo>
                  <a:pt x="317591" y="5008366"/>
                </a:lnTo>
                <a:lnTo>
                  <a:pt x="318532" y="5000689"/>
                </a:lnTo>
                <a:cubicBezTo>
                  <a:pt x="320705" y="4987649"/>
                  <a:pt x="323377" y="4974877"/>
                  <a:pt x="326373" y="4962649"/>
                </a:cubicBezTo>
                <a:lnTo>
                  <a:pt x="304517" y="4845612"/>
                </a:lnTo>
                <a:lnTo>
                  <a:pt x="312138" y="4821435"/>
                </a:lnTo>
                <a:lnTo>
                  <a:pt x="314669" y="4809154"/>
                </a:lnTo>
                <a:lnTo>
                  <a:pt x="318283" y="4805250"/>
                </a:lnTo>
                <a:cubicBezTo>
                  <a:pt x="320578" y="4801275"/>
                  <a:pt x="321790" y="4795888"/>
                  <a:pt x="320547" y="4787345"/>
                </a:cubicBezTo>
                <a:lnTo>
                  <a:pt x="319715" y="4785453"/>
                </a:lnTo>
                <a:lnTo>
                  <a:pt x="325649" y="4770073"/>
                </a:lnTo>
                <a:cubicBezTo>
                  <a:pt x="328268" y="4765017"/>
                  <a:pt x="331488" y="4760402"/>
                  <a:pt x="335542" y="4756450"/>
                </a:cubicBezTo>
                <a:cubicBezTo>
                  <a:pt x="318003" y="4709762"/>
                  <a:pt x="339666" y="4659972"/>
                  <a:pt x="339391" y="4606479"/>
                </a:cubicBezTo>
                <a:cubicBezTo>
                  <a:pt x="308820" y="4587919"/>
                  <a:pt x="353653" y="4488685"/>
                  <a:pt x="385485" y="4470620"/>
                </a:cubicBezTo>
                <a:cubicBezTo>
                  <a:pt x="349272" y="4475654"/>
                  <a:pt x="434439" y="4343750"/>
                  <a:pt x="386474" y="4389388"/>
                </a:cubicBezTo>
                <a:cubicBezTo>
                  <a:pt x="390773" y="4370356"/>
                  <a:pt x="377813" y="4353317"/>
                  <a:pt x="365661" y="4365498"/>
                </a:cubicBezTo>
                <a:cubicBezTo>
                  <a:pt x="393730" y="4305427"/>
                  <a:pt x="374276" y="4225895"/>
                  <a:pt x="389339" y="4160513"/>
                </a:cubicBezTo>
                <a:cubicBezTo>
                  <a:pt x="364366" y="4129844"/>
                  <a:pt x="388282" y="4144911"/>
                  <a:pt x="385403" y="4109650"/>
                </a:cubicBezTo>
                <a:cubicBezTo>
                  <a:pt x="409735" y="4115762"/>
                  <a:pt x="374071" y="4068016"/>
                  <a:pt x="402327" y="4061824"/>
                </a:cubicBezTo>
                <a:cubicBezTo>
                  <a:pt x="400908" y="4055602"/>
                  <a:pt x="398642" y="4049772"/>
                  <a:pt x="396156" y="4043965"/>
                </a:cubicBezTo>
                <a:lnTo>
                  <a:pt x="394868" y="4040920"/>
                </a:lnTo>
                <a:cubicBezTo>
                  <a:pt x="394773" y="4036613"/>
                  <a:pt x="394679" y="4032307"/>
                  <a:pt x="394584" y="4028000"/>
                </a:cubicBezTo>
                <a:lnTo>
                  <a:pt x="388418" y="4025270"/>
                </a:lnTo>
                <a:lnTo>
                  <a:pt x="383628" y="4006478"/>
                </a:lnTo>
                <a:cubicBezTo>
                  <a:pt x="382774" y="3999299"/>
                  <a:pt x="382957" y="3991408"/>
                  <a:pt x="384802" y="3982442"/>
                </a:cubicBezTo>
                <a:cubicBezTo>
                  <a:pt x="401416" y="3951445"/>
                  <a:pt x="375209" y="3905701"/>
                  <a:pt x="397167" y="3867331"/>
                </a:cubicBezTo>
                <a:cubicBezTo>
                  <a:pt x="403057" y="3853072"/>
                  <a:pt x="407915" y="3808030"/>
                  <a:pt x="400691" y="3798966"/>
                </a:cubicBezTo>
                <a:cubicBezTo>
                  <a:pt x="400026" y="3789462"/>
                  <a:pt x="404255" y="3778712"/>
                  <a:pt x="395946" y="3773791"/>
                </a:cubicBezTo>
                <a:cubicBezTo>
                  <a:pt x="386179" y="3765922"/>
                  <a:pt x="406502" y="3734262"/>
                  <a:pt x="393410" y="3738098"/>
                </a:cubicBezTo>
                <a:cubicBezTo>
                  <a:pt x="407431" y="3715587"/>
                  <a:pt x="387387" y="3695630"/>
                  <a:pt x="384223" y="3675719"/>
                </a:cubicBezTo>
                <a:cubicBezTo>
                  <a:pt x="390897" y="3666933"/>
                  <a:pt x="389284" y="3656428"/>
                  <a:pt x="386290" y="3642763"/>
                </a:cubicBezTo>
                <a:lnTo>
                  <a:pt x="382514" y="3624093"/>
                </a:lnTo>
                <a:lnTo>
                  <a:pt x="383976" y="3616602"/>
                </a:lnTo>
                <a:cubicBezTo>
                  <a:pt x="384920" y="3607445"/>
                  <a:pt x="385162" y="3599012"/>
                  <a:pt x="385517" y="3591527"/>
                </a:cubicBezTo>
                <a:lnTo>
                  <a:pt x="387146" y="3577241"/>
                </a:lnTo>
                <a:lnTo>
                  <a:pt x="388068" y="3571585"/>
                </a:lnTo>
                <a:lnTo>
                  <a:pt x="395496" y="3559720"/>
                </a:lnTo>
                <a:cubicBezTo>
                  <a:pt x="395326" y="3554162"/>
                  <a:pt x="395155" y="3548605"/>
                  <a:pt x="394985" y="3543047"/>
                </a:cubicBezTo>
                <a:lnTo>
                  <a:pt x="403028" y="3525651"/>
                </a:lnTo>
                <a:cubicBezTo>
                  <a:pt x="401413" y="3524354"/>
                  <a:pt x="399963" y="3522692"/>
                  <a:pt x="398728" y="3520715"/>
                </a:cubicBezTo>
                <a:lnTo>
                  <a:pt x="395530" y="3505412"/>
                </a:lnTo>
                <a:lnTo>
                  <a:pt x="402719" y="3493445"/>
                </a:lnTo>
                <a:cubicBezTo>
                  <a:pt x="393264" y="3491751"/>
                  <a:pt x="405480" y="3478925"/>
                  <a:pt x="409328" y="3467406"/>
                </a:cubicBezTo>
                <a:cubicBezTo>
                  <a:pt x="409316" y="3464948"/>
                  <a:pt x="409304" y="3462491"/>
                  <a:pt x="409292" y="3460033"/>
                </a:cubicBezTo>
                <a:lnTo>
                  <a:pt x="419755" y="3435495"/>
                </a:lnTo>
                <a:cubicBezTo>
                  <a:pt x="424399" y="3421940"/>
                  <a:pt x="427905" y="3408759"/>
                  <a:pt x="430771" y="3395884"/>
                </a:cubicBezTo>
                <a:lnTo>
                  <a:pt x="439140" y="3350083"/>
                </a:lnTo>
                <a:lnTo>
                  <a:pt x="446544" y="3337690"/>
                </a:lnTo>
                <a:cubicBezTo>
                  <a:pt x="456457" y="3308602"/>
                  <a:pt x="453892" y="3271850"/>
                  <a:pt x="470731" y="3254519"/>
                </a:cubicBezTo>
                <a:cubicBezTo>
                  <a:pt x="474589" y="3246460"/>
                  <a:pt x="476699" y="3238700"/>
                  <a:pt x="477713" y="3231166"/>
                </a:cubicBezTo>
                <a:cubicBezTo>
                  <a:pt x="477838" y="3224198"/>
                  <a:pt x="477962" y="3217230"/>
                  <a:pt x="478087" y="3210262"/>
                </a:cubicBezTo>
                <a:lnTo>
                  <a:pt x="473269" y="3204689"/>
                </a:lnTo>
                <a:lnTo>
                  <a:pt x="476207" y="3191713"/>
                </a:lnTo>
                <a:cubicBezTo>
                  <a:pt x="476076" y="3190504"/>
                  <a:pt x="475944" y="3189294"/>
                  <a:pt x="475813" y="3188085"/>
                </a:cubicBezTo>
                <a:cubicBezTo>
                  <a:pt x="475032" y="3181161"/>
                  <a:pt x="474456" y="3174312"/>
                  <a:pt x="474728" y="3167471"/>
                </a:cubicBezTo>
                <a:cubicBezTo>
                  <a:pt x="501422" y="3174421"/>
                  <a:pt x="481450" y="3110410"/>
                  <a:pt x="501612" y="3127774"/>
                </a:cubicBezTo>
                <a:cubicBezTo>
                  <a:pt x="507757" y="3091380"/>
                  <a:pt x="525334" y="3117454"/>
                  <a:pt x="510667" y="3075380"/>
                </a:cubicBezTo>
                <a:cubicBezTo>
                  <a:pt x="540230" y="3017365"/>
                  <a:pt x="542544" y="2929274"/>
                  <a:pt x="582379" y="2882573"/>
                </a:cubicBezTo>
                <a:cubicBezTo>
                  <a:pt x="568549" y="2889043"/>
                  <a:pt x="561213" y="2866095"/>
                  <a:pt x="569744" y="2849169"/>
                </a:cubicBezTo>
                <a:cubicBezTo>
                  <a:pt x="515752" y="2872293"/>
                  <a:pt x="624181" y="2780662"/>
                  <a:pt x="590685" y="2768869"/>
                </a:cubicBezTo>
                <a:cubicBezTo>
                  <a:pt x="623497" y="2765674"/>
                  <a:pt x="687935" y="2687815"/>
                  <a:pt x="665292" y="2655182"/>
                </a:cubicBezTo>
                <a:cubicBezTo>
                  <a:pt x="678257" y="2601873"/>
                  <a:pt x="709847" y="2562423"/>
                  <a:pt x="705757" y="2507872"/>
                </a:cubicBezTo>
                <a:cubicBezTo>
                  <a:pt x="710343" y="2505822"/>
                  <a:pt x="714351" y="2502730"/>
                  <a:pt x="717932" y="2498916"/>
                </a:cubicBezTo>
                <a:lnTo>
                  <a:pt x="727017" y="2486382"/>
                </a:lnTo>
                <a:lnTo>
                  <a:pt x="726741" y="2484113"/>
                </a:lnTo>
                <a:cubicBezTo>
                  <a:pt x="727745" y="2475043"/>
                  <a:pt x="730155" y="2470249"/>
                  <a:pt x="733179" y="2467361"/>
                </a:cubicBezTo>
                <a:lnTo>
                  <a:pt x="737364" y="2465156"/>
                </a:lnTo>
                <a:lnTo>
                  <a:pt x="742650" y="2454122"/>
                </a:lnTo>
                <a:lnTo>
                  <a:pt x="755408" y="2433619"/>
                </a:lnTo>
                <a:cubicBezTo>
                  <a:pt x="755471" y="2431955"/>
                  <a:pt x="755535" y="2430290"/>
                  <a:pt x="755598" y="2428626"/>
                </a:cubicBezTo>
                <a:lnTo>
                  <a:pt x="771418" y="2395899"/>
                </a:lnTo>
                <a:lnTo>
                  <a:pt x="770593" y="2394897"/>
                </a:lnTo>
                <a:cubicBezTo>
                  <a:pt x="769106" y="2391905"/>
                  <a:pt x="768688" y="2388289"/>
                  <a:pt x="770497" y="2383267"/>
                </a:cubicBezTo>
                <a:cubicBezTo>
                  <a:pt x="752441" y="2382908"/>
                  <a:pt x="765761" y="2377071"/>
                  <a:pt x="772693" y="2362296"/>
                </a:cubicBezTo>
                <a:cubicBezTo>
                  <a:pt x="746194" y="2358441"/>
                  <a:pt x="775111" y="2321343"/>
                  <a:pt x="764846" y="2307129"/>
                </a:cubicBezTo>
                <a:cubicBezTo>
                  <a:pt x="770536" y="2296361"/>
                  <a:pt x="776068" y="2284903"/>
                  <a:pt x="781226" y="2272947"/>
                </a:cubicBezTo>
                <a:lnTo>
                  <a:pt x="783960" y="2265753"/>
                </a:lnTo>
                <a:lnTo>
                  <a:pt x="783783" y="2265478"/>
                </a:lnTo>
                <a:cubicBezTo>
                  <a:pt x="783882" y="2263635"/>
                  <a:pt x="784595" y="2261166"/>
                  <a:pt x="786206" y="2257630"/>
                </a:cubicBezTo>
                <a:lnTo>
                  <a:pt x="788946" y="2252635"/>
                </a:lnTo>
                <a:lnTo>
                  <a:pt x="794250" y="2238675"/>
                </a:lnTo>
                <a:cubicBezTo>
                  <a:pt x="794345" y="2236784"/>
                  <a:pt x="794441" y="2234894"/>
                  <a:pt x="794536" y="2233003"/>
                </a:cubicBezTo>
                <a:lnTo>
                  <a:pt x="792429" y="2229498"/>
                </a:lnTo>
                <a:lnTo>
                  <a:pt x="793227" y="2228401"/>
                </a:lnTo>
                <a:cubicBezTo>
                  <a:pt x="801728" y="2221696"/>
                  <a:pt x="809796" y="2223226"/>
                  <a:pt x="795299" y="2197903"/>
                </a:cubicBezTo>
                <a:cubicBezTo>
                  <a:pt x="811549" y="2180402"/>
                  <a:pt x="801510" y="2168206"/>
                  <a:pt x="808822" y="2134368"/>
                </a:cubicBezTo>
                <a:cubicBezTo>
                  <a:pt x="821032" y="2126284"/>
                  <a:pt x="822222" y="2114075"/>
                  <a:pt x="820138" y="2099989"/>
                </a:cubicBezTo>
                <a:cubicBezTo>
                  <a:pt x="834727" y="2072002"/>
                  <a:pt x="836697" y="2038973"/>
                  <a:pt x="847225" y="2003626"/>
                </a:cubicBezTo>
                <a:cubicBezTo>
                  <a:pt x="870411" y="1973216"/>
                  <a:pt x="860120" y="1942957"/>
                  <a:pt x="871446" y="1905232"/>
                </a:cubicBezTo>
                <a:cubicBezTo>
                  <a:pt x="899662" y="1884744"/>
                  <a:pt x="866560" y="1869681"/>
                  <a:pt x="866894" y="1846725"/>
                </a:cubicBezTo>
                <a:lnTo>
                  <a:pt x="868241" y="1841071"/>
                </a:lnTo>
                <a:lnTo>
                  <a:pt x="875742" y="1828958"/>
                </a:lnTo>
                <a:lnTo>
                  <a:pt x="879192" y="1824953"/>
                </a:lnTo>
                <a:lnTo>
                  <a:pt x="882790" y="1817574"/>
                </a:lnTo>
                <a:lnTo>
                  <a:pt x="938174" y="1837086"/>
                </a:lnTo>
                <a:cubicBezTo>
                  <a:pt x="961325" y="1826364"/>
                  <a:pt x="984567" y="1793295"/>
                  <a:pt x="1021695" y="1753240"/>
                </a:cubicBezTo>
                <a:cubicBezTo>
                  <a:pt x="1050351" y="1710564"/>
                  <a:pt x="1079859" y="1626787"/>
                  <a:pt x="1109428" y="1570998"/>
                </a:cubicBezTo>
                <a:cubicBezTo>
                  <a:pt x="1095060" y="1528987"/>
                  <a:pt x="1220038" y="1416281"/>
                  <a:pt x="1250520" y="1425857"/>
                </a:cubicBezTo>
                <a:cubicBezTo>
                  <a:pt x="1270355" y="1392742"/>
                  <a:pt x="1298168" y="1386011"/>
                  <a:pt x="1320087" y="1339305"/>
                </a:cubicBezTo>
                <a:lnTo>
                  <a:pt x="1496269" y="1094720"/>
                </a:lnTo>
                <a:cubicBezTo>
                  <a:pt x="1516164" y="1015803"/>
                  <a:pt x="1525308" y="965866"/>
                  <a:pt x="1516735" y="913489"/>
                </a:cubicBezTo>
                <a:cubicBezTo>
                  <a:pt x="1526909" y="905284"/>
                  <a:pt x="1519732" y="816693"/>
                  <a:pt x="1518279" y="802489"/>
                </a:cubicBezTo>
                <a:cubicBezTo>
                  <a:pt x="1525486" y="739008"/>
                  <a:pt x="1570345" y="641350"/>
                  <a:pt x="1589359" y="598702"/>
                </a:cubicBezTo>
                <a:cubicBezTo>
                  <a:pt x="1627631" y="531968"/>
                  <a:pt x="1653787" y="428652"/>
                  <a:pt x="1674468" y="380053"/>
                </a:cubicBezTo>
                <a:cubicBezTo>
                  <a:pt x="1702374" y="337186"/>
                  <a:pt x="1663464" y="346077"/>
                  <a:pt x="1713442" y="307108"/>
                </a:cubicBezTo>
                <a:cubicBezTo>
                  <a:pt x="1709247" y="293750"/>
                  <a:pt x="1712921" y="286239"/>
                  <a:pt x="1723372" y="277643"/>
                </a:cubicBezTo>
                <a:cubicBezTo>
                  <a:pt x="1736363" y="256271"/>
                  <a:pt x="1716219" y="239710"/>
                  <a:pt x="1740253" y="228503"/>
                </a:cubicBezTo>
                <a:cubicBezTo>
                  <a:pt x="1727703" y="222673"/>
                  <a:pt x="1759694" y="183008"/>
                  <a:pt x="1743263" y="182970"/>
                </a:cubicBezTo>
                <a:cubicBezTo>
                  <a:pt x="1741915" y="159720"/>
                  <a:pt x="1761363" y="167348"/>
                  <a:pt x="1761186" y="145367"/>
                </a:cubicBezTo>
                <a:cubicBezTo>
                  <a:pt x="1768291" y="127518"/>
                  <a:pt x="1767039" y="165048"/>
                  <a:pt x="1777775" y="148014"/>
                </a:cubicBezTo>
                <a:cubicBezTo>
                  <a:pt x="1788927" y="125594"/>
                  <a:pt x="1807822" y="143605"/>
                  <a:pt x="1792914" y="104094"/>
                </a:cubicBezTo>
                <a:cubicBezTo>
                  <a:pt x="1811329" y="87027"/>
                  <a:pt x="1802901" y="72355"/>
                  <a:pt x="1814516" y="36224"/>
                </a:cubicBezTo>
                <a:lnTo>
                  <a:pt x="1821598" y="28008"/>
                </a:lnTo>
                <a:lnTo>
                  <a:pt x="1813947" y="11863"/>
                </a:lnTo>
                <a:cubicBezTo>
                  <a:pt x="1814274" y="7909"/>
                  <a:pt x="1814602" y="3954"/>
                  <a:pt x="1814929" y="0"/>
                </a:cubicBezTo>
                <a:close/>
              </a:path>
            </a:pathLst>
          </a:custGeom>
          <a:solidFill>
            <a:srgbClr val="82766A">
              <a:alpha val="15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Bembo"/>
              <a:ea typeface="+mn-ea"/>
              <a:cs typeface="+mn-cs"/>
            </a:endParaRPr>
          </a:p>
        </p:txBody>
      </p:sp>
      <p:sp>
        <p:nvSpPr>
          <p:cNvPr id="23" name="Freeform: Shape 22">
            <a:extLst>
              <a:ext uri="{FF2B5EF4-FFF2-40B4-BE49-F238E27FC236}">
                <a16:creationId xmlns:a16="http://schemas.microsoft.com/office/drawing/2014/main" id="{DA910ECF-D560-46C1-AD20-74B4CE2BF55E}"/>
              </a:ext>
              <a:ext uri="{C183D7F6-B498-43B3-948B-1728B52AA6E4}">
                <adec:decorative xmlns:adec="http://schemas.microsoft.com/office/drawing/2017/decorative" val="1"/>
              </a:ext>
            </a:extLst>
          </p:cNvPr>
          <p:cNvSpPr/>
          <p:nvPr userDrawn="1"/>
        </p:nvSpPr>
        <p:spPr>
          <a:xfrm>
            <a:off x="7785758" y="3542366"/>
            <a:ext cx="3184147" cy="2080769"/>
          </a:xfrm>
          <a:custGeom>
            <a:avLst/>
            <a:gdLst>
              <a:gd name="connsiteX0" fmla="*/ 0 w 2400300"/>
              <a:gd name="connsiteY0" fmla="*/ 0 h 2400300"/>
              <a:gd name="connsiteX1" fmla="*/ 2400300 w 2400300"/>
              <a:gd name="connsiteY1" fmla="*/ 0 h 2400300"/>
              <a:gd name="connsiteX2" fmla="*/ 2400300 w 2400300"/>
              <a:gd name="connsiteY2" fmla="*/ 2400300 h 2400300"/>
              <a:gd name="connsiteX3" fmla="*/ 0 w 2400300"/>
              <a:gd name="connsiteY3" fmla="*/ 2400300 h 2400300"/>
            </a:gdLst>
            <a:ahLst/>
            <a:cxnLst>
              <a:cxn ang="0">
                <a:pos x="connsiteX0" y="connsiteY0"/>
              </a:cxn>
              <a:cxn ang="0">
                <a:pos x="connsiteX1" y="connsiteY1"/>
              </a:cxn>
              <a:cxn ang="0">
                <a:pos x="connsiteX2" y="connsiteY2"/>
              </a:cxn>
              <a:cxn ang="0">
                <a:pos x="connsiteX3" y="connsiteY3"/>
              </a:cxn>
            </a:cxnLst>
            <a:rect l="l" t="t" r="r" b="b"/>
            <a:pathLst>
              <a:path w="2400300" h="2400300">
                <a:moveTo>
                  <a:pt x="0" y="0"/>
                </a:moveTo>
                <a:lnTo>
                  <a:pt x="2400300" y="0"/>
                </a:lnTo>
                <a:lnTo>
                  <a:pt x="2400300" y="2400300"/>
                </a:lnTo>
                <a:lnTo>
                  <a:pt x="0" y="2400300"/>
                </a:lnTo>
                <a:close/>
              </a:path>
            </a:pathLst>
          </a:custGeom>
          <a:solidFill>
            <a:schemeClr val="bg1">
              <a:lumMod val="95000"/>
            </a:schemeClr>
          </a:solidFill>
          <a:ln>
            <a:noFill/>
          </a:ln>
          <a:effectLst>
            <a:outerShdw blurRad="25400" dist="12700" dir="3000000" algn="tl"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Bembo"/>
              <a:ea typeface="+mn-ea"/>
              <a:cs typeface="+mn-cs"/>
            </a:endParaRPr>
          </a:p>
        </p:txBody>
      </p:sp>
      <p:sp>
        <p:nvSpPr>
          <p:cNvPr id="20" name="Freeform: Shape 19">
            <a:extLst>
              <a:ext uri="{FF2B5EF4-FFF2-40B4-BE49-F238E27FC236}">
                <a16:creationId xmlns:a16="http://schemas.microsoft.com/office/drawing/2014/main" id="{59706843-4A67-4194-95BF-9BB7B1922493}"/>
              </a:ext>
              <a:ext uri="{C183D7F6-B498-43B3-948B-1728B52AA6E4}">
                <adec:decorative xmlns:adec="http://schemas.microsoft.com/office/drawing/2017/decorative" val="1"/>
              </a:ext>
            </a:extLst>
          </p:cNvPr>
          <p:cNvSpPr/>
          <p:nvPr userDrawn="1"/>
        </p:nvSpPr>
        <p:spPr>
          <a:xfrm>
            <a:off x="7777851" y="1234865"/>
            <a:ext cx="3192054" cy="2080769"/>
          </a:xfrm>
          <a:custGeom>
            <a:avLst/>
            <a:gdLst>
              <a:gd name="connsiteX0" fmla="*/ 0 w 2400300"/>
              <a:gd name="connsiteY0" fmla="*/ 0 h 2400300"/>
              <a:gd name="connsiteX1" fmla="*/ 2400300 w 2400300"/>
              <a:gd name="connsiteY1" fmla="*/ 0 h 2400300"/>
              <a:gd name="connsiteX2" fmla="*/ 2400300 w 2400300"/>
              <a:gd name="connsiteY2" fmla="*/ 2400300 h 2400300"/>
              <a:gd name="connsiteX3" fmla="*/ 0 w 2400300"/>
              <a:gd name="connsiteY3" fmla="*/ 2400300 h 2400300"/>
            </a:gdLst>
            <a:ahLst/>
            <a:cxnLst>
              <a:cxn ang="0">
                <a:pos x="connsiteX0" y="connsiteY0"/>
              </a:cxn>
              <a:cxn ang="0">
                <a:pos x="connsiteX1" y="connsiteY1"/>
              </a:cxn>
              <a:cxn ang="0">
                <a:pos x="connsiteX2" y="connsiteY2"/>
              </a:cxn>
              <a:cxn ang="0">
                <a:pos x="connsiteX3" y="connsiteY3"/>
              </a:cxn>
            </a:cxnLst>
            <a:rect l="l" t="t" r="r" b="b"/>
            <a:pathLst>
              <a:path w="2400300" h="2400300">
                <a:moveTo>
                  <a:pt x="0" y="0"/>
                </a:moveTo>
                <a:lnTo>
                  <a:pt x="2400300" y="0"/>
                </a:lnTo>
                <a:lnTo>
                  <a:pt x="2400300" y="2400300"/>
                </a:lnTo>
                <a:lnTo>
                  <a:pt x="0" y="2400300"/>
                </a:lnTo>
                <a:close/>
              </a:path>
            </a:pathLst>
          </a:custGeom>
          <a:solidFill>
            <a:schemeClr val="bg1">
              <a:lumMod val="95000"/>
            </a:schemeClr>
          </a:solidFill>
          <a:ln>
            <a:noFill/>
          </a:ln>
          <a:effectLst>
            <a:outerShdw blurRad="25400" dist="12700" dir="3000000" algn="tl"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Bembo"/>
              <a:ea typeface="+mn-ea"/>
              <a:cs typeface="+mn-cs"/>
            </a:endParaRPr>
          </a:p>
        </p:txBody>
      </p:sp>
      <p:sp>
        <p:nvSpPr>
          <p:cNvPr id="18" name="Title 1">
            <a:extLst>
              <a:ext uri="{FF2B5EF4-FFF2-40B4-BE49-F238E27FC236}">
                <a16:creationId xmlns:a16="http://schemas.microsoft.com/office/drawing/2014/main" id="{D516A0E2-D404-4CCA-9DA8-5C18DA11BDAC}"/>
              </a:ext>
            </a:extLst>
          </p:cNvPr>
          <p:cNvSpPr>
            <a:spLocks noGrp="1"/>
          </p:cNvSpPr>
          <p:nvPr>
            <p:ph type="title"/>
          </p:nvPr>
        </p:nvSpPr>
        <p:spPr>
          <a:xfrm>
            <a:off x="1050878" y="603623"/>
            <a:ext cx="5605103" cy="1222001"/>
          </a:xfrm>
        </p:spPr>
        <p:txBody>
          <a:bodyPr>
            <a:normAutofit/>
          </a:bodyPr>
          <a:lstStyle/>
          <a:p>
            <a:r>
              <a:rPr lang="en-US"/>
              <a:t>Click to edit Master title style</a:t>
            </a:r>
            <a:endParaRPr lang="en-US" dirty="0"/>
          </a:p>
        </p:txBody>
      </p:sp>
      <p:sp>
        <p:nvSpPr>
          <p:cNvPr id="19" name="Subtitle 2">
            <a:extLst>
              <a:ext uri="{FF2B5EF4-FFF2-40B4-BE49-F238E27FC236}">
                <a16:creationId xmlns:a16="http://schemas.microsoft.com/office/drawing/2014/main" id="{8DC7046C-D1A0-4AD8-AEA8-F3116FA5B897}"/>
              </a:ext>
            </a:extLst>
          </p:cNvPr>
          <p:cNvSpPr>
            <a:spLocks noGrp="1"/>
          </p:cNvSpPr>
          <p:nvPr>
            <p:ph idx="1"/>
          </p:nvPr>
        </p:nvSpPr>
        <p:spPr>
          <a:xfrm>
            <a:off x="1050878" y="2147357"/>
            <a:ext cx="5083222" cy="4253443"/>
          </a:xfrm>
        </p:spPr>
        <p:txBody>
          <a:bodyPr>
            <a:normAutofit/>
          </a:bodyPr>
          <a:lstStyle>
            <a:lvl1pPr marL="342900" indent="-342900">
              <a:buFont typeface="Arial" panose="020B0604020202020204" pitchFamily="34" charset="0"/>
              <a:buChar char="•"/>
              <a:defRPr sz="2000"/>
            </a:lvl1pPr>
          </a:lstStyle>
          <a:p>
            <a:pPr lvl="0"/>
            <a:r>
              <a:rPr lang="en-US"/>
              <a:t>Click to edit Master text styles</a:t>
            </a:r>
          </a:p>
        </p:txBody>
      </p:sp>
      <p:sp>
        <p:nvSpPr>
          <p:cNvPr id="30" name="Picture Placeholder 27">
            <a:extLst>
              <a:ext uri="{FF2B5EF4-FFF2-40B4-BE49-F238E27FC236}">
                <a16:creationId xmlns:a16="http://schemas.microsoft.com/office/drawing/2014/main" id="{6F647570-EE67-4211-B215-CA7C4ADFB1ED}"/>
              </a:ext>
            </a:extLst>
          </p:cNvPr>
          <p:cNvSpPr>
            <a:spLocks noGrp="1"/>
          </p:cNvSpPr>
          <p:nvPr>
            <p:ph type="pic" sz="quarter" idx="13" hasCustomPrompt="1"/>
          </p:nvPr>
        </p:nvSpPr>
        <p:spPr>
          <a:xfrm>
            <a:off x="7785759" y="1234865"/>
            <a:ext cx="3192054" cy="2080768"/>
          </a:xfrm>
        </p:spPr>
        <p:txBody>
          <a:bodyPr/>
          <a:lstStyle>
            <a:lvl1pPr marL="0" indent="0" algn="ctr">
              <a:buNone/>
              <a:defRPr/>
            </a:lvl1pPr>
          </a:lstStyle>
          <a:p>
            <a:r>
              <a:rPr lang="en-US" dirty="0"/>
              <a:t>Click to add photo</a:t>
            </a:r>
          </a:p>
        </p:txBody>
      </p:sp>
      <p:sp>
        <p:nvSpPr>
          <p:cNvPr id="31" name="Picture Placeholder 27">
            <a:extLst>
              <a:ext uri="{FF2B5EF4-FFF2-40B4-BE49-F238E27FC236}">
                <a16:creationId xmlns:a16="http://schemas.microsoft.com/office/drawing/2014/main" id="{F73F1593-ECA8-47D2-9428-EA469FCF6B21}"/>
              </a:ext>
            </a:extLst>
          </p:cNvPr>
          <p:cNvSpPr>
            <a:spLocks noGrp="1"/>
          </p:cNvSpPr>
          <p:nvPr>
            <p:ph type="pic" sz="quarter" idx="14" hasCustomPrompt="1"/>
          </p:nvPr>
        </p:nvSpPr>
        <p:spPr>
          <a:xfrm>
            <a:off x="7788349" y="3542367"/>
            <a:ext cx="3181056" cy="2080768"/>
          </a:xfrm>
        </p:spPr>
        <p:txBody>
          <a:bodyPr/>
          <a:lstStyle>
            <a:lvl1pPr marL="0" indent="0" algn="ctr">
              <a:buNone/>
              <a:defRPr/>
            </a:lvl1pPr>
          </a:lstStyle>
          <a:p>
            <a:r>
              <a:rPr lang="en-US" dirty="0"/>
              <a:t>Click to add photo</a:t>
            </a:r>
          </a:p>
        </p:txBody>
      </p:sp>
      <p:sp>
        <p:nvSpPr>
          <p:cNvPr id="22" name="Footer Placeholder 15">
            <a:extLst>
              <a:ext uri="{FF2B5EF4-FFF2-40B4-BE49-F238E27FC236}">
                <a16:creationId xmlns:a16="http://schemas.microsoft.com/office/drawing/2014/main" id="{A56A04D1-A25D-4C85-923C-4D9C5DA5B6FB}"/>
              </a:ext>
            </a:extLst>
          </p:cNvPr>
          <p:cNvSpPr>
            <a:spLocks noGrp="1"/>
          </p:cNvSpPr>
          <p:nvPr>
            <p:ph type="ftr" sz="quarter" idx="11"/>
          </p:nvPr>
        </p:nvSpPr>
        <p:spPr>
          <a:xfrm rot="5400000">
            <a:off x="10451592" y="1408176"/>
            <a:ext cx="2770499" cy="365125"/>
          </a:xfrm>
        </p:spPr>
        <p:txBody>
          <a:bodyPr/>
          <a:lstStyle>
            <a:lvl1pPr>
              <a:defRPr/>
            </a:lvl1pPr>
          </a:lstStyle>
          <a:p>
            <a:r>
              <a:rPr lang="en-US" dirty="0">
                <a:solidFill>
                  <a:prstClr val="black">
                    <a:lumMod val="85000"/>
                    <a:lumOff val="15000"/>
                  </a:prstClr>
                </a:solidFill>
              </a:rPr>
              <a:t>PRESENTATION TITLE</a:t>
            </a:r>
          </a:p>
        </p:txBody>
      </p:sp>
      <p:sp>
        <p:nvSpPr>
          <p:cNvPr id="25" name="Slide Number Placeholder 16">
            <a:extLst>
              <a:ext uri="{FF2B5EF4-FFF2-40B4-BE49-F238E27FC236}">
                <a16:creationId xmlns:a16="http://schemas.microsoft.com/office/drawing/2014/main" id="{7A472ABD-85E7-41D7-836B-95547F9E0D69}"/>
              </a:ext>
            </a:extLst>
          </p:cNvPr>
          <p:cNvSpPr>
            <a:spLocks noGrp="1"/>
          </p:cNvSpPr>
          <p:nvPr>
            <p:ph type="sldNum" sz="quarter" idx="12"/>
          </p:nvPr>
        </p:nvSpPr>
        <p:spPr>
          <a:xfrm>
            <a:off x="11558016" y="3136392"/>
            <a:ext cx="545911" cy="58002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D1FC6F8-0BCD-47E9-9C64-690771D9C143}" type="slidenum">
              <a:rPr kumimoji="0" lang="en-US" sz="1600" b="0" i="0" u="none" strike="noStrike" kern="1200" cap="none" spc="0" normalizeH="0" baseline="0" noProof="0" smtClean="0">
                <a:ln>
                  <a:noFill/>
                </a:ln>
                <a:solidFill>
                  <a:prstClr val="black">
                    <a:lumMod val="85000"/>
                    <a:lumOff val="15000"/>
                  </a:prstClr>
                </a:solidFill>
                <a:effectLst/>
                <a:uLnTx/>
                <a:uFillTx/>
                <a:latin typeface="Bembo"/>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prstClr val="black">
                  <a:lumMod val="85000"/>
                  <a:lumOff val="15000"/>
                </a:prstClr>
              </a:solidFill>
              <a:effectLst/>
              <a:uLnTx/>
              <a:uFillTx/>
              <a:latin typeface="Bembo"/>
              <a:ea typeface="+mn-ea"/>
              <a:cs typeface="+mn-cs"/>
            </a:endParaRPr>
          </a:p>
        </p:txBody>
      </p:sp>
      <p:sp>
        <p:nvSpPr>
          <p:cNvPr id="26" name="Date Placeholder 14">
            <a:extLst>
              <a:ext uri="{FF2B5EF4-FFF2-40B4-BE49-F238E27FC236}">
                <a16:creationId xmlns:a16="http://schemas.microsoft.com/office/drawing/2014/main" id="{B69D16BD-38DD-42C5-8058-87A9C62C5CB6}"/>
              </a:ext>
            </a:extLst>
          </p:cNvPr>
          <p:cNvSpPr>
            <a:spLocks noGrp="1"/>
          </p:cNvSpPr>
          <p:nvPr>
            <p:ph type="dt" sz="half" idx="10"/>
          </p:nvPr>
        </p:nvSpPr>
        <p:spPr>
          <a:xfrm rot="5400000">
            <a:off x="10506456" y="5074920"/>
            <a:ext cx="264766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all" spc="300" normalizeH="0" baseline="0" noProof="0" dirty="0">
                <a:ln>
                  <a:noFill/>
                </a:ln>
                <a:solidFill>
                  <a:prstClr val="black">
                    <a:lumMod val="85000"/>
                    <a:lumOff val="15000"/>
                  </a:prstClr>
                </a:solidFill>
                <a:effectLst/>
                <a:uLnTx/>
                <a:uFillTx/>
                <a:latin typeface="Bembo"/>
                <a:ea typeface="+mn-ea"/>
                <a:cs typeface="+mn-cs"/>
              </a:rPr>
              <a:t>20XX</a:t>
            </a:r>
          </a:p>
        </p:txBody>
      </p:sp>
    </p:spTree>
    <p:extLst>
      <p:ext uri="{BB962C8B-B14F-4D97-AF65-F5344CB8AC3E}">
        <p14:creationId xmlns:p14="http://schemas.microsoft.com/office/powerpoint/2010/main" val="27511196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790C7E02-2DBF-47FD-AFC3-449B26D63193}"/>
              </a:ext>
              <a:ext uri="{C183D7F6-B498-43B3-948B-1728B52AA6E4}">
                <adec:decorative xmlns:adec="http://schemas.microsoft.com/office/drawing/2017/decorative" val="1"/>
              </a:ext>
            </a:extLst>
          </p:cNvPr>
          <p:cNvSpPr/>
          <p:nvPr userDrawn="1"/>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Bembo"/>
              <a:ea typeface="+mn-ea"/>
              <a:cs typeface="+mn-cs"/>
            </a:endParaRPr>
          </a:p>
        </p:txBody>
      </p:sp>
      <p:sp>
        <p:nvSpPr>
          <p:cNvPr id="8" name="Rectangle 7">
            <a:extLst>
              <a:ext uri="{FF2B5EF4-FFF2-40B4-BE49-F238E27FC236}">
                <a16:creationId xmlns:a16="http://schemas.microsoft.com/office/drawing/2014/main" id="{EF69A493-0714-4818-8A3F-622C9B00FDE1}"/>
              </a:ext>
              <a:ext uri="{C183D7F6-B498-43B3-948B-1728B52AA6E4}">
                <adec:decorative xmlns:adec="http://schemas.microsoft.com/office/drawing/2017/decorative" val="1"/>
              </a:ext>
            </a:extLst>
          </p:cNvPr>
          <p:cNvSpPr/>
          <p:nvPr userDrawn="1"/>
        </p:nvSpPr>
        <p:spPr>
          <a:xfrm>
            <a:off x="4837042" y="1"/>
            <a:ext cx="7354956" cy="6857999"/>
          </a:xfrm>
          <a:prstGeom prst="rect">
            <a:avLst/>
          </a:prstGeom>
          <a:solidFill>
            <a:srgbClr val="82766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Bembo"/>
              <a:ea typeface="+mn-ea"/>
              <a:cs typeface="+mn-cs"/>
            </a:endParaRPr>
          </a:p>
        </p:txBody>
      </p:sp>
      <p:sp>
        <p:nvSpPr>
          <p:cNvPr id="9" name="Title 1">
            <a:extLst>
              <a:ext uri="{FF2B5EF4-FFF2-40B4-BE49-F238E27FC236}">
                <a16:creationId xmlns:a16="http://schemas.microsoft.com/office/drawing/2014/main" id="{06AD06C0-BCC7-4406-B2AB-9DB4A72F1140}"/>
              </a:ext>
            </a:extLst>
          </p:cNvPr>
          <p:cNvSpPr>
            <a:spLocks noGrp="1"/>
          </p:cNvSpPr>
          <p:nvPr>
            <p:ph type="title"/>
          </p:nvPr>
        </p:nvSpPr>
        <p:spPr>
          <a:xfrm>
            <a:off x="7131165" y="609601"/>
            <a:ext cx="4272537" cy="1216024"/>
          </a:xfrm>
        </p:spPr>
        <p:txBody>
          <a:bodyPr>
            <a:normAutofit/>
          </a:bodyPr>
          <a:lstStyle/>
          <a:p>
            <a:pPr algn="ctr"/>
            <a:r>
              <a:rPr lang="en-US"/>
              <a:t>Click to edit Master title style</a:t>
            </a:r>
            <a:endParaRPr lang="en-US" dirty="0"/>
          </a:p>
        </p:txBody>
      </p:sp>
      <p:sp>
        <p:nvSpPr>
          <p:cNvPr id="18" name="Picture Placeholder 17">
            <a:extLst>
              <a:ext uri="{FF2B5EF4-FFF2-40B4-BE49-F238E27FC236}">
                <a16:creationId xmlns:a16="http://schemas.microsoft.com/office/drawing/2014/main" id="{DE7B8B30-4CE9-482C-82CB-0FE02001277C}"/>
              </a:ext>
            </a:extLst>
          </p:cNvPr>
          <p:cNvSpPr>
            <a:spLocks noGrp="1"/>
          </p:cNvSpPr>
          <p:nvPr>
            <p:ph type="pic" sz="quarter" idx="13" hasCustomPrompt="1"/>
          </p:nvPr>
        </p:nvSpPr>
        <p:spPr>
          <a:xfrm>
            <a:off x="4" y="2"/>
            <a:ext cx="7037119" cy="6857999"/>
          </a:xfrm>
          <a:custGeom>
            <a:avLst/>
            <a:gdLst>
              <a:gd name="connsiteX0" fmla="*/ 0 w 7037119"/>
              <a:gd name="connsiteY0" fmla="*/ 0 h 6857999"/>
              <a:gd name="connsiteX1" fmla="*/ 6964192 w 7037119"/>
              <a:gd name="connsiteY1" fmla="*/ 0 h 6857999"/>
              <a:gd name="connsiteX2" fmla="*/ 6958160 w 7037119"/>
              <a:gd name="connsiteY2" fmla="*/ 70714 h 6857999"/>
              <a:gd name="connsiteX3" fmla="*/ 6922034 w 7037119"/>
              <a:gd name="connsiteY3" fmla="*/ 154825 h 6857999"/>
              <a:gd name="connsiteX4" fmla="*/ 6864029 w 7037119"/>
              <a:gd name="connsiteY4" fmla="*/ 301580 h 6857999"/>
              <a:gd name="connsiteX5" fmla="*/ 6842156 w 7037119"/>
              <a:gd name="connsiteY5" fmla="*/ 642469 h 6857999"/>
              <a:gd name="connsiteX6" fmla="*/ 6802087 w 7037119"/>
              <a:gd name="connsiteY6" fmla="*/ 818449 h 6857999"/>
              <a:gd name="connsiteX7" fmla="*/ 6798684 w 7037119"/>
              <a:gd name="connsiteY7" fmla="*/ 875396 h 6857999"/>
              <a:gd name="connsiteX8" fmla="*/ 6756983 w 7037119"/>
              <a:gd name="connsiteY8" fmla="*/ 952375 h 6857999"/>
              <a:gd name="connsiteX9" fmla="*/ 6758478 w 7037119"/>
              <a:gd name="connsiteY9" fmla="*/ 972424 h 6857999"/>
              <a:gd name="connsiteX10" fmla="*/ 6752651 w 7037119"/>
              <a:gd name="connsiteY10" fmla="*/ 996407 h 6857999"/>
              <a:gd name="connsiteX11" fmla="*/ 6716997 w 7037119"/>
              <a:gd name="connsiteY11" fmla="*/ 1091248 h 6857999"/>
              <a:gd name="connsiteX12" fmla="*/ 6657090 w 7037119"/>
              <a:gd name="connsiteY12" fmla="*/ 1307489 h 6857999"/>
              <a:gd name="connsiteX13" fmla="*/ 6508075 w 7037119"/>
              <a:gd name="connsiteY13" fmla="*/ 1709568 h 6857999"/>
              <a:gd name="connsiteX14" fmla="*/ 6462759 w 7037119"/>
              <a:gd name="connsiteY14" fmla="*/ 1811874 h 6857999"/>
              <a:gd name="connsiteX15" fmla="*/ 6383790 w 7037119"/>
              <a:gd name="connsiteY15" fmla="*/ 2228963 h 6857999"/>
              <a:gd name="connsiteX16" fmla="*/ 6369096 w 7037119"/>
              <a:gd name="connsiteY16" fmla="*/ 2404942 h 6857999"/>
              <a:gd name="connsiteX17" fmla="*/ 6365696 w 7037119"/>
              <a:gd name="connsiteY17" fmla="*/ 2461889 h 6857999"/>
              <a:gd name="connsiteX18" fmla="*/ 6323990 w 7037119"/>
              <a:gd name="connsiteY18" fmla="*/ 2538869 h 6857999"/>
              <a:gd name="connsiteX19" fmla="*/ 6299971 w 7037119"/>
              <a:gd name="connsiteY19" fmla="*/ 2852842 h 6857999"/>
              <a:gd name="connsiteX20" fmla="*/ 6305256 w 7037119"/>
              <a:gd name="connsiteY20" fmla="*/ 2965146 h 6857999"/>
              <a:gd name="connsiteX21" fmla="*/ 6297430 w 7037119"/>
              <a:gd name="connsiteY21" fmla="*/ 3010980 h 6857999"/>
              <a:gd name="connsiteX22" fmla="*/ 6301903 w 7037119"/>
              <a:gd name="connsiteY22" fmla="*/ 3017531 h 6857999"/>
              <a:gd name="connsiteX23" fmla="*/ 6312288 w 7037119"/>
              <a:gd name="connsiteY23" fmla="*/ 3141762 h 6857999"/>
              <a:gd name="connsiteX24" fmla="*/ 6317307 w 7037119"/>
              <a:gd name="connsiteY24" fmla="*/ 3167974 h 6857999"/>
              <a:gd name="connsiteX25" fmla="*/ 6319343 w 7037119"/>
              <a:gd name="connsiteY25" fmla="*/ 3170223 h 6857999"/>
              <a:gd name="connsiteX26" fmla="*/ 6388791 w 7037119"/>
              <a:gd name="connsiteY26" fmla="*/ 3425292 h 6857999"/>
              <a:gd name="connsiteX27" fmla="*/ 6473625 w 7037119"/>
              <a:gd name="connsiteY27" fmla="*/ 3778499 h 6857999"/>
              <a:gd name="connsiteX28" fmla="*/ 6488572 w 7037119"/>
              <a:gd name="connsiteY28" fmla="*/ 4010514 h 6857999"/>
              <a:gd name="connsiteX29" fmla="*/ 6542727 w 7037119"/>
              <a:gd name="connsiteY29" fmla="*/ 4142824 h 6857999"/>
              <a:gd name="connsiteX30" fmla="*/ 6574700 w 7037119"/>
              <a:gd name="connsiteY30" fmla="*/ 4253089 h 6857999"/>
              <a:gd name="connsiteX31" fmla="*/ 6630782 w 7037119"/>
              <a:gd name="connsiteY31" fmla="*/ 4495230 h 6857999"/>
              <a:gd name="connsiteX32" fmla="*/ 6657121 w 7037119"/>
              <a:gd name="connsiteY32" fmla="*/ 4592798 h 6857999"/>
              <a:gd name="connsiteX33" fmla="*/ 6675304 w 7037119"/>
              <a:gd name="connsiteY33" fmla="*/ 4625784 h 6857999"/>
              <a:gd name="connsiteX34" fmla="*/ 6695194 w 7037119"/>
              <a:gd name="connsiteY34" fmla="*/ 4674587 h 6857999"/>
              <a:gd name="connsiteX35" fmla="*/ 6694674 w 7037119"/>
              <a:gd name="connsiteY35" fmla="*/ 4706669 h 6857999"/>
              <a:gd name="connsiteX36" fmla="*/ 6696125 w 7037119"/>
              <a:gd name="connsiteY36" fmla="*/ 4712312 h 6857999"/>
              <a:gd name="connsiteX37" fmla="*/ 6683308 w 7037119"/>
              <a:gd name="connsiteY37" fmla="*/ 4752491 h 6857999"/>
              <a:gd name="connsiteX38" fmla="*/ 6662625 w 7037119"/>
              <a:gd name="connsiteY38" fmla="*/ 4924134 h 6857999"/>
              <a:gd name="connsiteX39" fmla="*/ 6666282 w 7037119"/>
              <a:gd name="connsiteY39" fmla="*/ 5049729 h 6857999"/>
              <a:gd name="connsiteX40" fmla="*/ 6674923 w 7037119"/>
              <a:gd name="connsiteY40" fmla="*/ 5092608 h 6857999"/>
              <a:gd name="connsiteX41" fmla="*/ 6688949 w 7037119"/>
              <a:gd name="connsiteY41" fmla="*/ 5164561 h 6857999"/>
              <a:gd name="connsiteX42" fmla="*/ 6713476 w 7037119"/>
              <a:gd name="connsiteY42" fmla="*/ 5227429 h 6857999"/>
              <a:gd name="connsiteX43" fmla="*/ 6699741 w 7037119"/>
              <a:gd name="connsiteY43" fmla="*/ 5295738 h 6857999"/>
              <a:gd name="connsiteX44" fmla="*/ 6698438 w 7037119"/>
              <a:gd name="connsiteY44" fmla="*/ 5353315 h 6857999"/>
              <a:gd name="connsiteX45" fmla="*/ 6705394 w 7037119"/>
              <a:gd name="connsiteY45" fmla="*/ 5356747 h 6857999"/>
              <a:gd name="connsiteX46" fmla="*/ 6705941 w 7037119"/>
              <a:gd name="connsiteY46" fmla="*/ 5364029 h 6857999"/>
              <a:gd name="connsiteX47" fmla="*/ 6698760 w 7037119"/>
              <a:gd name="connsiteY47" fmla="*/ 5369188 h 6857999"/>
              <a:gd name="connsiteX48" fmla="*/ 6674560 w 7037119"/>
              <a:gd name="connsiteY48" fmla="*/ 5465115 h 6857999"/>
              <a:gd name="connsiteX49" fmla="*/ 6698322 w 7037119"/>
              <a:gd name="connsiteY49" fmla="*/ 5543278 h 6857999"/>
              <a:gd name="connsiteX50" fmla="*/ 6673987 w 7037119"/>
              <a:gd name="connsiteY50" fmla="*/ 5606762 h 6857999"/>
              <a:gd name="connsiteX51" fmla="*/ 6665359 w 7037119"/>
              <a:gd name="connsiteY51" fmla="*/ 5656986 h 6857999"/>
              <a:gd name="connsiteX52" fmla="*/ 6718420 w 7037119"/>
              <a:gd name="connsiteY52" fmla="*/ 5747675 h 6857999"/>
              <a:gd name="connsiteX53" fmla="*/ 6786357 w 7037119"/>
              <a:gd name="connsiteY53" fmla="*/ 5797270 h 6857999"/>
              <a:gd name="connsiteX54" fmla="*/ 6834299 w 7037119"/>
              <a:gd name="connsiteY54" fmla="*/ 5897781 h 6857999"/>
              <a:gd name="connsiteX55" fmla="*/ 6848771 w 7037119"/>
              <a:gd name="connsiteY55" fmla="*/ 5936497 h 6857999"/>
              <a:gd name="connsiteX56" fmla="*/ 6883460 w 7037119"/>
              <a:gd name="connsiteY56" fmla="*/ 6064046 h 6857999"/>
              <a:gd name="connsiteX57" fmla="*/ 6896072 w 7037119"/>
              <a:gd name="connsiteY57" fmla="*/ 6107188 h 6857999"/>
              <a:gd name="connsiteX58" fmla="*/ 6980725 w 7037119"/>
              <a:gd name="connsiteY58" fmla="*/ 6197444 h 6857999"/>
              <a:gd name="connsiteX59" fmla="*/ 6999028 w 7037119"/>
              <a:gd name="connsiteY59" fmla="*/ 6288610 h 6857999"/>
              <a:gd name="connsiteX60" fmla="*/ 7021306 w 7037119"/>
              <a:gd name="connsiteY60" fmla="*/ 6426700 h 6857999"/>
              <a:gd name="connsiteX61" fmla="*/ 7033259 w 7037119"/>
              <a:gd name="connsiteY61" fmla="*/ 6489284 h 6857999"/>
              <a:gd name="connsiteX62" fmla="*/ 7037119 w 7037119"/>
              <a:gd name="connsiteY62" fmla="*/ 6501140 h 6857999"/>
              <a:gd name="connsiteX63" fmla="*/ 7037119 w 7037119"/>
              <a:gd name="connsiteY63" fmla="*/ 6557754 h 6857999"/>
              <a:gd name="connsiteX64" fmla="*/ 7031649 w 7037119"/>
              <a:gd name="connsiteY64" fmla="*/ 6569925 h 6857999"/>
              <a:gd name="connsiteX65" fmla="*/ 7011548 w 7037119"/>
              <a:gd name="connsiteY65" fmla="*/ 6615002 h 6857999"/>
              <a:gd name="connsiteX66" fmla="*/ 7021837 w 7037119"/>
              <a:gd name="connsiteY66" fmla="*/ 6743644 h 6857999"/>
              <a:gd name="connsiteX67" fmla="*/ 7006394 w 7037119"/>
              <a:gd name="connsiteY67" fmla="*/ 6856390 h 6857999"/>
              <a:gd name="connsiteX68" fmla="*/ 7037119 w 7037119"/>
              <a:gd name="connsiteY68" fmla="*/ 6856494 h 6857999"/>
              <a:gd name="connsiteX69" fmla="*/ 7037119 w 7037119"/>
              <a:gd name="connsiteY69" fmla="*/ 6857999 h 6857999"/>
              <a:gd name="connsiteX70" fmla="*/ 0 w 7037119"/>
              <a:gd name="connsiteY70"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037119" h="6857999">
                <a:moveTo>
                  <a:pt x="0" y="0"/>
                </a:moveTo>
                <a:lnTo>
                  <a:pt x="6964192" y="0"/>
                </a:lnTo>
                <a:lnTo>
                  <a:pt x="6958160" y="70714"/>
                </a:lnTo>
                <a:cubicBezTo>
                  <a:pt x="6951001" y="105084"/>
                  <a:pt x="6926062" y="125041"/>
                  <a:pt x="6922034" y="154825"/>
                </a:cubicBezTo>
                <a:cubicBezTo>
                  <a:pt x="6888738" y="184083"/>
                  <a:pt x="6875225" y="272154"/>
                  <a:pt x="6864029" y="301580"/>
                </a:cubicBezTo>
                <a:cubicBezTo>
                  <a:pt x="6850541" y="382476"/>
                  <a:pt x="6857766" y="543626"/>
                  <a:pt x="6842156" y="642469"/>
                </a:cubicBezTo>
                <a:cubicBezTo>
                  <a:pt x="6828250" y="715553"/>
                  <a:pt x="6832569" y="729947"/>
                  <a:pt x="6802087" y="818449"/>
                </a:cubicBezTo>
                <a:cubicBezTo>
                  <a:pt x="6828151" y="830541"/>
                  <a:pt x="6801214" y="859084"/>
                  <a:pt x="6798684" y="875396"/>
                </a:cubicBezTo>
                <a:cubicBezTo>
                  <a:pt x="6792414" y="895056"/>
                  <a:pt x="6762852" y="912465"/>
                  <a:pt x="6756983" y="952375"/>
                </a:cubicBezTo>
                <a:lnTo>
                  <a:pt x="6758478" y="972424"/>
                </a:lnTo>
                <a:lnTo>
                  <a:pt x="6752651" y="996407"/>
                </a:lnTo>
                <a:cubicBezTo>
                  <a:pt x="6744201" y="1040546"/>
                  <a:pt x="6736270" y="1086165"/>
                  <a:pt x="6716997" y="1091248"/>
                </a:cubicBezTo>
                <a:cubicBezTo>
                  <a:pt x="6678332" y="1122349"/>
                  <a:pt x="6707411" y="1240829"/>
                  <a:pt x="6657090" y="1307489"/>
                </a:cubicBezTo>
                <a:cubicBezTo>
                  <a:pt x="6621135" y="1444387"/>
                  <a:pt x="6524184" y="1590429"/>
                  <a:pt x="6508075" y="1709568"/>
                </a:cubicBezTo>
                <a:cubicBezTo>
                  <a:pt x="6474780" y="1738828"/>
                  <a:pt x="6473953" y="1782449"/>
                  <a:pt x="6462759" y="1811874"/>
                </a:cubicBezTo>
                <a:cubicBezTo>
                  <a:pt x="6449270" y="1892769"/>
                  <a:pt x="6399402" y="2130120"/>
                  <a:pt x="6383790" y="2228963"/>
                </a:cubicBezTo>
                <a:cubicBezTo>
                  <a:pt x="6369883" y="2302046"/>
                  <a:pt x="6399578" y="2316440"/>
                  <a:pt x="6369096" y="2404942"/>
                </a:cubicBezTo>
                <a:cubicBezTo>
                  <a:pt x="6395161" y="2417035"/>
                  <a:pt x="6368224" y="2445577"/>
                  <a:pt x="6365696" y="2461889"/>
                </a:cubicBezTo>
                <a:cubicBezTo>
                  <a:pt x="6359423" y="2481550"/>
                  <a:pt x="6329861" y="2498958"/>
                  <a:pt x="6323990" y="2538869"/>
                </a:cubicBezTo>
                <a:cubicBezTo>
                  <a:pt x="6317721" y="2603362"/>
                  <a:pt x="6317811" y="2723423"/>
                  <a:pt x="6299971" y="2852842"/>
                </a:cubicBezTo>
                <a:cubicBezTo>
                  <a:pt x="6296888" y="2889820"/>
                  <a:pt x="6314227" y="2924069"/>
                  <a:pt x="6305256" y="2965146"/>
                </a:cubicBezTo>
                <a:lnTo>
                  <a:pt x="6297430" y="3010980"/>
                </a:lnTo>
                <a:lnTo>
                  <a:pt x="6301903" y="3017531"/>
                </a:lnTo>
                <a:lnTo>
                  <a:pt x="6312288" y="3141762"/>
                </a:lnTo>
                <a:cubicBezTo>
                  <a:pt x="6310891" y="3148458"/>
                  <a:pt x="6311653" y="3156601"/>
                  <a:pt x="6317307" y="3167974"/>
                </a:cubicBezTo>
                <a:lnTo>
                  <a:pt x="6319343" y="3170223"/>
                </a:lnTo>
                <a:lnTo>
                  <a:pt x="6388791" y="3425292"/>
                </a:lnTo>
                <a:cubicBezTo>
                  <a:pt x="6411564" y="3519098"/>
                  <a:pt x="6451294" y="3670230"/>
                  <a:pt x="6473625" y="3778499"/>
                </a:cubicBezTo>
                <a:cubicBezTo>
                  <a:pt x="6461715" y="3876413"/>
                  <a:pt x="6479795" y="3911499"/>
                  <a:pt x="6488572" y="4010514"/>
                </a:cubicBezTo>
                <a:cubicBezTo>
                  <a:pt x="6537658" y="4041328"/>
                  <a:pt x="6522549" y="4094791"/>
                  <a:pt x="6542727" y="4142824"/>
                </a:cubicBezTo>
                <a:cubicBezTo>
                  <a:pt x="6562367" y="4174785"/>
                  <a:pt x="6560025" y="4194356"/>
                  <a:pt x="6574700" y="4253089"/>
                </a:cubicBezTo>
                <a:lnTo>
                  <a:pt x="6630782" y="4495230"/>
                </a:lnTo>
                <a:cubicBezTo>
                  <a:pt x="6629041" y="4518096"/>
                  <a:pt x="6642831" y="4583613"/>
                  <a:pt x="6657121" y="4592798"/>
                </a:cubicBezTo>
                <a:cubicBezTo>
                  <a:pt x="6662404" y="4605798"/>
                  <a:pt x="6661388" y="4622935"/>
                  <a:pt x="6675304" y="4625784"/>
                </a:cubicBezTo>
                <a:cubicBezTo>
                  <a:pt x="6692614" y="4632048"/>
                  <a:pt x="6678575" y="4686348"/>
                  <a:pt x="6695194" y="4674587"/>
                </a:cubicBezTo>
                <a:cubicBezTo>
                  <a:pt x="6692850" y="4684186"/>
                  <a:pt x="6692968" y="4695174"/>
                  <a:pt x="6694674" y="4706669"/>
                </a:cubicBezTo>
                <a:lnTo>
                  <a:pt x="6696125" y="4712312"/>
                </a:lnTo>
                <a:lnTo>
                  <a:pt x="6683308" y="4752491"/>
                </a:lnTo>
                <a:cubicBezTo>
                  <a:pt x="6668335" y="4814629"/>
                  <a:pt x="6667993" y="4870176"/>
                  <a:pt x="6662625" y="4924134"/>
                </a:cubicBezTo>
                <a:cubicBezTo>
                  <a:pt x="6658601" y="5004697"/>
                  <a:pt x="6700287" y="4943260"/>
                  <a:pt x="6666282" y="5049729"/>
                </a:cubicBezTo>
                <a:cubicBezTo>
                  <a:pt x="6680923" y="5057425"/>
                  <a:pt x="6681720" y="5069899"/>
                  <a:pt x="6674923" y="5092608"/>
                </a:cubicBezTo>
                <a:cubicBezTo>
                  <a:pt x="6674055" y="5131530"/>
                  <a:pt x="6710642" y="5120894"/>
                  <a:pt x="6688949" y="5164561"/>
                </a:cubicBezTo>
                <a:lnTo>
                  <a:pt x="6713476" y="5227429"/>
                </a:lnTo>
                <a:cubicBezTo>
                  <a:pt x="6707551" y="5224995"/>
                  <a:pt x="6700321" y="5279972"/>
                  <a:pt x="6699741" y="5295738"/>
                </a:cubicBezTo>
                <a:cubicBezTo>
                  <a:pt x="6701613" y="5328539"/>
                  <a:pt x="6674230" y="5338382"/>
                  <a:pt x="6698438" y="5353315"/>
                </a:cubicBezTo>
                <a:lnTo>
                  <a:pt x="6705394" y="5356747"/>
                </a:lnTo>
                <a:cubicBezTo>
                  <a:pt x="6705576" y="5359175"/>
                  <a:pt x="6705758" y="5361603"/>
                  <a:pt x="6705941" y="5364029"/>
                </a:cubicBezTo>
                <a:cubicBezTo>
                  <a:pt x="6705372" y="5367899"/>
                  <a:pt x="6703413" y="5370023"/>
                  <a:pt x="6698760" y="5369188"/>
                </a:cubicBezTo>
                <a:cubicBezTo>
                  <a:pt x="6715543" y="5400565"/>
                  <a:pt x="6682626" y="5434448"/>
                  <a:pt x="6674560" y="5465115"/>
                </a:cubicBezTo>
                <a:cubicBezTo>
                  <a:pt x="6691190" y="5489165"/>
                  <a:pt x="6702277" y="5478984"/>
                  <a:pt x="6698322" y="5543278"/>
                </a:cubicBezTo>
                <a:lnTo>
                  <a:pt x="6673987" y="5606762"/>
                </a:lnTo>
                <a:lnTo>
                  <a:pt x="6665359" y="5656986"/>
                </a:lnTo>
                <a:lnTo>
                  <a:pt x="6718420" y="5747675"/>
                </a:lnTo>
                <a:cubicBezTo>
                  <a:pt x="6736039" y="5788270"/>
                  <a:pt x="6794550" y="5740224"/>
                  <a:pt x="6786357" y="5797270"/>
                </a:cubicBezTo>
                <a:cubicBezTo>
                  <a:pt x="6803000" y="5835160"/>
                  <a:pt x="6831082" y="5856958"/>
                  <a:pt x="6834299" y="5897781"/>
                </a:cubicBezTo>
                <a:cubicBezTo>
                  <a:pt x="6850938" y="5902014"/>
                  <a:pt x="6860579" y="5910872"/>
                  <a:pt x="6848771" y="5936497"/>
                </a:cubicBezTo>
                <a:lnTo>
                  <a:pt x="6883460" y="6064046"/>
                </a:lnTo>
                <a:cubicBezTo>
                  <a:pt x="6906450" y="6070324"/>
                  <a:pt x="6870051" y="6102610"/>
                  <a:pt x="6896072" y="6107188"/>
                </a:cubicBezTo>
                <a:cubicBezTo>
                  <a:pt x="6912283" y="6129421"/>
                  <a:pt x="6963567" y="6167207"/>
                  <a:pt x="6980725" y="6197444"/>
                </a:cubicBezTo>
                <a:cubicBezTo>
                  <a:pt x="6947762" y="6297975"/>
                  <a:pt x="6995609" y="6226141"/>
                  <a:pt x="6999028" y="6288610"/>
                </a:cubicBezTo>
                <a:cubicBezTo>
                  <a:pt x="6997432" y="6346629"/>
                  <a:pt x="7058551" y="6337651"/>
                  <a:pt x="7021306" y="6426700"/>
                </a:cubicBezTo>
                <a:cubicBezTo>
                  <a:pt x="7020466" y="6447474"/>
                  <a:pt x="7026793" y="6469543"/>
                  <a:pt x="7033259" y="6489284"/>
                </a:cubicBezTo>
                <a:lnTo>
                  <a:pt x="7037119" y="6501140"/>
                </a:lnTo>
                <a:lnTo>
                  <a:pt x="7037119" y="6557754"/>
                </a:lnTo>
                <a:lnTo>
                  <a:pt x="7031649" y="6569925"/>
                </a:lnTo>
                <a:cubicBezTo>
                  <a:pt x="7023197" y="6591634"/>
                  <a:pt x="7028560" y="6588450"/>
                  <a:pt x="7011548" y="6615002"/>
                </a:cubicBezTo>
                <a:cubicBezTo>
                  <a:pt x="7016567" y="6637881"/>
                  <a:pt x="7011534" y="6732922"/>
                  <a:pt x="7021837" y="6743644"/>
                </a:cubicBezTo>
                <a:cubicBezTo>
                  <a:pt x="7023032" y="6757943"/>
                  <a:pt x="7005198" y="6842091"/>
                  <a:pt x="7006394" y="6856390"/>
                </a:cubicBezTo>
                <a:lnTo>
                  <a:pt x="7037119" y="6856494"/>
                </a:lnTo>
                <a:lnTo>
                  <a:pt x="7037119" y="6857999"/>
                </a:lnTo>
                <a:lnTo>
                  <a:pt x="0" y="6857999"/>
                </a:lnTo>
                <a:close/>
              </a:path>
            </a:pathLst>
          </a:custGeom>
        </p:spPr>
        <p:txBody>
          <a:bodyPr wrap="square">
            <a:noAutofit/>
          </a:bodyPr>
          <a:lstStyle>
            <a:lvl1pPr marL="0" indent="0" algn="ctr">
              <a:buNone/>
              <a:defRPr/>
            </a:lvl1pPr>
          </a:lstStyle>
          <a:p>
            <a:r>
              <a:rPr lang="en-US" dirty="0"/>
              <a:t>Click to add photo</a:t>
            </a:r>
          </a:p>
        </p:txBody>
      </p:sp>
      <p:sp>
        <p:nvSpPr>
          <p:cNvPr id="11" name="Content Placeholder 2">
            <a:extLst>
              <a:ext uri="{FF2B5EF4-FFF2-40B4-BE49-F238E27FC236}">
                <a16:creationId xmlns:a16="http://schemas.microsoft.com/office/drawing/2014/main" id="{E5B2D30B-E0D8-4FC4-B207-44EC56C67F34}"/>
              </a:ext>
            </a:extLst>
          </p:cNvPr>
          <p:cNvSpPr>
            <a:spLocks noGrp="1"/>
          </p:cNvSpPr>
          <p:nvPr>
            <p:ph idx="1"/>
          </p:nvPr>
        </p:nvSpPr>
        <p:spPr>
          <a:xfrm>
            <a:off x="7127630" y="2147356"/>
            <a:ext cx="4216071" cy="4107021"/>
          </a:xfrm>
        </p:spPr>
        <p:txBody>
          <a:bodyPr>
            <a:normAutofit/>
          </a:bodyPr>
          <a:lstStyle>
            <a:lvl1pPr marL="0" indent="0">
              <a:buNone/>
              <a:defRPr/>
            </a:lvl1pPr>
          </a:lstStyle>
          <a:p>
            <a:pPr lvl="0"/>
            <a:r>
              <a:rPr lang="en-US"/>
              <a:t>Click to edit Master text styles</a:t>
            </a:r>
          </a:p>
        </p:txBody>
      </p:sp>
      <p:sp>
        <p:nvSpPr>
          <p:cNvPr id="12" name="Footer Placeholder 4">
            <a:extLst>
              <a:ext uri="{FF2B5EF4-FFF2-40B4-BE49-F238E27FC236}">
                <a16:creationId xmlns:a16="http://schemas.microsoft.com/office/drawing/2014/main" id="{EA4A5BF6-A686-490A-B7BF-4BDDF8E8A509}"/>
              </a:ext>
            </a:extLst>
          </p:cNvPr>
          <p:cNvSpPr>
            <a:spLocks noGrp="1"/>
          </p:cNvSpPr>
          <p:nvPr>
            <p:ph type="ftr" sz="quarter" idx="11"/>
          </p:nvPr>
        </p:nvSpPr>
        <p:spPr>
          <a:xfrm rot="5400000">
            <a:off x="10451592" y="1408176"/>
            <a:ext cx="2770499"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all" spc="300" normalizeH="0" baseline="0" noProof="0" dirty="0">
                <a:ln>
                  <a:noFill/>
                </a:ln>
                <a:solidFill>
                  <a:prstClr val="black">
                    <a:lumMod val="85000"/>
                    <a:lumOff val="15000"/>
                  </a:prstClr>
                </a:solidFill>
                <a:effectLst/>
                <a:uLnTx/>
                <a:uFillTx/>
                <a:latin typeface="Bembo"/>
                <a:ea typeface="+mn-ea"/>
                <a:cs typeface="+mn-cs"/>
              </a:rPr>
              <a:t>PRESENTATION TITLE</a:t>
            </a:r>
          </a:p>
        </p:txBody>
      </p:sp>
      <p:sp>
        <p:nvSpPr>
          <p:cNvPr id="13" name="Slide Number Placeholder 5">
            <a:extLst>
              <a:ext uri="{FF2B5EF4-FFF2-40B4-BE49-F238E27FC236}">
                <a16:creationId xmlns:a16="http://schemas.microsoft.com/office/drawing/2014/main" id="{6FF7F8B5-4E4A-4F26-8FBC-5745978EF657}"/>
              </a:ext>
            </a:extLst>
          </p:cNvPr>
          <p:cNvSpPr>
            <a:spLocks noGrp="1"/>
          </p:cNvSpPr>
          <p:nvPr>
            <p:ph type="sldNum" sz="quarter" idx="12"/>
          </p:nvPr>
        </p:nvSpPr>
        <p:spPr>
          <a:xfrm>
            <a:off x="11558016" y="3136392"/>
            <a:ext cx="545911" cy="58002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43D57DF-21C1-4455-B7C2-0ADA5F7438B1}" type="slidenum">
              <a:rPr kumimoji="0" lang="en-US" sz="1600" b="0" i="0" u="none" strike="noStrike" kern="1200" cap="none" spc="0" normalizeH="0" baseline="0" noProof="0" smtClean="0">
                <a:ln>
                  <a:noFill/>
                </a:ln>
                <a:solidFill>
                  <a:prstClr val="black">
                    <a:lumMod val="85000"/>
                    <a:lumOff val="15000"/>
                  </a:prstClr>
                </a:solidFill>
                <a:effectLst/>
                <a:uLnTx/>
                <a:uFillTx/>
                <a:latin typeface="Bembo"/>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prstClr val="black">
                  <a:lumMod val="85000"/>
                  <a:lumOff val="15000"/>
                </a:prstClr>
              </a:solidFill>
              <a:effectLst/>
              <a:uLnTx/>
              <a:uFillTx/>
              <a:latin typeface="Bembo"/>
              <a:ea typeface="+mn-ea"/>
              <a:cs typeface="+mn-cs"/>
            </a:endParaRPr>
          </a:p>
        </p:txBody>
      </p:sp>
      <p:sp>
        <p:nvSpPr>
          <p:cNvPr id="14" name="Date Placeholder 3">
            <a:extLst>
              <a:ext uri="{FF2B5EF4-FFF2-40B4-BE49-F238E27FC236}">
                <a16:creationId xmlns:a16="http://schemas.microsoft.com/office/drawing/2014/main" id="{8597759D-37D7-4D01-84AC-85221F725084}"/>
              </a:ext>
            </a:extLst>
          </p:cNvPr>
          <p:cNvSpPr>
            <a:spLocks noGrp="1"/>
          </p:cNvSpPr>
          <p:nvPr>
            <p:ph type="dt" sz="half" idx="10"/>
          </p:nvPr>
        </p:nvSpPr>
        <p:spPr>
          <a:xfrm rot="5400000">
            <a:off x="10506456" y="5074920"/>
            <a:ext cx="264766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all" spc="300" normalizeH="0" baseline="0" noProof="0" dirty="0">
                <a:ln>
                  <a:noFill/>
                </a:ln>
                <a:solidFill>
                  <a:prstClr val="black">
                    <a:lumMod val="85000"/>
                    <a:lumOff val="15000"/>
                  </a:prstClr>
                </a:solidFill>
                <a:effectLst/>
                <a:uLnTx/>
                <a:uFillTx/>
                <a:latin typeface="Bembo"/>
                <a:ea typeface="+mn-ea"/>
                <a:cs typeface="+mn-cs"/>
              </a:rPr>
              <a:t>20XX</a:t>
            </a:r>
          </a:p>
        </p:txBody>
      </p:sp>
    </p:spTree>
    <p:extLst>
      <p:ext uri="{BB962C8B-B14F-4D97-AF65-F5344CB8AC3E}">
        <p14:creationId xmlns:p14="http://schemas.microsoft.com/office/powerpoint/2010/main" val="15325116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Break">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5A0FA24B-01DF-41FF-899C-BA7BC99B52BE}"/>
              </a:ext>
              <a:ext uri="{C183D7F6-B498-43B3-948B-1728B52AA6E4}">
                <adec:decorative xmlns:adec="http://schemas.microsoft.com/office/drawing/2017/decorative" val="1"/>
              </a:ext>
            </a:extLst>
          </p:cNvPr>
          <p:cNvSpPr/>
          <p:nvPr userDrawn="1"/>
        </p:nvSpPr>
        <p:spPr>
          <a:xfrm>
            <a:off x="2" y="0"/>
            <a:ext cx="12191999" cy="6858000"/>
          </a:xfrm>
          <a:custGeom>
            <a:avLst/>
            <a:gdLst>
              <a:gd name="connsiteX0" fmla="*/ 0 w 12191999"/>
              <a:gd name="connsiteY0" fmla="*/ 0 h 6858000"/>
              <a:gd name="connsiteX1" fmla="*/ 4428539 w 12191999"/>
              <a:gd name="connsiteY1" fmla="*/ 0 h 6858000"/>
              <a:gd name="connsiteX2" fmla="*/ 4433816 w 12191999"/>
              <a:gd name="connsiteY2" fmla="*/ 4971 h 6858000"/>
              <a:gd name="connsiteX3" fmla="*/ 4458398 w 12191999"/>
              <a:gd name="connsiteY3" fmla="*/ 17439 h 6858000"/>
              <a:gd name="connsiteX4" fmla="*/ 4480190 w 12191999"/>
              <a:gd name="connsiteY4" fmla="*/ 38878 h 6858000"/>
              <a:gd name="connsiteX5" fmla="*/ 4481514 w 12191999"/>
              <a:gd name="connsiteY5" fmla="*/ 39168 h 6858000"/>
              <a:gd name="connsiteX6" fmla="*/ 4482263 w 12191999"/>
              <a:gd name="connsiteY6" fmla="*/ 43189 h 6858000"/>
              <a:gd name="connsiteX7" fmla="*/ 4486241 w 12191999"/>
              <a:gd name="connsiteY7" fmla="*/ 47243 h 6858000"/>
              <a:gd name="connsiteX8" fmla="*/ 4499474 w 12191999"/>
              <a:gd name="connsiteY8" fmla="*/ 54163 h 6858000"/>
              <a:gd name="connsiteX9" fmla="*/ 4504837 w 12191999"/>
              <a:gd name="connsiteY9" fmla="*/ 56082 h 6858000"/>
              <a:gd name="connsiteX10" fmla="*/ 4511859 w 12191999"/>
              <a:gd name="connsiteY10" fmla="*/ 60345 h 6858000"/>
              <a:gd name="connsiteX11" fmla="*/ 4511909 w 12191999"/>
              <a:gd name="connsiteY11" fmla="*/ 60669 h 6858000"/>
              <a:gd name="connsiteX12" fmla="*/ 4518729 w 12191999"/>
              <a:gd name="connsiteY12" fmla="*/ 64235 h 6858000"/>
              <a:gd name="connsiteX13" fmla="*/ 4553668 w 12191999"/>
              <a:gd name="connsiteY13" fmla="*/ 78933 h 6858000"/>
              <a:gd name="connsiteX14" fmla="*/ 4584409 w 12191999"/>
              <a:gd name="connsiteY14" fmla="*/ 125407 h 6858000"/>
              <a:gd name="connsiteX15" fmla="*/ 4599970 w 12191999"/>
              <a:gd name="connsiteY15" fmla="*/ 139638 h 6858000"/>
              <a:gd name="connsiteX16" fmla="*/ 4607617 w 12191999"/>
              <a:gd name="connsiteY16" fmla="*/ 148401 h 6858000"/>
              <a:gd name="connsiteX17" fmla="*/ 4607665 w 12191999"/>
              <a:gd name="connsiteY17" fmla="*/ 149698 h 6858000"/>
              <a:gd name="connsiteX18" fmla="*/ 4641219 w 12191999"/>
              <a:gd name="connsiteY18" fmla="*/ 163679 h 6858000"/>
              <a:gd name="connsiteX19" fmla="*/ 4644675 w 12191999"/>
              <a:gd name="connsiteY19" fmla="*/ 167288 h 6858000"/>
              <a:gd name="connsiteX20" fmla="*/ 4667825 w 12191999"/>
              <a:gd name="connsiteY20" fmla="*/ 174158 h 6858000"/>
              <a:gd name="connsiteX21" fmla="*/ 4679100 w 12191999"/>
              <a:gd name="connsiteY21" fmla="*/ 178904 h 6858000"/>
              <a:gd name="connsiteX22" fmla="*/ 4683695 w 12191999"/>
              <a:gd name="connsiteY22" fmla="*/ 177777 h 6858000"/>
              <a:gd name="connsiteX23" fmla="*/ 4699627 w 12191999"/>
              <a:gd name="connsiteY23" fmla="*/ 186035 h 6858000"/>
              <a:gd name="connsiteX24" fmla="*/ 4700928 w 12191999"/>
              <a:gd name="connsiteY24" fmla="*/ 187915 h 6858000"/>
              <a:gd name="connsiteX25" fmla="*/ 4716041 w 12191999"/>
              <a:gd name="connsiteY25" fmla="*/ 191263 h 6858000"/>
              <a:gd name="connsiteX26" fmla="*/ 4731092 w 12191999"/>
              <a:gd name="connsiteY26" fmla="*/ 189882 h 6858000"/>
              <a:gd name="connsiteX27" fmla="*/ 4859125 w 12191999"/>
              <a:gd name="connsiteY27" fmla="*/ 273218 h 6858000"/>
              <a:gd name="connsiteX28" fmla="*/ 5047425 w 12191999"/>
              <a:gd name="connsiteY28" fmla="*/ 325132 h 6858000"/>
              <a:gd name="connsiteX29" fmla="*/ 5123469 w 12191999"/>
              <a:gd name="connsiteY29" fmla="*/ 373600 h 6858000"/>
              <a:gd name="connsiteX30" fmla="*/ 5246314 w 12191999"/>
              <a:gd name="connsiteY30" fmla="*/ 448202 h 6858000"/>
              <a:gd name="connsiteX31" fmla="*/ 5295204 w 12191999"/>
              <a:gd name="connsiteY31" fmla="*/ 518105 h 6858000"/>
              <a:gd name="connsiteX32" fmla="*/ 5341659 w 12191999"/>
              <a:gd name="connsiteY32" fmla="*/ 529959 h 6858000"/>
              <a:gd name="connsiteX33" fmla="*/ 5354530 w 12191999"/>
              <a:gd name="connsiteY33" fmla="*/ 546100 h 6858000"/>
              <a:gd name="connsiteX34" fmla="*/ 5356641 w 12191999"/>
              <a:gd name="connsiteY34" fmla="*/ 549075 h 6858000"/>
              <a:gd name="connsiteX35" fmla="*/ 5367452 w 12191999"/>
              <a:gd name="connsiteY35" fmla="*/ 556831 h 6858000"/>
              <a:gd name="connsiteX36" fmla="*/ 5367545 w 12191999"/>
              <a:gd name="connsiteY36" fmla="*/ 564197 h 6858000"/>
              <a:gd name="connsiteX37" fmla="*/ 5418422 w 12191999"/>
              <a:gd name="connsiteY37" fmla="*/ 594275 h 6858000"/>
              <a:gd name="connsiteX38" fmla="*/ 5475709 w 12191999"/>
              <a:gd name="connsiteY38" fmla="*/ 638584 h 6858000"/>
              <a:gd name="connsiteX39" fmla="*/ 5489473 w 12191999"/>
              <a:gd name="connsiteY39" fmla="*/ 642943 h 6858000"/>
              <a:gd name="connsiteX40" fmla="*/ 5526129 w 12191999"/>
              <a:gd name="connsiteY40" fmla="*/ 671648 h 6858000"/>
              <a:gd name="connsiteX41" fmla="*/ 5560658 w 12191999"/>
              <a:gd name="connsiteY41" fmla="*/ 693968 h 6858000"/>
              <a:gd name="connsiteX42" fmla="*/ 5584769 w 12191999"/>
              <a:gd name="connsiteY42" fmla="*/ 705378 h 6858000"/>
              <a:gd name="connsiteX43" fmla="*/ 5611860 w 12191999"/>
              <a:gd name="connsiteY43" fmla="*/ 726009 h 6858000"/>
              <a:gd name="connsiteX44" fmla="*/ 5640289 w 12191999"/>
              <a:gd name="connsiteY44" fmla="*/ 721725 h 6858000"/>
              <a:gd name="connsiteX45" fmla="*/ 5661248 w 12191999"/>
              <a:gd name="connsiteY45" fmla="*/ 770791 h 6858000"/>
              <a:gd name="connsiteX46" fmla="*/ 5674678 w 12191999"/>
              <a:gd name="connsiteY46" fmla="*/ 774738 h 6858000"/>
              <a:gd name="connsiteX47" fmla="*/ 5689822 w 12191999"/>
              <a:gd name="connsiteY47" fmla="*/ 787962 h 6858000"/>
              <a:gd name="connsiteX48" fmla="*/ 5713681 w 12191999"/>
              <a:gd name="connsiteY48" fmla="*/ 810329 h 6858000"/>
              <a:gd name="connsiteX49" fmla="*/ 5746664 w 12191999"/>
              <a:gd name="connsiteY49" fmla="*/ 850082 h 6858000"/>
              <a:gd name="connsiteX50" fmla="*/ 5854393 w 12191999"/>
              <a:gd name="connsiteY50" fmla="*/ 901844 h 6858000"/>
              <a:gd name="connsiteX51" fmla="*/ 5923458 w 12191999"/>
              <a:gd name="connsiteY51" fmla="*/ 932756 h 6858000"/>
              <a:gd name="connsiteX52" fmla="*/ 6013808 w 12191999"/>
              <a:gd name="connsiteY52" fmla="*/ 950947 h 6858000"/>
              <a:gd name="connsiteX53" fmla="*/ 6093430 w 12191999"/>
              <a:gd name="connsiteY53" fmla="*/ 985543 h 6858000"/>
              <a:gd name="connsiteX54" fmla="*/ 6216422 w 12191999"/>
              <a:gd name="connsiteY54" fmla="*/ 994223 h 6858000"/>
              <a:gd name="connsiteX55" fmla="*/ 6419991 w 12191999"/>
              <a:gd name="connsiteY55" fmla="*/ 1045060 h 6858000"/>
              <a:gd name="connsiteX56" fmla="*/ 6431099 w 12191999"/>
              <a:gd name="connsiteY56" fmla="*/ 1037361 h 6858000"/>
              <a:gd name="connsiteX57" fmla="*/ 6444833 w 12191999"/>
              <a:gd name="connsiteY57" fmla="*/ 1034256 h 6858000"/>
              <a:gd name="connsiteX58" fmla="*/ 6463940 w 12191999"/>
              <a:gd name="connsiteY58" fmla="*/ 1036894 h 6858000"/>
              <a:gd name="connsiteX59" fmla="*/ 6500402 w 12191999"/>
              <a:gd name="connsiteY59" fmla="*/ 1030680 h 6858000"/>
              <a:gd name="connsiteX60" fmla="*/ 6505093 w 12191999"/>
              <a:gd name="connsiteY60" fmla="*/ 1032748 h 6858000"/>
              <a:gd name="connsiteX61" fmla="*/ 6539157 w 12191999"/>
              <a:gd name="connsiteY61" fmla="*/ 1032256 h 6858000"/>
              <a:gd name="connsiteX62" fmla="*/ 6539899 w 12191999"/>
              <a:gd name="connsiteY62" fmla="*/ 1033503 h 6858000"/>
              <a:gd name="connsiteX63" fmla="*/ 6550699 w 12191999"/>
              <a:gd name="connsiteY63" fmla="*/ 1038843 h 6858000"/>
              <a:gd name="connsiteX64" fmla="*/ 6570715 w 12191999"/>
              <a:gd name="connsiteY64" fmla="*/ 1046183 h 6858000"/>
              <a:gd name="connsiteX65" fmla="*/ 6620265 w 12191999"/>
              <a:gd name="connsiteY65" fmla="*/ 1078630 h 6858000"/>
              <a:gd name="connsiteX66" fmla="*/ 6655805 w 12191999"/>
              <a:gd name="connsiteY66" fmla="*/ 1078254 h 6858000"/>
              <a:gd name="connsiteX67" fmla="*/ 6663127 w 12191999"/>
              <a:gd name="connsiteY67" fmla="*/ 1078865 h 6858000"/>
              <a:gd name="connsiteX68" fmla="*/ 6663341 w 12191999"/>
              <a:gd name="connsiteY68" fmla="*/ 1079158 h 6858000"/>
              <a:gd name="connsiteX69" fmla="*/ 6671197 w 12191999"/>
              <a:gd name="connsiteY69" fmla="*/ 1080364 h 6858000"/>
              <a:gd name="connsiteX70" fmla="*/ 6676470 w 12191999"/>
              <a:gd name="connsiteY70" fmla="*/ 1079974 h 6858000"/>
              <a:gd name="connsiteX71" fmla="*/ 6690669 w 12191999"/>
              <a:gd name="connsiteY71" fmla="*/ 1081157 h 6858000"/>
              <a:gd name="connsiteX72" fmla="*/ 6696013 w 12191999"/>
              <a:gd name="connsiteY72" fmla="*/ 1083439 h 6858000"/>
              <a:gd name="connsiteX73" fmla="*/ 6740322 w 12191999"/>
              <a:gd name="connsiteY73" fmla="*/ 1121917 h 6858000"/>
              <a:gd name="connsiteX74" fmla="*/ 6833807 w 12191999"/>
              <a:gd name="connsiteY74" fmla="*/ 1161011 h 6858000"/>
              <a:gd name="connsiteX75" fmla="*/ 6927369 w 12191999"/>
              <a:gd name="connsiteY75" fmla="*/ 1196593 h 6858000"/>
              <a:gd name="connsiteX76" fmla="*/ 6961728 w 12191999"/>
              <a:gd name="connsiteY76" fmla="*/ 1207960 h 6858000"/>
              <a:gd name="connsiteX77" fmla="*/ 7020835 w 12191999"/>
              <a:gd name="connsiteY77" fmla="*/ 1234906 h 6858000"/>
              <a:gd name="connsiteX78" fmla="*/ 7046578 w 12191999"/>
              <a:gd name="connsiteY78" fmla="*/ 1251394 h 6858000"/>
              <a:gd name="connsiteX79" fmla="*/ 7047934 w 12191999"/>
              <a:gd name="connsiteY79" fmla="*/ 1251406 h 6858000"/>
              <a:gd name="connsiteX80" fmla="*/ 7049495 w 12191999"/>
              <a:gd name="connsiteY80" fmla="*/ 1255182 h 6858000"/>
              <a:gd name="connsiteX81" fmla="*/ 7054225 w 12191999"/>
              <a:gd name="connsiteY81" fmla="*/ 1258329 h 6858000"/>
              <a:gd name="connsiteX82" fmla="*/ 7068600 w 12191999"/>
              <a:gd name="connsiteY82" fmla="*/ 1262373 h 6858000"/>
              <a:gd name="connsiteX83" fmla="*/ 7074244 w 12191999"/>
              <a:gd name="connsiteY83" fmla="*/ 1263146 h 6858000"/>
              <a:gd name="connsiteX84" fmla="*/ 7081993 w 12191999"/>
              <a:gd name="connsiteY84" fmla="*/ 1265870 h 6858000"/>
              <a:gd name="connsiteX85" fmla="*/ 7082110 w 12191999"/>
              <a:gd name="connsiteY85" fmla="*/ 1266175 h 6858000"/>
              <a:gd name="connsiteX86" fmla="*/ 7089518 w 12191999"/>
              <a:gd name="connsiteY86" fmla="*/ 1268259 h 6858000"/>
              <a:gd name="connsiteX87" fmla="*/ 7126734 w 12191999"/>
              <a:gd name="connsiteY87" fmla="*/ 1275440 h 6858000"/>
              <a:gd name="connsiteX88" fmla="*/ 7166397 w 12191999"/>
              <a:gd name="connsiteY88" fmla="*/ 1314577 h 6858000"/>
              <a:gd name="connsiteX89" fmla="*/ 7184558 w 12191999"/>
              <a:gd name="connsiteY89" fmla="*/ 1325296 h 6858000"/>
              <a:gd name="connsiteX90" fmla="*/ 7193847 w 12191999"/>
              <a:gd name="connsiteY90" fmla="*/ 1332295 h 6858000"/>
              <a:gd name="connsiteX91" fmla="*/ 7229876 w 12191999"/>
              <a:gd name="connsiteY91" fmla="*/ 1340317 h 6858000"/>
              <a:gd name="connsiteX92" fmla="*/ 7234001 w 12191999"/>
              <a:gd name="connsiteY92" fmla="*/ 1343137 h 6858000"/>
              <a:gd name="connsiteX93" fmla="*/ 7258071 w 12191999"/>
              <a:gd name="connsiteY93" fmla="*/ 1345086 h 6858000"/>
              <a:gd name="connsiteX94" fmla="*/ 7291641 w 12191999"/>
              <a:gd name="connsiteY94" fmla="*/ 1350152 h 6858000"/>
              <a:gd name="connsiteX95" fmla="*/ 7308779 w 12191999"/>
              <a:gd name="connsiteY95" fmla="*/ 1351882 h 6858000"/>
              <a:gd name="connsiteX96" fmla="*/ 7323221 w 12191999"/>
              <a:gd name="connsiteY96" fmla="*/ 1347429 h 6858000"/>
              <a:gd name="connsiteX97" fmla="*/ 7495470 w 12191999"/>
              <a:gd name="connsiteY97" fmla="*/ 1384709 h 6858000"/>
              <a:gd name="connsiteX98" fmla="*/ 7601447 w 12191999"/>
              <a:gd name="connsiteY98" fmla="*/ 1410288 h 6858000"/>
              <a:gd name="connsiteX99" fmla="*/ 7616199 w 12191999"/>
              <a:gd name="connsiteY99" fmla="*/ 1425276 h 6858000"/>
              <a:gd name="connsiteX100" fmla="*/ 10773615 w 12191999"/>
              <a:gd name="connsiteY100" fmla="*/ 3136132 h 6858000"/>
              <a:gd name="connsiteX101" fmla="*/ 10775787 w 12191999"/>
              <a:gd name="connsiteY101" fmla="*/ 3137529 h 6858000"/>
              <a:gd name="connsiteX102" fmla="*/ 10804324 w 12191999"/>
              <a:gd name="connsiteY102" fmla="*/ 3140649 h 6858000"/>
              <a:gd name="connsiteX103" fmla="*/ 10819333 w 12191999"/>
              <a:gd name="connsiteY103" fmla="*/ 3154674 h 6858000"/>
              <a:gd name="connsiteX104" fmla="*/ 10821839 w 12191999"/>
              <a:gd name="connsiteY104" fmla="*/ 3157295 h 6858000"/>
              <a:gd name="connsiteX105" fmla="*/ 10833660 w 12191999"/>
              <a:gd name="connsiteY105" fmla="*/ 3163373 h 6858000"/>
              <a:gd name="connsiteX106" fmla="*/ 10834754 w 12191999"/>
              <a:gd name="connsiteY106" fmla="*/ 3170606 h 6858000"/>
              <a:gd name="connsiteX107" fmla="*/ 10850942 w 12191999"/>
              <a:gd name="connsiteY107" fmla="*/ 3183705 h 6858000"/>
              <a:gd name="connsiteX108" fmla="*/ 10873328 w 12191999"/>
              <a:gd name="connsiteY108" fmla="*/ 3193348 h 6858000"/>
              <a:gd name="connsiteX109" fmla="*/ 10982088 w 12191999"/>
              <a:gd name="connsiteY109" fmla="*/ 3232948 h 6858000"/>
              <a:gd name="connsiteX110" fmla="*/ 11045804 w 12191999"/>
              <a:gd name="connsiteY110" fmla="*/ 3260190 h 6858000"/>
              <a:gd name="connsiteX111" fmla="*/ 11067877 w 12191999"/>
              <a:gd name="connsiteY111" fmla="*/ 3276112 h 6858000"/>
              <a:gd name="connsiteX112" fmla="*/ 11100133 w 12191999"/>
              <a:gd name="connsiteY112" fmla="*/ 3294598 h 6858000"/>
              <a:gd name="connsiteX113" fmla="*/ 11155409 w 12191999"/>
              <a:gd name="connsiteY113" fmla="*/ 3331539 h 6858000"/>
              <a:gd name="connsiteX114" fmla="*/ 11232547 w 12191999"/>
              <a:gd name="connsiteY114" fmla="*/ 3373667 h 6858000"/>
              <a:gd name="connsiteX115" fmla="*/ 11297822 w 12191999"/>
              <a:gd name="connsiteY115" fmla="*/ 3380555 h 6858000"/>
              <a:gd name="connsiteX116" fmla="*/ 11301370 w 12191999"/>
              <a:gd name="connsiteY116" fmla="*/ 3386958 h 6858000"/>
              <a:gd name="connsiteX117" fmla="*/ 11341986 w 12191999"/>
              <a:gd name="connsiteY117" fmla="*/ 3403320 h 6858000"/>
              <a:gd name="connsiteX118" fmla="*/ 11537404 w 12191999"/>
              <a:gd name="connsiteY118" fmla="*/ 3495439 h 6858000"/>
              <a:gd name="connsiteX119" fmla="*/ 11639337 w 12191999"/>
              <a:gd name="connsiteY119" fmla="*/ 3592655 h 6858000"/>
              <a:gd name="connsiteX120" fmla="*/ 11774154 w 12191999"/>
              <a:gd name="connsiteY120" fmla="*/ 3703763 h 6858000"/>
              <a:gd name="connsiteX121" fmla="*/ 11967899 w 12191999"/>
              <a:gd name="connsiteY121" fmla="*/ 3739403 h 6858000"/>
              <a:gd name="connsiteX122" fmla="*/ 12052251 w 12191999"/>
              <a:gd name="connsiteY122" fmla="*/ 3738161 h 6858000"/>
              <a:gd name="connsiteX123" fmla="*/ 12101844 w 12191999"/>
              <a:gd name="connsiteY123" fmla="*/ 3789810 h 6858000"/>
              <a:gd name="connsiteX124" fmla="*/ 12155104 w 12191999"/>
              <a:gd name="connsiteY124" fmla="*/ 3824490 h 6858000"/>
              <a:gd name="connsiteX125" fmla="*/ 12191999 w 12191999"/>
              <a:gd name="connsiteY125" fmla="*/ 3836506 h 6858000"/>
              <a:gd name="connsiteX126" fmla="*/ 12191999 w 12191999"/>
              <a:gd name="connsiteY126" fmla="*/ 6858000 h 6858000"/>
              <a:gd name="connsiteX127" fmla="*/ 4040175 w 12191999"/>
              <a:gd name="connsiteY127" fmla="*/ 6858000 h 6858000"/>
              <a:gd name="connsiteX128" fmla="*/ 4035195 w 12191999"/>
              <a:gd name="connsiteY128" fmla="*/ 6847706 h 6858000"/>
              <a:gd name="connsiteX129" fmla="*/ 4024571 w 12191999"/>
              <a:gd name="connsiteY129" fmla="*/ 6834979 h 6858000"/>
              <a:gd name="connsiteX130" fmla="*/ 4019139 w 12191999"/>
              <a:gd name="connsiteY130" fmla="*/ 6832909 h 6858000"/>
              <a:gd name="connsiteX131" fmla="*/ 4004905 w 12191999"/>
              <a:gd name="connsiteY131" fmla="*/ 6832292 h 6858000"/>
              <a:gd name="connsiteX132" fmla="*/ 3999653 w 12191999"/>
              <a:gd name="connsiteY132" fmla="*/ 6832888 h 6858000"/>
              <a:gd name="connsiteX133" fmla="*/ 3991753 w 12191999"/>
              <a:gd name="connsiteY133" fmla="*/ 6831995 h 6858000"/>
              <a:gd name="connsiteX134" fmla="*/ 3991527 w 12191999"/>
              <a:gd name="connsiteY134" fmla="*/ 6831708 h 6858000"/>
              <a:gd name="connsiteX135" fmla="*/ 3984190 w 12191999"/>
              <a:gd name="connsiteY135" fmla="*/ 6831389 h 6858000"/>
              <a:gd name="connsiteX136" fmla="*/ 3948690 w 12191999"/>
              <a:gd name="connsiteY136" fmla="*/ 6833171 h 6858000"/>
              <a:gd name="connsiteX137" fmla="*/ 3897895 w 12191999"/>
              <a:gd name="connsiteY137" fmla="*/ 6802710 h 6858000"/>
              <a:gd name="connsiteX138" fmla="*/ 3877604 w 12191999"/>
              <a:gd name="connsiteY138" fmla="*/ 6796164 h 6858000"/>
              <a:gd name="connsiteX139" fmla="*/ 3866602 w 12191999"/>
              <a:gd name="connsiteY139" fmla="*/ 6791257 h 6858000"/>
              <a:gd name="connsiteX140" fmla="*/ 3865811 w 12191999"/>
              <a:gd name="connsiteY140" fmla="*/ 6790042 h 6858000"/>
              <a:gd name="connsiteX141" fmla="*/ 3831795 w 12191999"/>
              <a:gd name="connsiteY141" fmla="*/ 6791880 h 6858000"/>
              <a:gd name="connsiteX142" fmla="*/ 3827025 w 12191999"/>
              <a:gd name="connsiteY142" fmla="*/ 6789998 h 6858000"/>
              <a:gd name="connsiteX143" fmla="*/ 3805177 w 12191999"/>
              <a:gd name="connsiteY143" fmla="*/ 6793918 h 6858000"/>
              <a:gd name="connsiteX144" fmla="*/ 3793719 w 12191999"/>
              <a:gd name="connsiteY144" fmla="*/ 6794494 h 6858000"/>
              <a:gd name="connsiteX145" fmla="*/ 3790837 w 12191999"/>
              <a:gd name="connsiteY145" fmla="*/ 6797649 h 6858000"/>
              <a:gd name="connsiteX146" fmla="*/ 3773741 w 12191999"/>
              <a:gd name="connsiteY146" fmla="*/ 6796976 h 6858000"/>
              <a:gd name="connsiteX147" fmla="*/ 3771642 w 12191999"/>
              <a:gd name="connsiteY147" fmla="*/ 6795770 h 6858000"/>
              <a:gd name="connsiteX148" fmla="*/ 3758039 w 12191999"/>
              <a:gd name="connsiteY148" fmla="*/ 6799415 h 6858000"/>
              <a:gd name="connsiteX149" fmla="*/ 3747245 w 12191999"/>
              <a:gd name="connsiteY149" fmla="*/ 6807548 h 6858000"/>
              <a:gd name="connsiteX150" fmla="*/ 3599970 w 12191999"/>
              <a:gd name="connsiteY150" fmla="*/ 6785929 h 6858000"/>
              <a:gd name="connsiteX151" fmla="*/ 3532509 w 12191999"/>
              <a:gd name="connsiteY151" fmla="*/ 6773888 h 6858000"/>
              <a:gd name="connsiteX152" fmla="*/ 3519209 w 12191999"/>
              <a:gd name="connsiteY152" fmla="*/ 6779800 h 6858000"/>
              <a:gd name="connsiteX153" fmla="*/ 3518612 w 12191999"/>
              <a:gd name="connsiteY153" fmla="*/ 6767129 h 6858000"/>
              <a:gd name="connsiteX154" fmla="*/ 3500042 w 12191999"/>
              <a:gd name="connsiteY154" fmla="*/ 6757140 h 6858000"/>
              <a:gd name="connsiteX155" fmla="*/ 3490483 w 12191999"/>
              <a:gd name="connsiteY155" fmla="*/ 6750514 h 6858000"/>
              <a:gd name="connsiteX156" fmla="*/ 3490120 w 12191999"/>
              <a:gd name="connsiteY156" fmla="*/ 6749268 h 6858000"/>
              <a:gd name="connsiteX157" fmla="*/ 3454164 w 12191999"/>
              <a:gd name="connsiteY157" fmla="*/ 6743923 h 6858000"/>
              <a:gd name="connsiteX158" fmla="*/ 3449932 w 12191999"/>
              <a:gd name="connsiteY158" fmla="*/ 6741268 h 6858000"/>
              <a:gd name="connsiteX159" fmla="*/ 3413708 w 12191999"/>
              <a:gd name="connsiteY159" fmla="*/ 6738430 h 6858000"/>
              <a:gd name="connsiteX160" fmla="*/ 3409529 w 12191999"/>
              <a:gd name="connsiteY160" fmla="*/ 6740648 h 6858000"/>
              <a:gd name="connsiteX161" fmla="*/ 3392060 w 12191999"/>
              <a:gd name="connsiteY161" fmla="*/ 6736539 h 6858000"/>
              <a:gd name="connsiteX162" fmla="*/ 3390340 w 12191999"/>
              <a:gd name="connsiteY162" fmla="*/ 6735034 h 6858000"/>
              <a:gd name="connsiteX163" fmla="*/ 3374867 w 12191999"/>
              <a:gd name="connsiteY163" fmla="*/ 6735488 h 6858000"/>
              <a:gd name="connsiteX164" fmla="*/ 3295084 w 12191999"/>
              <a:gd name="connsiteY164" fmla="*/ 6728596 h 6858000"/>
              <a:gd name="connsiteX165" fmla="*/ 3216076 w 12191999"/>
              <a:gd name="connsiteY165" fmla="*/ 6691033 h 6858000"/>
              <a:gd name="connsiteX166" fmla="*/ 3001959 w 12191999"/>
              <a:gd name="connsiteY166" fmla="*/ 6660812 h 6858000"/>
              <a:gd name="connsiteX167" fmla="*/ 2781734 w 12191999"/>
              <a:gd name="connsiteY167" fmla="*/ 6582305 h 6858000"/>
              <a:gd name="connsiteX168" fmla="*/ 2733334 w 12191999"/>
              <a:gd name="connsiteY168" fmla="*/ 6560298 h 6858000"/>
              <a:gd name="connsiteX169" fmla="*/ 2685391 w 12191999"/>
              <a:gd name="connsiteY169" fmla="*/ 6560171 h 6858000"/>
              <a:gd name="connsiteX170" fmla="*/ 2668962 w 12191999"/>
              <a:gd name="connsiteY170" fmla="*/ 6547670 h 6858000"/>
              <a:gd name="connsiteX171" fmla="*/ 2666187 w 12191999"/>
              <a:gd name="connsiteY171" fmla="*/ 6545303 h 6858000"/>
              <a:gd name="connsiteX172" fmla="*/ 2653807 w 12191999"/>
              <a:gd name="connsiteY172" fmla="*/ 6540427 h 6858000"/>
              <a:gd name="connsiteX173" fmla="*/ 2651913 w 12191999"/>
              <a:gd name="connsiteY173" fmla="*/ 6533308 h 6858000"/>
              <a:gd name="connsiteX174" fmla="*/ 2611193 w 12191999"/>
              <a:gd name="connsiteY174" fmla="*/ 6514475 h 6858000"/>
              <a:gd name="connsiteX175" fmla="*/ 2528835 w 12191999"/>
              <a:gd name="connsiteY175" fmla="*/ 6487649 h 6858000"/>
              <a:gd name="connsiteX176" fmla="*/ 2514423 w 12191999"/>
              <a:gd name="connsiteY176" fmla="*/ 6486793 h 6858000"/>
              <a:gd name="connsiteX177" fmla="*/ 2432918 w 12191999"/>
              <a:gd name="connsiteY177" fmla="*/ 6454736 h 6858000"/>
              <a:gd name="connsiteX178" fmla="*/ 2375430 w 12191999"/>
              <a:gd name="connsiteY178" fmla="*/ 6436197 h 6858000"/>
              <a:gd name="connsiteX179" fmla="*/ 2361493 w 12191999"/>
              <a:gd name="connsiteY179" fmla="*/ 6435403 h 6858000"/>
              <a:gd name="connsiteX180" fmla="*/ 2350645 w 12191999"/>
              <a:gd name="connsiteY180" fmla="*/ 6424146 h 6858000"/>
              <a:gd name="connsiteX181" fmla="*/ 2316586 w 12191999"/>
              <a:gd name="connsiteY181" fmla="*/ 6404861 h 6858000"/>
              <a:gd name="connsiteX182" fmla="*/ 2302598 w 12191999"/>
              <a:gd name="connsiteY182" fmla="*/ 6404320 h 6858000"/>
              <a:gd name="connsiteX183" fmla="*/ 2297403 w 12191999"/>
              <a:gd name="connsiteY183" fmla="*/ 6401898 h 6858000"/>
              <a:gd name="connsiteX184" fmla="*/ 2284680 w 12191999"/>
              <a:gd name="connsiteY184" fmla="*/ 6395204 h 6858000"/>
              <a:gd name="connsiteX185" fmla="*/ 2263087 w 12191999"/>
              <a:gd name="connsiteY185" fmla="*/ 6382362 h 6858000"/>
              <a:gd name="connsiteX186" fmla="*/ 2256073 w 12191999"/>
              <a:gd name="connsiteY186" fmla="*/ 6379356 h 6858000"/>
              <a:gd name="connsiteX187" fmla="*/ 2242767 w 12191999"/>
              <a:gd name="connsiteY187" fmla="*/ 6365725 h 6858000"/>
              <a:gd name="connsiteX188" fmla="*/ 2214365 w 12191999"/>
              <a:gd name="connsiteY188" fmla="*/ 6348882 h 6858000"/>
              <a:gd name="connsiteX189" fmla="*/ 2167979 w 12191999"/>
              <a:gd name="connsiteY189" fmla="*/ 6306175 h 6858000"/>
              <a:gd name="connsiteX190" fmla="*/ 2139905 w 12191999"/>
              <a:gd name="connsiteY190" fmla="*/ 6283988 h 6858000"/>
              <a:gd name="connsiteX191" fmla="*/ 2121768 w 12191999"/>
              <a:gd name="connsiteY191" fmla="*/ 6265897 h 6858000"/>
              <a:gd name="connsiteX192" fmla="*/ 2063279 w 12191999"/>
              <a:gd name="connsiteY192" fmla="*/ 6230325 h 6858000"/>
              <a:gd name="connsiteX193" fmla="*/ 1961177 w 12191999"/>
              <a:gd name="connsiteY193" fmla="*/ 6175749 h 6858000"/>
              <a:gd name="connsiteX194" fmla="*/ 1940650 w 12191999"/>
              <a:gd name="connsiteY194" fmla="*/ 6163188 h 6858000"/>
              <a:gd name="connsiteX195" fmla="*/ 1927814 w 12191999"/>
              <a:gd name="connsiteY195" fmla="*/ 6148653 h 6858000"/>
              <a:gd name="connsiteX196" fmla="*/ 1929028 w 12191999"/>
              <a:gd name="connsiteY196" fmla="*/ 6142020 h 6858000"/>
              <a:gd name="connsiteX197" fmla="*/ 1918508 w 12191999"/>
              <a:gd name="connsiteY197" fmla="*/ 6134512 h 6858000"/>
              <a:gd name="connsiteX198" fmla="*/ 1916718 w 12191999"/>
              <a:gd name="connsiteY198" fmla="*/ 6131733 h 6858000"/>
              <a:gd name="connsiteX199" fmla="*/ 1905430 w 12191999"/>
              <a:gd name="connsiteY199" fmla="*/ 6116581 h 6858000"/>
              <a:gd name="connsiteX200" fmla="*/ 1772975 w 12191999"/>
              <a:gd name="connsiteY200" fmla="*/ 6103644 h 6858000"/>
              <a:gd name="connsiteX201" fmla="*/ 1721239 w 12191999"/>
              <a:gd name="connsiteY201" fmla="*/ 6065803 h 6858000"/>
              <a:gd name="connsiteX202" fmla="*/ 1566198 w 12191999"/>
              <a:gd name="connsiteY202" fmla="*/ 5909553 h 6858000"/>
              <a:gd name="connsiteX203" fmla="*/ 1419833 w 12191999"/>
              <a:gd name="connsiteY203" fmla="*/ 5862012 h 6858000"/>
              <a:gd name="connsiteX204" fmla="*/ 1293711 w 12191999"/>
              <a:gd name="connsiteY204" fmla="*/ 5780773 h 6858000"/>
              <a:gd name="connsiteX205" fmla="*/ 1276884 w 12191999"/>
              <a:gd name="connsiteY205" fmla="*/ 5781282 h 6858000"/>
              <a:gd name="connsiteX206" fmla="*/ 1260832 w 12191999"/>
              <a:gd name="connsiteY206" fmla="*/ 5777529 h 6858000"/>
              <a:gd name="connsiteX207" fmla="*/ 1259737 w 12191999"/>
              <a:gd name="connsiteY207" fmla="*/ 5775776 h 6858000"/>
              <a:gd name="connsiteX208" fmla="*/ 1243663 w 12191999"/>
              <a:gd name="connsiteY208" fmla="*/ 5767568 h 6858000"/>
              <a:gd name="connsiteX209" fmla="*/ 1238401 w 12191999"/>
              <a:gd name="connsiteY209" fmla="*/ 5768357 h 6858000"/>
              <a:gd name="connsiteX210" fmla="*/ 1226827 w 12191999"/>
              <a:gd name="connsiteY210" fmla="*/ 5763536 h 6858000"/>
              <a:gd name="connsiteX211" fmla="*/ 1164932 w 12191999"/>
              <a:gd name="connsiteY211" fmla="*/ 5738590 h 6858000"/>
              <a:gd name="connsiteX212" fmla="*/ 1165111 w 12191999"/>
              <a:gd name="connsiteY212" fmla="*/ 5737421 h 6858000"/>
              <a:gd name="connsiteX213" fmla="*/ 1158258 w 12191999"/>
              <a:gd name="connsiteY213" fmla="*/ 5729163 h 6858000"/>
              <a:gd name="connsiteX214" fmla="*/ 1143665 w 12191999"/>
              <a:gd name="connsiteY214" fmla="*/ 5715598 h 6858000"/>
              <a:gd name="connsiteX215" fmla="*/ 1118122 w 12191999"/>
              <a:gd name="connsiteY215" fmla="*/ 5672283 h 6858000"/>
              <a:gd name="connsiteX216" fmla="*/ 1082268 w 12191999"/>
              <a:gd name="connsiteY216" fmla="*/ 5657350 h 6858000"/>
              <a:gd name="connsiteX217" fmla="*/ 1075393 w 12191999"/>
              <a:gd name="connsiteY217" fmla="*/ 5653807 h 6858000"/>
              <a:gd name="connsiteX218" fmla="*/ 1075395 w 12191999"/>
              <a:gd name="connsiteY218" fmla="*/ 5653513 h 6858000"/>
              <a:gd name="connsiteX219" fmla="*/ 1068424 w 12191999"/>
              <a:gd name="connsiteY219" fmla="*/ 5649334 h 6858000"/>
              <a:gd name="connsiteX220" fmla="*/ 1049520 w 12191999"/>
              <a:gd name="connsiteY220" fmla="*/ 5640476 h 6858000"/>
              <a:gd name="connsiteX221" fmla="*/ 1045864 w 12191999"/>
              <a:gd name="connsiteY221" fmla="*/ 5636632 h 6858000"/>
              <a:gd name="connsiteX222" fmla="*/ 1045757 w 12191999"/>
              <a:gd name="connsiteY222" fmla="*/ 5632979 h 6858000"/>
              <a:gd name="connsiteX223" fmla="*/ 1044350 w 12191999"/>
              <a:gd name="connsiteY223" fmla="*/ 5632652 h 6858000"/>
              <a:gd name="connsiteX224" fmla="*/ 1024186 w 12191999"/>
              <a:gd name="connsiteY224" fmla="*/ 5612300 h 6858000"/>
              <a:gd name="connsiteX225" fmla="*/ 973495 w 12191999"/>
              <a:gd name="connsiteY225" fmla="*/ 5575059 h 6858000"/>
              <a:gd name="connsiteX226" fmla="*/ 942299 w 12191999"/>
              <a:gd name="connsiteY226" fmla="*/ 5557148 h 6858000"/>
              <a:gd name="connsiteX227" fmla="*/ 859213 w 12191999"/>
              <a:gd name="connsiteY227" fmla="*/ 5504353 h 6858000"/>
              <a:gd name="connsiteX228" fmla="*/ 777621 w 12191999"/>
              <a:gd name="connsiteY228" fmla="*/ 5448518 h 6858000"/>
              <a:gd name="connsiteX229" fmla="*/ 746978 w 12191999"/>
              <a:gd name="connsiteY229" fmla="*/ 5404694 h 6858000"/>
              <a:gd name="connsiteX230" fmla="*/ 742331 w 12191999"/>
              <a:gd name="connsiteY230" fmla="*/ 5401458 h 6858000"/>
              <a:gd name="connsiteX231" fmla="*/ 728026 w 12191999"/>
              <a:gd name="connsiteY231" fmla="*/ 5397116 h 6858000"/>
              <a:gd name="connsiteX232" fmla="*/ 722379 w 12191999"/>
              <a:gd name="connsiteY232" fmla="*/ 5396226 h 6858000"/>
              <a:gd name="connsiteX233" fmla="*/ 714684 w 12191999"/>
              <a:gd name="connsiteY233" fmla="*/ 5393345 h 6858000"/>
              <a:gd name="connsiteX234" fmla="*/ 714579 w 12191999"/>
              <a:gd name="connsiteY234" fmla="*/ 5393038 h 6858000"/>
              <a:gd name="connsiteX235" fmla="*/ 670051 w 12191999"/>
              <a:gd name="connsiteY235" fmla="*/ 5382838 h 6858000"/>
              <a:gd name="connsiteX236" fmla="*/ 631522 w 12191999"/>
              <a:gd name="connsiteY236" fmla="*/ 5343039 h 6858000"/>
              <a:gd name="connsiteX237" fmla="*/ 613641 w 12191999"/>
              <a:gd name="connsiteY237" fmla="*/ 5331978 h 6858000"/>
              <a:gd name="connsiteX238" fmla="*/ 604546 w 12191999"/>
              <a:gd name="connsiteY238" fmla="*/ 5324812 h 6858000"/>
              <a:gd name="connsiteX239" fmla="*/ 604272 w 12191999"/>
              <a:gd name="connsiteY239" fmla="*/ 5323553 h 6858000"/>
              <a:gd name="connsiteX240" fmla="*/ 568614 w 12191999"/>
              <a:gd name="connsiteY240" fmla="*/ 5316037 h 6858000"/>
              <a:gd name="connsiteX241" fmla="*/ 528452 w 12191999"/>
              <a:gd name="connsiteY241" fmla="*/ 5308096 h 6858000"/>
              <a:gd name="connsiteX242" fmla="*/ 524103 w 12191999"/>
              <a:gd name="connsiteY242" fmla="*/ 5310044 h 6858000"/>
              <a:gd name="connsiteX243" fmla="*/ 506887 w 12191999"/>
              <a:gd name="connsiteY243" fmla="*/ 5304889 h 6858000"/>
              <a:gd name="connsiteX244" fmla="*/ 505272 w 12191999"/>
              <a:gd name="connsiteY244" fmla="*/ 5303292 h 6858000"/>
              <a:gd name="connsiteX245" fmla="*/ 489723 w 12191999"/>
              <a:gd name="connsiteY245" fmla="*/ 5302789 h 6858000"/>
              <a:gd name="connsiteX246" fmla="*/ 421447 w 12191999"/>
              <a:gd name="connsiteY246" fmla="*/ 5294985 h 6858000"/>
              <a:gd name="connsiteX247" fmla="*/ 333782 w 12191999"/>
              <a:gd name="connsiteY247" fmla="*/ 5248897 h 6858000"/>
              <a:gd name="connsiteX248" fmla="*/ 150572 w 12191999"/>
              <a:gd name="connsiteY248" fmla="*/ 5169484 h 6858000"/>
              <a:gd name="connsiteX249" fmla="*/ 5531 w 12191999"/>
              <a:gd name="connsiteY249" fmla="*/ 5150468 h 6858000"/>
              <a:gd name="connsiteX250" fmla="*/ 0 w 12191999"/>
              <a:gd name="connsiteY250" fmla="*/ 514813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12191999" h="6858000">
                <a:moveTo>
                  <a:pt x="0" y="0"/>
                </a:moveTo>
                <a:lnTo>
                  <a:pt x="4428539" y="0"/>
                </a:lnTo>
                <a:lnTo>
                  <a:pt x="4433816" y="4971"/>
                </a:lnTo>
                <a:cubicBezTo>
                  <a:pt x="4440426" y="11763"/>
                  <a:pt x="4446513" y="16286"/>
                  <a:pt x="4458398" y="17439"/>
                </a:cubicBezTo>
                <a:cubicBezTo>
                  <a:pt x="4464358" y="46003"/>
                  <a:pt x="4469379" y="39503"/>
                  <a:pt x="4480190" y="38878"/>
                </a:cubicBezTo>
                <a:lnTo>
                  <a:pt x="4481514" y="39168"/>
                </a:lnTo>
                <a:lnTo>
                  <a:pt x="4482263" y="43189"/>
                </a:lnTo>
                <a:lnTo>
                  <a:pt x="4486241" y="47243"/>
                </a:lnTo>
                <a:lnTo>
                  <a:pt x="4499474" y="54163"/>
                </a:lnTo>
                <a:lnTo>
                  <a:pt x="4504837" y="56082"/>
                </a:lnTo>
                <a:cubicBezTo>
                  <a:pt x="4508391" y="57658"/>
                  <a:pt x="4510563" y="59032"/>
                  <a:pt x="4511859" y="60345"/>
                </a:cubicBezTo>
                <a:lnTo>
                  <a:pt x="4511909" y="60669"/>
                </a:lnTo>
                <a:lnTo>
                  <a:pt x="4518729" y="64235"/>
                </a:lnTo>
                <a:cubicBezTo>
                  <a:pt x="4530523" y="69755"/>
                  <a:pt x="4542266" y="74654"/>
                  <a:pt x="4553668" y="78933"/>
                </a:cubicBezTo>
                <a:cubicBezTo>
                  <a:pt x="4555421" y="96378"/>
                  <a:pt x="4601673" y="104937"/>
                  <a:pt x="4584409" y="125407"/>
                </a:cubicBezTo>
                <a:cubicBezTo>
                  <a:pt x="4599400" y="131861"/>
                  <a:pt x="4613239" y="127385"/>
                  <a:pt x="4599970" y="139638"/>
                </a:cubicBezTo>
                <a:cubicBezTo>
                  <a:pt x="4604659" y="142193"/>
                  <a:pt x="4606744" y="145175"/>
                  <a:pt x="4607617" y="148401"/>
                </a:cubicBezTo>
                <a:cubicBezTo>
                  <a:pt x="4607632" y="148833"/>
                  <a:pt x="4607646" y="149266"/>
                  <a:pt x="4607665" y="149698"/>
                </a:cubicBezTo>
                <a:lnTo>
                  <a:pt x="4641219" y="163679"/>
                </a:lnTo>
                <a:lnTo>
                  <a:pt x="4644675" y="167288"/>
                </a:lnTo>
                <a:lnTo>
                  <a:pt x="4667825" y="174158"/>
                </a:lnTo>
                <a:lnTo>
                  <a:pt x="4679100" y="178904"/>
                </a:lnTo>
                <a:lnTo>
                  <a:pt x="4683695" y="177777"/>
                </a:lnTo>
                <a:cubicBezTo>
                  <a:pt x="4687872" y="177930"/>
                  <a:pt x="4692859" y="179915"/>
                  <a:pt x="4699627" y="186035"/>
                </a:cubicBezTo>
                <a:lnTo>
                  <a:pt x="4700928" y="187915"/>
                </a:lnTo>
                <a:lnTo>
                  <a:pt x="4716041" y="191263"/>
                </a:lnTo>
                <a:cubicBezTo>
                  <a:pt x="4721251" y="191738"/>
                  <a:pt x="4726302" y="191391"/>
                  <a:pt x="4731092" y="189882"/>
                </a:cubicBezTo>
                <a:cubicBezTo>
                  <a:pt x="4764236" y="233401"/>
                  <a:pt x="4814048" y="241946"/>
                  <a:pt x="4859125" y="273218"/>
                </a:cubicBezTo>
                <a:cubicBezTo>
                  <a:pt x="4913833" y="300724"/>
                  <a:pt x="5003367" y="308402"/>
                  <a:pt x="5047425" y="325132"/>
                </a:cubicBezTo>
                <a:cubicBezTo>
                  <a:pt x="5065040" y="332131"/>
                  <a:pt x="5138109" y="369260"/>
                  <a:pt x="5123469" y="373600"/>
                </a:cubicBezTo>
                <a:cubicBezTo>
                  <a:pt x="5184262" y="382096"/>
                  <a:pt x="5185699" y="424424"/>
                  <a:pt x="5246314" y="448202"/>
                </a:cubicBezTo>
                <a:cubicBezTo>
                  <a:pt x="5263266" y="489409"/>
                  <a:pt x="5266454" y="494960"/>
                  <a:pt x="5295204" y="518105"/>
                </a:cubicBezTo>
                <a:cubicBezTo>
                  <a:pt x="5298762" y="491736"/>
                  <a:pt x="5326303" y="552875"/>
                  <a:pt x="5341659" y="529959"/>
                </a:cubicBezTo>
                <a:cubicBezTo>
                  <a:pt x="5346403" y="534895"/>
                  <a:pt x="5350516" y="540401"/>
                  <a:pt x="5354530" y="546100"/>
                </a:cubicBezTo>
                <a:lnTo>
                  <a:pt x="5356641" y="549075"/>
                </a:lnTo>
                <a:lnTo>
                  <a:pt x="5367452" y="556831"/>
                </a:lnTo>
                <a:lnTo>
                  <a:pt x="5367545" y="564197"/>
                </a:lnTo>
                <a:lnTo>
                  <a:pt x="5418422" y="594275"/>
                </a:lnTo>
                <a:cubicBezTo>
                  <a:pt x="5436449" y="606674"/>
                  <a:pt x="5457748" y="628025"/>
                  <a:pt x="5475709" y="638584"/>
                </a:cubicBezTo>
                <a:lnTo>
                  <a:pt x="5489473" y="642943"/>
                </a:lnTo>
                <a:lnTo>
                  <a:pt x="5526129" y="671648"/>
                </a:lnTo>
                <a:cubicBezTo>
                  <a:pt x="5536818" y="679376"/>
                  <a:pt x="5548189" y="686909"/>
                  <a:pt x="5560658" y="693968"/>
                </a:cubicBezTo>
                <a:lnTo>
                  <a:pt x="5584769" y="705378"/>
                </a:lnTo>
                <a:lnTo>
                  <a:pt x="5611860" y="726009"/>
                </a:lnTo>
                <a:lnTo>
                  <a:pt x="5640289" y="721725"/>
                </a:lnTo>
                <a:cubicBezTo>
                  <a:pt x="5646300" y="728491"/>
                  <a:pt x="5654293" y="765629"/>
                  <a:pt x="5661248" y="770791"/>
                </a:cubicBezTo>
                <a:lnTo>
                  <a:pt x="5674678" y="774738"/>
                </a:lnTo>
                <a:lnTo>
                  <a:pt x="5689822" y="787962"/>
                </a:lnTo>
                <a:cubicBezTo>
                  <a:pt x="5696321" y="793894"/>
                  <a:pt x="5708110" y="803857"/>
                  <a:pt x="5713681" y="810329"/>
                </a:cubicBezTo>
                <a:lnTo>
                  <a:pt x="5746664" y="850082"/>
                </a:lnTo>
                <a:cubicBezTo>
                  <a:pt x="5768521" y="862589"/>
                  <a:pt x="5825921" y="885085"/>
                  <a:pt x="5854393" y="901844"/>
                </a:cubicBezTo>
                <a:cubicBezTo>
                  <a:pt x="5877113" y="909807"/>
                  <a:pt x="5883425" y="922125"/>
                  <a:pt x="5923458" y="932756"/>
                </a:cubicBezTo>
                <a:cubicBezTo>
                  <a:pt x="5960577" y="938289"/>
                  <a:pt x="5972211" y="940778"/>
                  <a:pt x="6013808" y="950947"/>
                </a:cubicBezTo>
                <a:cubicBezTo>
                  <a:pt x="6004635" y="961363"/>
                  <a:pt x="6075734" y="986132"/>
                  <a:pt x="6093430" y="985543"/>
                </a:cubicBezTo>
                <a:cubicBezTo>
                  <a:pt x="6059612" y="1027170"/>
                  <a:pt x="6213075" y="956608"/>
                  <a:pt x="6216422" y="994223"/>
                </a:cubicBezTo>
                <a:lnTo>
                  <a:pt x="6419991" y="1045060"/>
                </a:lnTo>
                <a:cubicBezTo>
                  <a:pt x="6422943" y="1041563"/>
                  <a:pt x="6426736" y="1039094"/>
                  <a:pt x="6431099" y="1037361"/>
                </a:cubicBezTo>
                <a:lnTo>
                  <a:pt x="6444833" y="1034256"/>
                </a:lnTo>
                <a:lnTo>
                  <a:pt x="6463940" y="1036894"/>
                </a:lnTo>
                <a:lnTo>
                  <a:pt x="6500402" y="1030680"/>
                </a:lnTo>
                <a:lnTo>
                  <a:pt x="6505093" y="1032748"/>
                </a:lnTo>
                <a:lnTo>
                  <a:pt x="6539157" y="1032256"/>
                </a:lnTo>
                <a:lnTo>
                  <a:pt x="6539899" y="1033503"/>
                </a:lnTo>
                <a:cubicBezTo>
                  <a:pt x="6542343" y="1036288"/>
                  <a:pt x="6545614" y="1038321"/>
                  <a:pt x="6550699" y="1038843"/>
                </a:cubicBezTo>
                <a:cubicBezTo>
                  <a:pt x="6546920" y="1056413"/>
                  <a:pt x="6555386" y="1046202"/>
                  <a:pt x="6570715" y="1046183"/>
                </a:cubicBezTo>
                <a:cubicBezTo>
                  <a:pt x="6568263" y="1073470"/>
                  <a:pt x="6609380" y="1062323"/>
                  <a:pt x="6620265" y="1078630"/>
                </a:cubicBezTo>
                <a:cubicBezTo>
                  <a:pt x="6631583" y="1078002"/>
                  <a:pt x="6643506" y="1077835"/>
                  <a:pt x="6655805" y="1078254"/>
                </a:cubicBezTo>
                <a:lnTo>
                  <a:pt x="6663127" y="1078865"/>
                </a:lnTo>
                <a:lnTo>
                  <a:pt x="6663341" y="1079158"/>
                </a:lnTo>
                <a:cubicBezTo>
                  <a:pt x="6665078" y="1079893"/>
                  <a:pt x="6667541" y="1080320"/>
                  <a:pt x="6671197" y="1080364"/>
                </a:cubicBezTo>
                <a:lnTo>
                  <a:pt x="6676470" y="1079974"/>
                </a:lnTo>
                <a:lnTo>
                  <a:pt x="6690669" y="1081157"/>
                </a:lnTo>
                <a:lnTo>
                  <a:pt x="6696013" y="1083439"/>
                </a:lnTo>
                <a:cubicBezTo>
                  <a:pt x="6714659" y="1096831"/>
                  <a:pt x="6707064" y="1132397"/>
                  <a:pt x="6740322" y="1121917"/>
                </a:cubicBezTo>
                <a:cubicBezTo>
                  <a:pt x="6777379" y="1135267"/>
                  <a:pt x="6795570" y="1161544"/>
                  <a:pt x="6833807" y="1161011"/>
                </a:cubicBezTo>
                <a:cubicBezTo>
                  <a:pt x="6868480" y="1173587"/>
                  <a:pt x="6896192" y="1191661"/>
                  <a:pt x="6927369" y="1196593"/>
                </a:cubicBezTo>
                <a:cubicBezTo>
                  <a:pt x="6937448" y="1206652"/>
                  <a:pt x="6947967" y="1212962"/>
                  <a:pt x="6961728" y="1207960"/>
                </a:cubicBezTo>
                <a:cubicBezTo>
                  <a:pt x="6993273" y="1222224"/>
                  <a:pt x="6997099" y="1237549"/>
                  <a:pt x="7020835" y="1234906"/>
                </a:cubicBezTo>
                <a:cubicBezTo>
                  <a:pt x="7032558" y="1261629"/>
                  <a:pt x="7036129" y="1254234"/>
                  <a:pt x="7046578" y="1251394"/>
                </a:cubicBezTo>
                <a:lnTo>
                  <a:pt x="7047934" y="1251406"/>
                </a:lnTo>
                <a:lnTo>
                  <a:pt x="7049495" y="1255182"/>
                </a:lnTo>
                <a:lnTo>
                  <a:pt x="7054225" y="1258329"/>
                </a:lnTo>
                <a:lnTo>
                  <a:pt x="7068600" y="1262373"/>
                </a:lnTo>
                <a:lnTo>
                  <a:pt x="7074244" y="1263146"/>
                </a:lnTo>
                <a:cubicBezTo>
                  <a:pt x="7078045" y="1263956"/>
                  <a:pt x="7080454" y="1264854"/>
                  <a:pt x="7081993" y="1265870"/>
                </a:cubicBezTo>
                <a:cubicBezTo>
                  <a:pt x="7082033" y="1265972"/>
                  <a:pt x="7082070" y="1266074"/>
                  <a:pt x="7082110" y="1266175"/>
                </a:cubicBezTo>
                <a:lnTo>
                  <a:pt x="7089518" y="1268259"/>
                </a:lnTo>
                <a:cubicBezTo>
                  <a:pt x="7102195" y="1271230"/>
                  <a:pt x="7114696" y="1273604"/>
                  <a:pt x="7126734" y="1275440"/>
                </a:cubicBezTo>
                <a:cubicBezTo>
                  <a:pt x="7132048" y="1292149"/>
                  <a:pt x="7179071" y="1290989"/>
                  <a:pt x="7166397" y="1314577"/>
                </a:cubicBezTo>
                <a:cubicBezTo>
                  <a:pt x="7182398" y="1317802"/>
                  <a:pt x="7195014" y="1310572"/>
                  <a:pt x="7184558" y="1325296"/>
                </a:cubicBezTo>
                <a:cubicBezTo>
                  <a:pt x="7189670" y="1326829"/>
                  <a:pt x="7192326" y="1329317"/>
                  <a:pt x="7193847" y="1332295"/>
                </a:cubicBezTo>
                <a:cubicBezTo>
                  <a:pt x="7201400" y="1334799"/>
                  <a:pt x="7223183" y="1338509"/>
                  <a:pt x="7229876" y="1340317"/>
                </a:cubicBezTo>
                <a:lnTo>
                  <a:pt x="7234001" y="1343137"/>
                </a:lnTo>
                <a:lnTo>
                  <a:pt x="7258071" y="1345086"/>
                </a:lnTo>
                <a:lnTo>
                  <a:pt x="7291641" y="1350152"/>
                </a:lnTo>
                <a:lnTo>
                  <a:pt x="7308779" y="1351882"/>
                </a:lnTo>
                <a:cubicBezTo>
                  <a:pt x="7313975" y="1351274"/>
                  <a:pt x="7318846" y="1349894"/>
                  <a:pt x="7323221" y="1347429"/>
                </a:cubicBezTo>
                <a:cubicBezTo>
                  <a:pt x="7364626" y="1383179"/>
                  <a:pt x="7444915" y="1363402"/>
                  <a:pt x="7495470" y="1384709"/>
                </a:cubicBezTo>
                <a:cubicBezTo>
                  <a:pt x="7508218" y="1422328"/>
                  <a:pt x="7579353" y="1434753"/>
                  <a:pt x="7601447" y="1410288"/>
                </a:cubicBezTo>
                <a:cubicBezTo>
                  <a:pt x="7598834" y="1418772"/>
                  <a:pt x="7605508" y="1423097"/>
                  <a:pt x="7616199" y="1425276"/>
                </a:cubicBezTo>
                <a:lnTo>
                  <a:pt x="10773615" y="3136132"/>
                </a:lnTo>
                <a:lnTo>
                  <a:pt x="10775787" y="3137529"/>
                </a:lnTo>
                <a:cubicBezTo>
                  <a:pt x="10786240" y="3145172"/>
                  <a:pt x="10798221" y="3153027"/>
                  <a:pt x="10804324" y="3140649"/>
                </a:cubicBezTo>
                <a:cubicBezTo>
                  <a:pt x="10809723" y="3144823"/>
                  <a:pt x="10814565" y="3149647"/>
                  <a:pt x="10819333" y="3154674"/>
                </a:cubicBezTo>
                <a:lnTo>
                  <a:pt x="10821839" y="3157295"/>
                </a:lnTo>
                <a:lnTo>
                  <a:pt x="10833660" y="3163373"/>
                </a:lnTo>
                <a:lnTo>
                  <a:pt x="10834754" y="3170606"/>
                </a:lnTo>
                <a:lnTo>
                  <a:pt x="10850942" y="3183705"/>
                </a:lnTo>
                <a:cubicBezTo>
                  <a:pt x="10857349" y="3187758"/>
                  <a:pt x="10864651" y="3191121"/>
                  <a:pt x="10873328" y="3193348"/>
                </a:cubicBezTo>
                <a:cubicBezTo>
                  <a:pt x="10905671" y="3191064"/>
                  <a:pt x="10941725" y="3237129"/>
                  <a:pt x="10982088" y="3232948"/>
                </a:cubicBezTo>
                <a:cubicBezTo>
                  <a:pt x="10996566" y="3233607"/>
                  <a:pt x="11039128" y="3249083"/>
                  <a:pt x="11045804" y="3260190"/>
                </a:cubicBezTo>
                <a:cubicBezTo>
                  <a:pt x="11054394" y="3265102"/>
                  <a:pt x="11065261" y="3265806"/>
                  <a:pt x="11067877" y="3276112"/>
                </a:cubicBezTo>
                <a:cubicBezTo>
                  <a:pt x="11072863" y="3289160"/>
                  <a:pt x="11106676" y="3283562"/>
                  <a:pt x="11100133" y="3294598"/>
                </a:cubicBezTo>
                <a:cubicBezTo>
                  <a:pt x="11124073" y="3291036"/>
                  <a:pt x="11137818" y="3319523"/>
                  <a:pt x="11155409" y="3331539"/>
                </a:cubicBezTo>
                <a:cubicBezTo>
                  <a:pt x="11174654" y="3326420"/>
                  <a:pt x="11192585" y="3356681"/>
                  <a:pt x="11232547" y="3373667"/>
                </a:cubicBezTo>
                <a:cubicBezTo>
                  <a:pt x="11253817" y="3367406"/>
                  <a:pt x="11259426" y="3385289"/>
                  <a:pt x="11297822" y="3380555"/>
                </a:cubicBezTo>
                <a:cubicBezTo>
                  <a:pt x="11298642" y="3382712"/>
                  <a:pt x="11299837" y="3384869"/>
                  <a:pt x="11301370" y="3386958"/>
                </a:cubicBezTo>
                <a:cubicBezTo>
                  <a:pt x="11310286" y="3399106"/>
                  <a:pt x="11328469" y="3406428"/>
                  <a:pt x="11341986" y="3403320"/>
                </a:cubicBezTo>
                <a:cubicBezTo>
                  <a:pt x="11401759" y="3400186"/>
                  <a:pt x="11491279" y="3483029"/>
                  <a:pt x="11537404" y="3495439"/>
                </a:cubicBezTo>
                <a:cubicBezTo>
                  <a:pt x="11586963" y="3526994"/>
                  <a:pt x="11592812" y="3547332"/>
                  <a:pt x="11639337" y="3592655"/>
                </a:cubicBezTo>
                <a:cubicBezTo>
                  <a:pt x="11630549" y="3603460"/>
                  <a:pt x="11789978" y="3695145"/>
                  <a:pt x="11774154" y="3703763"/>
                </a:cubicBezTo>
                <a:cubicBezTo>
                  <a:pt x="11826264" y="3732639"/>
                  <a:pt x="11904763" y="3706282"/>
                  <a:pt x="11967899" y="3739403"/>
                </a:cubicBezTo>
                <a:cubicBezTo>
                  <a:pt x="12011157" y="3747387"/>
                  <a:pt x="12014039" y="3717536"/>
                  <a:pt x="12052251" y="3738161"/>
                </a:cubicBezTo>
                <a:cubicBezTo>
                  <a:pt x="12098308" y="3735454"/>
                  <a:pt x="12068119" y="3776817"/>
                  <a:pt x="12101844" y="3789810"/>
                </a:cubicBezTo>
                <a:cubicBezTo>
                  <a:pt x="12154764" y="3794672"/>
                  <a:pt x="12109764" y="3802536"/>
                  <a:pt x="12155104" y="3824490"/>
                </a:cubicBezTo>
                <a:lnTo>
                  <a:pt x="12191999" y="3836506"/>
                </a:lnTo>
                <a:lnTo>
                  <a:pt x="12191999" y="6858000"/>
                </a:lnTo>
                <a:lnTo>
                  <a:pt x="4040175" y="6858000"/>
                </a:lnTo>
                <a:lnTo>
                  <a:pt x="4035195" y="6847706"/>
                </a:lnTo>
                <a:cubicBezTo>
                  <a:pt x="4032568" y="6842752"/>
                  <a:pt x="4029362" y="6838141"/>
                  <a:pt x="4024571" y="6834979"/>
                </a:cubicBezTo>
                <a:lnTo>
                  <a:pt x="4019139" y="6832909"/>
                </a:lnTo>
                <a:lnTo>
                  <a:pt x="4004905" y="6832292"/>
                </a:lnTo>
                <a:lnTo>
                  <a:pt x="3999653" y="6832888"/>
                </a:lnTo>
                <a:cubicBezTo>
                  <a:pt x="3995997" y="6832991"/>
                  <a:pt x="3993519" y="6832662"/>
                  <a:pt x="3991753" y="6831995"/>
                </a:cubicBezTo>
                <a:lnTo>
                  <a:pt x="3991527" y="6831708"/>
                </a:lnTo>
                <a:lnTo>
                  <a:pt x="3984190" y="6831389"/>
                </a:lnTo>
                <a:cubicBezTo>
                  <a:pt x="3971881" y="6831458"/>
                  <a:pt x="3959975" y="6832096"/>
                  <a:pt x="3948690" y="6833171"/>
                </a:cubicBezTo>
                <a:cubicBezTo>
                  <a:pt x="3937168" y="6817308"/>
                  <a:pt x="3896526" y="6830072"/>
                  <a:pt x="3897895" y="6802710"/>
                </a:cubicBezTo>
                <a:cubicBezTo>
                  <a:pt x="3882580" y="6803333"/>
                  <a:pt x="3874524" y="6813872"/>
                  <a:pt x="3877604" y="6796164"/>
                </a:cubicBezTo>
                <a:cubicBezTo>
                  <a:pt x="3872503" y="6795847"/>
                  <a:pt x="3869156" y="6793943"/>
                  <a:pt x="3866602" y="6791257"/>
                </a:cubicBezTo>
                <a:lnTo>
                  <a:pt x="3865811" y="6790042"/>
                </a:lnTo>
                <a:lnTo>
                  <a:pt x="3831795" y="6791880"/>
                </a:lnTo>
                <a:lnTo>
                  <a:pt x="3827025" y="6789998"/>
                </a:lnTo>
                <a:lnTo>
                  <a:pt x="3805177" y="6793918"/>
                </a:lnTo>
                <a:lnTo>
                  <a:pt x="3793719" y="6794494"/>
                </a:lnTo>
                <a:lnTo>
                  <a:pt x="3790837" y="6797649"/>
                </a:lnTo>
                <a:cubicBezTo>
                  <a:pt x="3787525" y="6799392"/>
                  <a:pt x="3782528" y="6799753"/>
                  <a:pt x="3773741" y="6796976"/>
                </a:cubicBezTo>
                <a:lnTo>
                  <a:pt x="3771642" y="6795770"/>
                </a:lnTo>
                <a:lnTo>
                  <a:pt x="3758039" y="6799415"/>
                </a:lnTo>
                <a:cubicBezTo>
                  <a:pt x="3753750" y="6801320"/>
                  <a:pt x="3750057" y="6803937"/>
                  <a:pt x="3747245" y="6807548"/>
                </a:cubicBezTo>
                <a:cubicBezTo>
                  <a:pt x="3696321" y="6780992"/>
                  <a:pt x="3652949" y="6795386"/>
                  <a:pt x="3599970" y="6785929"/>
                </a:cubicBezTo>
                <a:cubicBezTo>
                  <a:pt x="3586653" y="6768168"/>
                  <a:pt x="3558494" y="6766895"/>
                  <a:pt x="3532509" y="6773888"/>
                </a:cubicBezTo>
                <a:lnTo>
                  <a:pt x="3519209" y="6779800"/>
                </a:lnTo>
                <a:lnTo>
                  <a:pt x="3518612" y="6767129"/>
                </a:lnTo>
                <a:cubicBezTo>
                  <a:pt x="3502497" y="6764543"/>
                  <a:pt x="3490176" y="6772267"/>
                  <a:pt x="3500042" y="6757140"/>
                </a:cubicBezTo>
                <a:cubicBezTo>
                  <a:pt x="3494873" y="6755808"/>
                  <a:pt x="3492119" y="6753429"/>
                  <a:pt x="3490483" y="6750514"/>
                </a:cubicBezTo>
                <a:lnTo>
                  <a:pt x="3490120" y="6749268"/>
                </a:lnTo>
                <a:lnTo>
                  <a:pt x="3454164" y="6743923"/>
                </a:lnTo>
                <a:lnTo>
                  <a:pt x="3449932" y="6741268"/>
                </a:lnTo>
                <a:lnTo>
                  <a:pt x="3413708" y="6738430"/>
                </a:lnTo>
                <a:lnTo>
                  <a:pt x="3409529" y="6740648"/>
                </a:lnTo>
                <a:cubicBezTo>
                  <a:pt x="3405440" y="6741520"/>
                  <a:pt x="3400122" y="6740815"/>
                  <a:pt x="3392060" y="6736539"/>
                </a:cubicBezTo>
                <a:lnTo>
                  <a:pt x="3390340" y="6735034"/>
                </a:lnTo>
                <a:lnTo>
                  <a:pt x="3374867" y="6735488"/>
                </a:lnTo>
                <a:cubicBezTo>
                  <a:pt x="3369698" y="6736301"/>
                  <a:pt x="3299359" y="6725960"/>
                  <a:pt x="3295084" y="6728596"/>
                </a:cubicBezTo>
                <a:cubicBezTo>
                  <a:pt x="3252298" y="6694507"/>
                  <a:pt x="3267437" y="6710324"/>
                  <a:pt x="3216076" y="6691033"/>
                </a:cubicBezTo>
                <a:cubicBezTo>
                  <a:pt x="3156302" y="6677749"/>
                  <a:pt x="3074349" y="6678933"/>
                  <a:pt x="3001959" y="6660812"/>
                </a:cubicBezTo>
                <a:lnTo>
                  <a:pt x="2781734" y="6582305"/>
                </a:lnTo>
                <a:cubicBezTo>
                  <a:pt x="2755216" y="6546497"/>
                  <a:pt x="2766871" y="6575703"/>
                  <a:pt x="2733334" y="6560298"/>
                </a:cubicBezTo>
                <a:cubicBezTo>
                  <a:pt x="2736336" y="6586734"/>
                  <a:pt x="2694672" y="6534196"/>
                  <a:pt x="2685391" y="6560171"/>
                </a:cubicBezTo>
                <a:cubicBezTo>
                  <a:pt x="2679581" y="6556545"/>
                  <a:pt x="2674247" y="6552214"/>
                  <a:pt x="2668962" y="6547670"/>
                </a:cubicBezTo>
                <a:lnTo>
                  <a:pt x="2666187" y="6545303"/>
                </a:lnTo>
                <a:lnTo>
                  <a:pt x="2653807" y="6540427"/>
                </a:lnTo>
                <a:lnTo>
                  <a:pt x="2651913" y="6533308"/>
                </a:lnTo>
                <a:lnTo>
                  <a:pt x="2611193" y="6514475"/>
                </a:lnTo>
                <a:cubicBezTo>
                  <a:pt x="2587389" y="6518638"/>
                  <a:pt x="2558457" y="6495830"/>
                  <a:pt x="2528835" y="6487649"/>
                </a:cubicBezTo>
                <a:lnTo>
                  <a:pt x="2514423" y="6486793"/>
                </a:lnTo>
                <a:lnTo>
                  <a:pt x="2432918" y="6454736"/>
                </a:lnTo>
                <a:lnTo>
                  <a:pt x="2375430" y="6436197"/>
                </a:lnTo>
                <a:lnTo>
                  <a:pt x="2361493" y="6435403"/>
                </a:lnTo>
                <a:lnTo>
                  <a:pt x="2350645" y="6424146"/>
                </a:lnTo>
                <a:cubicBezTo>
                  <a:pt x="2343160" y="6419055"/>
                  <a:pt x="2324593" y="6408165"/>
                  <a:pt x="2316586" y="6404861"/>
                </a:cubicBezTo>
                <a:lnTo>
                  <a:pt x="2302598" y="6404320"/>
                </a:lnTo>
                <a:lnTo>
                  <a:pt x="2297403" y="6401898"/>
                </a:lnTo>
                <a:lnTo>
                  <a:pt x="2284680" y="6395204"/>
                </a:lnTo>
                <a:cubicBezTo>
                  <a:pt x="2278293" y="6391284"/>
                  <a:pt x="2271187" y="6386738"/>
                  <a:pt x="2263087" y="6382362"/>
                </a:cubicBezTo>
                <a:lnTo>
                  <a:pt x="2256073" y="6379356"/>
                </a:lnTo>
                <a:lnTo>
                  <a:pt x="2242767" y="6365725"/>
                </a:lnTo>
                <a:cubicBezTo>
                  <a:pt x="2233158" y="6355559"/>
                  <a:pt x="2225384" y="6348313"/>
                  <a:pt x="2214365" y="6348882"/>
                </a:cubicBezTo>
                <a:cubicBezTo>
                  <a:pt x="2199689" y="6335057"/>
                  <a:pt x="2194477" y="6307257"/>
                  <a:pt x="2167979" y="6306175"/>
                </a:cubicBezTo>
                <a:cubicBezTo>
                  <a:pt x="2178518" y="6297514"/>
                  <a:pt x="2140912" y="6296490"/>
                  <a:pt x="2139905" y="6283988"/>
                </a:cubicBezTo>
                <a:cubicBezTo>
                  <a:pt x="2140515" y="6274349"/>
                  <a:pt x="2129249" y="6271795"/>
                  <a:pt x="2121768" y="6265897"/>
                </a:cubicBezTo>
                <a:cubicBezTo>
                  <a:pt x="2118343" y="6254820"/>
                  <a:pt x="2078379" y="6233484"/>
                  <a:pt x="2063279" y="6230325"/>
                </a:cubicBezTo>
                <a:cubicBezTo>
                  <a:pt x="2019205" y="6226876"/>
                  <a:pt x="1996148" y="6179466"/>
                  <a:pt x="1961177" y="6175749"/>
                </a:cubicBezTo>
                <a:cubicBezTo>
                  <a:pt x="1952728" y="6172226"/>
                  <a:pt x="1946103" y="6167936"/>
                  <a:pt x="1940650" y="6163188"/>
                </a:cubicBezTo>
                <a:lnTo>
                  <a:pt x="1927814" y="6148653"/>
                </a:lnTo>
                <a:lnTo>
                  <a:pt x="1929028" y="6142020"/>
                </a:lnTo>
                <a:lnTo>
                  <a:pt x="1918508" y="6134512"/>
                </a:lnTo>
                <a:lnTo>
                  <a:pt x="1916718" y="6131733"/>
                </a:lnTo>
                <a:cubicBezTo>
                  <a:pt x="1913318" y="6126408"/>
                  <a:pt x="1909774" y="6121255"/>
                  <a:pt x="1905430" y="6116581"/>
                </a:cubicBezTo>
                <a:cubicBezTo>
                  <a:pt x="1884407" y="6136448"/>
                  <a:pt x="1781620" y="6080094"/>
                  <a:pt x="1772975" y="6103644"/>
                </a:cubicBezTo>
                <a:cubicBezTo>
                  <a:pt x="1745450" y="6081417"/>
                  <a:pt x="1732530" y="6103710"/>
                  <a:pt x="1721239" y="6065803"/>
                </a:cubicBezTo>
                <a:cubicBezTo>
                  <a:pt x="1682804" y="6039411"/>
                  <a:pt x="1632317" y="5944511"/>
                  <a:pt x="1566198" y="5909553"/>
                </a:cubicBezTo>
                <a:cubicBezTo>
                  <a:pt x="1530537" y="5890563"/>
                  <a:pt x="1475175" y="5889432"/>
                  <a:pt x="1419833" y="5862012"/>
                </a:cubicBezTo>
                <a:cubicBezTo>
                  <a:pt x="1375775" y="5831672"/>
                  <a:pt x="1322428" y="5821551"/>
                  <a:pt x="1293711" y="5780773"/>
                </a:cubicBezTo>
                <a:cubicBezTo>
                  <a:pt x="1288164" y="5781899"/>
                  <a:pt x="1282535" y="5781964"/>
                  <a:pt x="1276884" y="5781282"/>
                </a:cubicBezTo>
                <a:lnTo>
                  <a:pt x="1260832" y="5777529"/>
                </a:lnTo>
                <a:lnTo>
                  <a:pt x="1259737" y="5775776"/>
                </a:lnTo>
                <a:cubicBezTo>
                  <a:pt x="1253374" y="5769941"/>
                  <a:pt x="1248240" y="5767910"/>
                  <a:pt x="1243663" y="5767568"/>
                </a:cubicBezTo>
                <a:lnTo>
                  <a:pt x="1238401" y="5768357"/>
                </a:lnTo>
                <a:lnTo>
                  <a:pt x="1226827" y="5763536"/>
                </a:lnTo>
                <a:lnTo>
                  <a:pt x="1164932" y="5738590"/>
                </a:lnTo>
                <a:lnTo>
                  <a:pt x="1165111" y="5737421"/>
                </a:lnTo>
                <a:cubicBezTo>
                  <a:pt x="1164727" y="5734476"/>
                  <a:pt x="1162963" y="5731690"/>
                  <a:pt x="1158258" y="5729163"/>
                </a:cubicBezTo>
                <a:cubicBezTo>
                  <a:pt x="1175070" y="5718786"/>
                  <a:pt x="1159025" y="5722136"/>
                  <a:pt x="1143665" y="5715598"/>
                </a:cubicBezTo>
                <a:cubicBezTo>
                  <a:pt x="1166351" y="5698024"/>
                  <a:pt x="1116930" y="5688064"/>
                  <a:pt x="1118122" y="5672283"/>
                </a:cubicBezTo>
                <a:cubicBezTo>
                  <a:pt x="1106329" y="5667875"/>
                  <a:pt x="1094269" y="5662894"/>
                  <a:pt x="1082268" y="5657350"/>
                </a:cubicBezTo>
                <a:lnTo>
                  <a:pt x="1075393" y="5653807"/>
                </a:lnTo>
                <a:cubicBezTo>
                  <a:pt x="1075394" y="5653710"/>
                  <a:pt x="1075394" y="5653611"/>
                  <a:pt x="1075395" y="5653513"/>
                </a:cubicBezTo>
                <a:cubicBezTo>
                  <a:pt x="1074203" y="5652272"/>
                  <a:pt x="1072055" y="5650925"/>
                  <a:pt x="1068424" y="5649334"/>
                </a:cubicBezTo>
                <a:lnTo>
                  <a:pt x="1049520" y="5640476"/>
                </a:lnTo>
                <a:lnTo>
                  <a:pt x="1045864" y="5636632"/>
                </a:lnTo>
                <a:lnTo>
                  <a:pt x="1045757" y="5632979"/>
                </a:lnTo>
                <a:lnTo>
                  <a:pt x="1044350" y="5632652"/>
                </a:lnTo>
                <a:cubicBezTo>
                  <a:pt x="1032328" y="5632689"/>
                  <a:pt x="1025637" y="5638290"/>
                  <a:pt x="1024186" y="5612300"/>
                </a:cubicBezTo>
                <a:cubicBezTo>
                  <a:pt x="998412" y="5609063"/>
                  <a:pt x="1000596" y="5594832"/>
                  <a:pt x="973495" y="5575059"/>
                </a:cubicBezTo>
                <a:cubicBezTo>
                  <a:pt x="957154" y="5576199"/>
                  <a:pt x="948742" y="5568254"/>
                  <a:pt x="942299" y="5557148"/>
                </a:cubicBezTo>
                <a:cubicBezTo>
                  <a:pt x="911827" y="5545583"/>
                  <a:pt x="890246" y="5523386"/>
                  <a:pt x="859213" y="5504353"/>
                </a:cubicBezTo>
                <a:cubicBezTo>
                  <a:pt x="819190" y="5495896"/>
                  <a:pt x="810827" y="5468779"/>
                  <a:pt x="777621" y="5448518"/>
                </a:cubicBezTo>
                <a:cubicBezTo>
                  <a:pt x="738781" y="5449883"/>
                  <a:pt x="760999" y="5420699"/>
                  <a:pt x="746978" y="5404694"/>
                </a:cubicBezTo>
                <a:lnTo>
                  <a:pt x="742331" y="5401458"/>
                </a:lnTo>
                <a:lnTo>
                  <a:pt x="728026" y="5397116"/>
                </a:lnTo>
                <a:lnTo>
                  <a:pt x="722379" y="5396226"/>
                </a:lnTo>
                <a:cubicBezTo>
                  <a:pt x="718589" y="5395337"/>
                  <a:pt x="716197" y="5394391"/>
                  <a:pt x="714684" y="5393345"/>
                </a:cubicBezTo>
                <a:lnTo>
                  <a:pt x="714579" y="5393038"/>
                </a:lnTo>
                <a:lnTo>
                  <a:pt x="670051" y="5382838"/>
                </a:lnTo>
                <a:cubicBezTo>
                  <a:pt x="665280" y="5366103"/>
                  <a:pt x="617993" y="5366216"/>
                  <a:pt x="631522" y="5343039"/>
                </a:cubicBezTo>
                <a:cubicBezTo>
                  <a:pt x="615556" y="5339477"/>
                  <a:pt x="602635" y="5346389"/>
                  <a:pt x="613641" y="5331978"/>
                </a:cubicBezTo>
                <a:cubicBezTo>
                  <a:pt x="608555" y="5330339"/>
                  <a:pt x="605969" y="5327805"/>
                  <a:pt x="604546" y="5324812"/>
                </a:cubicBezTo>
                <a:lnTo>
                  <a:pt x="604272" y="5323553"/>
                </a:lnTo>
                <a:lnTo>
                  <a:pt x="568614" y="5316037"/>
                </a:lnTo>
                <a:lnTo>
                  <a:pt x="528452" y="5308096"/>
                </a:lnTo>
                <a:lnTo>
                  <a:pt x="524103" y="5310044"/>
                </a:lnTo>
                <a:cubicBezTo>
                  <a:pt x="519935" y="5310660"/>
                  <a:pt x="514655" y="5309630"/>
                  <a:pt x="506887" y="5304889"/>
                </a:cubicBezTo>
                <a:lnTo>
                  <a:pt x="505272" y="5303292"/>
                </a:lnTo>
                <a:lnTo>
                  <a:pt x="489723" y="5302789"/>
                </a:lnTo>
                <a:cubicBezTo>
                  <a:pt x="484484" y="5303280"/>
                  <a:pt x="425929" y="5292631"/>
                  <a:pt x="421447" y="5294985"/>
                </a:cubicBezTo>
                <a:cubicBezTo>
                  <a:pt x="381055" y="5258514"/>
                  <a:pt x="383859" y="5271206"/>
                  <a:pt x="333782" y="5248897"/>
                </a:cubicBezTo>
                <a:cubicBezTo>
                  <a:pt x="280694" y="5228973"/>
                  <a:pt x="205280" y="5185889"/>
                  <a:pt x="150572" y="5169484"/>
                </a:cubicBezTo>
                <a:cubicBezTo>
                  <a:pt x="119736" y="5170904"/>
                  <a:pt x="38961" y="5164601"/>
                  <a:pt x="5531" y="5150468"/>
                </a:cubicBezTo>
                <a:lnTo>
                  <a:pt x="0" y="5148136"/>
                </a:lnTo>
                <a:close/>
              </a:path>
            </a:pathLst>
          </a:custGeom>
          <a:solidFill>
            <a:srgbClr val="82766A">
              <a:alpha val="15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Bembo"/>
              <a:ea typeface="+mn-ea"/>
              <a:cs typeface="+mn-cs"/>
            </a:endParaRPr>
          </a:p>
        </p:txBody>
      </p:sp>
      <p:sp>
        <p:nvSpPr>
          <p:cNvPr id="10" name="Title 1">
            <a:extLst>
              <a:ext uri="{FF2B5EF4-FFF2-40B4-BE49-F238E27FC236}">
                <a16:creationId xmlns:a16="http://schemas.microsoft.com/office/drawing/2014/main" id="{7D62142A-412A-40E5-BCCA-6D8C7650510C}"/>
              </a:ext>
            </a:extLst>
          </p:cNvPr>
          <p:cNvSpPr>
            <a:spLocks noGrp="1"/>
          </p:cNvSpPr>
          <p:nvPr>
            <p:ph type="ctrTitle"/>
          </p:nvPr>
        </p:nvSpPr>
        <p:spPr>
          <a:xfrm>
            <a:off x="962109" y="1128292"/>
            <a:ext cx="4936103" cy="2664892"/>
          </a:xfrm>
        </p:spPr>
        <p:txBody>
          <a:bodyPr/>
          <a:lstStyle/>
          <a:p>
            <a:r>
              <a:rPr lang="en-US"/>
              <a:t>Click to edit Master title style</a:t>
            </a:r>
            <a:endParaRPr lang="en-US" dirty="0"/>
          </a:p>
        </p:txBody>
      </p:sp>
      <p:sp>
        <p:nvSpPr>
          <p:cNvPr id="11" name="Subtitle 2">
            <a:extLst>
              <a:ext uri="{FF2B5EF4-FFF2-40B4-BE49-F238E27FC236}">
                <a16:creationId xmlns:a16="http://schemas.microsoft.com/office/drawing/2014/main" id="{D644C5E3-2951-4A34-9B83-ABC05FBB8593}"/>
              </a:ext>
            </a:extLst>
          </p:cNvPr>
          <p:cNvSpPr>
            <a:spLocks noGrp="1"/>
          </p:cNvSpPr>
          <p:nvPr>
            <p:ph type="subTitle" idx="1"/>
          </p:nvPr>
        </p:nvSpPr>
        <p:spPr>
          <a:xfrm>
            <a:off x="962109" y="4135499"/>
            <a:ext cx="4358397" cy="984023"/>
          </a:xfrm>
        </p:spPr>
        <p:txBody>
          <a:bodyPr>
            <a:normAutofit/>
          </a:bodyPr>
          <a:lstStyle>
            <a:lvl1pPr marL="0" indent="0">
              <a:buNone/>
              <a:defRPr sz="2400"/>
            </a:lvl1pPr>
          </a:lstStyle>
          <a:p>
            <a:r>
              <a:rPr lang="en-US"/>
              <a:t>Click to edit Master subtitle style</a:t>
            </a:r>
            <a:endParaRPr lang="en-US" dirty="0"/>
          </a:p>
        </p:txBody>
      </p:sp>
      <p:sp>
        <p:nvSpPr>
          <p:cNvPr id="12" name="Freeform: Shape 11">
            <a:extLst>
              <a:ext uri="{FF2B5EF4-FFF2-40B4-BE49-F238E27FC236}">
                <a16:creationId xmlns:a16="http://schemas.microsoft.com/office/drawing/2014/main" id="{67B1A02A-F91C-4C09-B319-5F5F19A202AD}"/>
              </a:ext>
              <a:ext uri="{C183D7F6-B498-43B3-948B-1728B52AA6E4}">
                <adec:decorative xmlns:adec="http://schemas.microsoft.com/office/drawing/2017/decorative" val="1"/>
              </a:ext>
            </a:extLst>
          </p:cNvPr>
          <p:cNvSpPr/>
          <p:nvPr userDrawn="1"/>
        </p:nvSpPr>
        <p:spPr>
          <a:xfrm>
            <a:off x="7577592" y="615950"/>
            <a:ext cx="3330773" cy="3490251"/>
          </a:xfrm>
          <a:custGeom>
            <a:avLst/>
            <a:gdLst>
              <a:gd name="connsiteX0" fmla="*/ 0 w 2400300"/>
              <a:gd name="connsiteY0" fmla="*/ 0 h 2400300"/>
              <a:gd name="connsiteX1" fmla="*/ 2400300 w 2400300"/>
              <a:gd name="connsiteY1" fmla="*/ 0 h 2400300"/>
              <a:gd name="connsiteX2" fmla="*/ 2400300 w 2400300"/>
              <a:gd name="connsiteY2" fmla="*/ 2400300 h 2400300"/>
              <a:gd name="connsiteX3" fmla="*/ 0 w 2400300"/>
              <a:gd name="connsiteY3" fmla="*/ 2400300 h 2400300"/>
            </a:gdLst>
            <a:ahLst/>
            <a:cxnLst>
              <a:cxn ang="0">
                <a:pos x="connsiteX0" y="connsiteY0"/>
              </a:cxn>
              <a:cxn ang="0">
                <a:pos x="connsiteX1" y="connsiteY1"/>
              </a:cxn>
              <a:cxn ang="0">
                <a:pos x="connsiteX2" y="connsiteY2"/>
              </a:cxn>
              <a:cxn ang="0">
                <a:pos x="connsiteX3" y="connsiteY3"/>
              </a:cxn>
            </a:cxnLst>
            <a:rect l="l" t="t" r="r" b="b"/>
            <a:pathLst>
              <a:path w="2400300" h="2400300">
                <a:moveTo>
                  <a:pt x="0" y="0"/>
                </a:moveTo>
                <a:lnTo>
                  <a:pt x="2400300" y="0"/>
                </a:lnTo>
                <a:lnTo>
                  <a:pt x="2400300" y="2400300"/>
                </a:lnTo>
                <a:lnTo>
                  <a:pt x="0" y="2400300"/>
                </a:lnTo>
                <a:close/>
              </a:path>
            </a:pathLst>
          </a:custGeom>
          <a:solidFill>
            <a:schemeClr val="bg1">
              <a:lumMod val="95000"/>
            </a:schemeClr>
          </a:solidFill>
          <a:ln>
            <a:noFill/>
          </a:ln>
          <a:effectLst>
            <a:outerShdw blurRad="25400" dist="12700" dir="3000000" algn="tl"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Bembo"/>
              <a:ea typeface="+mn-ea"/>
              <a:cs typeface="+mn-cs"/>
            </a:endParaRPr>
          </a:p>
        </p:txBody>
      </p:sp>
      <p:sp>
        <p:nvSpPr>
          <p:cNvPr id="23" name="Picture Placeholder 21">
            <a:extLst>
              <a:ext uri="{FF2B5EF4-FFF2-40B4-BE49-F238E27FC236}">
                <a16:creationId xmlns:a16="http://schemas.microsoft.com/office/drawing/2014/main" id="{1E061CBD-EFE4-4D47-8C11-E4F950FC37AD}"/>
              </a:ext>
            </a:extLst>
          </p:cNvPr>
          <p:cNvSpPr>
            <a:spLocks noGrp="1"/>
          </p:cNvSpPr>
          <p:nvPr>
            <p:ph type="pic" sz="quarter" idx="10" hasCustomPrompt="1"/>
          </p:nvPr>
        </p:nvSpPr>
        <p:spPr>
          <a:xfrm>
            <a:off x="7569199" y="615948"/>
            <a:ext cx="3339165" cy="3490250"/>
          </a:xfrm>
          <a:custGeom>
            <a:avLst/>
            <a:gdLst>
              <a:gd name="connsiteX0" fmla="*/ 0 w 3330774"/>
              <a:gd name="connsiteY0" fmla="*/ 0 h 3490250"/>
              <a:gd name="connsiteX1" fmla="*/ 3330774 w 3330774"/>
              <a:gd name="connsiteY1" fmla="*/ 0 h 3490250"/>
              <a:gd name="connsiteX2" fmla="*/ 3330774 w 3330774"/>
              <a:gd name="connsiteY2" fmla="*/ 3490250 h 3490250"/>
              <a:gd name="connsiteX3" fmla="*/ 0 w 3330774"/>
              <a:gd name="connsiteY3" fmla="*/ 3490250 h 3490250"/>
              <a:gd name="connsiteX4" fmla="*/ 0 w 3330774"/>
              <a:gd name="connsiteY4" fmla="*/ 0 h 3490250"/>
              <a:gd name="connsiteX0" fmla="*/ 8391 w 3339165"/>
              <a:gd name="connsiteY0" fmla="*/ 0 h 3490250"/>
              <a:gd name="connsiteX1" fmla="*/ 3339165 w 3339165"/>
              <a:gd name="connsiteY1" fmla="*/ 0 h 3490250"/>
              <a:gd name="connsiteX2" fmla="*/ 3339165 w 3339165"/>
              <a:gd name="connsiteY2" fmla="*/ 3490250 h 3490250"/>
              <a:gd name="connsiteX3" fmla="*/ 8391 w 3339165"/>
              <a:gd name="connsiteY3" fmla="*/ 3490250 h 3490250"/>
              <a:gd name="connsiteX4" fmla="*/ 0 w 3339165"/>
              <a:gd name="connsiteY4" fmla="*/ 2673352 h 3490250"/>
              <a:gd name="connsiteX5" fmla="*/ 8391 w 3339165"/>
              <a:gd name="connsiteY5" fmla="*/ 0 h 3490250"/>
              <a:gd name="connsiteX0" fmla="*/ 8391 w 3339165"/>
              <a:gd name="connsiteY0" fmla="*/ 0 h 3490250"/>
              <a:gd name="connsiteX1" fmla="*/ 3339165 w 3339165"/>
              <a:gd name="connsiteY1" fmla="*/ 0 h 3490250"/>
              <a:gd name="connsiteX2" fmla="*/ 3339165 w 3339165"/>
              <a:gd name="connsiteY2" fmla="*/ 3490250 h 3490250"/>
              <a:gd name="connsiteX3" fmla="*/ 1162051 w 3339165"/>
              <a:gd name="connsiteY3" fmla="*/ 3486152 h 3490250"/>
              <a:gd name="connsiteX4" fmla="*/ 8391 w 3339165"/>
              <a:gd name="connsiteY4" fmla="*/ 3490250 h 3490250"/>
              <a:gd name="connsiteX5" fmla="*/ 0 w 3339165"/>
              <a:gd name="connsiteY5" fmla="*/ 2673352 h 3490250"/>
              <a:gd name="connsiteX6" fmla="*/ 8391 w 3339165"/>
              <a:gd name="connsiteY6" fmla="*/ 0 h 3490250"/>
              <a:gd name="connsiteX0" fmla="*/ 8391 w 3339165"/>
              <a:gd name="connsiteY0" fmla="*/ 0 h 3490250"/>
              <a:gd name="connsiteX1" fmla="*/ 3339165 w 3339165"/>
              <a:gd name="connsiteY1" fmla="*/ 0 h 3490250"/>
              <a:gd name="connsiteX2" fmla="*/ 3339165 w 3339165"/>
              <a:gd name="connsiteY2" fmla="*/ 3490250 h 3490250"/>
              <a:gd name="connsiteX3" fmla="*/ 1162051 w 3339165"/>
              <a:gd name="connsiteY3" fmla="*/ 3486152 h 3490250"/>
              <a:gd name="connsiteX4" fmla="*/ 1157741 w 3339165"/>
              <a:gd name="connsiteY4" fmla="*/ 2677450 h 3490250"/>
              <a:gd name="connsiteX5" fmla="*/ 0 w 3339165"/>
              <a:gd name="connsiteY5" fmla="*/ 2673352 h 3490250"/>
              <a:gd name="connsiteX6" fmla="*/ 8391 w 3339165"/>
              <a:gd name="connsiteY6" fmla="*/ 0 h 349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9165" h="3490250">
                <a:moveTo>
                  <a:pt x="8391" y="0"/>
                </a:moveTo>
                <a:lnTo>
                  <a:pt x="3339165" y="0"/>
                </a:lnTo>
                <a:lnTo>
                  <a:pt x="3339165" y="3490250"/>
                </a:lnTo>
                <a:lnTo>
                  <a:pt x="1162051" y="3486152"/>
                </a:lnTo>
                <a:cubicBezTo>
                  <a:pt x="1160614" y="3216585"/>
                  <a:pt x="1159178" y="2947017"/>
                  <a:pt x="1157741" y="2677450"/>
                </a:cubicBezTo>
                <a:lnTo>
                  <a:pt x="0" y="2673352"/>
                </a:lnTo>
                <a:lnTo>
                  <a:pt x="8391" y="0"/>
                </a:lnTo>
                <a:close/>
              </a:path>
            </a:pathLst>
          </a:custGeom>
        </p:spPr>
        <p:txBody>
          <a:bodyPr/>
          <a:lstStyle>
            <a:lvl1pPr marL="0" indent="0" algn="ctr">
              <a:buNone/>
              <a:defRPr/>
            </a:lvl1pPr>
          </a:lstStyle>
          <a:p>
            <a:r>
              <a:rPr lang="en-US" dirty="0"/>
              <a:t>Click to add photo</a:t>
            </a:r>
          </a:p>
        </p:txBody>
      </p:sp>
      <p:sp>
        <p:nvSpPr>
          <p:cNvPr id="18" name="Freeform: Shape 17">
            <a:extLst>
              <a:ext uri="{FF2B5EF4-FFF2-40B4-BE49-F238E27FC236}">
                <a16:creationId xmlns:a16="http://schemas.microsoft.com/office/drawing/2014/main" id="{47171568-C587-434F-B3BF-5E0F0DA84871}"/>
              </a:ext>
              <a:ext uri="{C183D7F6-B498-43B3-948B-1728B52AA6E4}">
                <adec:decorative xmlns:adec="http://schemas.microsoft.com/office/drawing/2017/decorative" val="1"/>
              </a:ext>
            </a:extLst>
          </p:cNvPr>
          <p:cNvSpPr/>
          <p:nvPr userDrawn="1"/>
        </p:nvSpPr>
        <p:spPr>
          <a:xfrm>
            <a:off x="9018564" y="4382732"/>
            <a:ext cx="2220050" cy="1651245"/>
          </a:xfrm>
          <a:custGeom>
            <a:avLst/>
            <a:gdLst>
              <a:gd name="connsiteX0" fmla="*/ 0 w 2400300"/>
              <a:gd name="connsiteY0" fmla="*/ 0 h 2400300"/>
              <a:gd name="connsiteX1" fmla="*/ 2400300 w 2400300"/>
              <a:gd name="connsiteY1" fmla="*/ 0 h 2400300"/>
              <a:gd name="connsiteX2" fmla="*/ 2400300 w 2400300"/>
              <a:gd name="connsiteY2" fmla="*/ 2400300 h 2400300"/>
              <a:gd name="connsiteX3" fmla="*/ 0 w 2400300"/>
              <a:gd name="connsiteY3" fmla="*/ 2400300 h 2400300"/>
            </a:gdLst>
            <a:ahLst/>
            <a:cxnLst>
              <a:cxn ang="0">
                <a:pos x="connsiteX0" y="connsiteY0"/>
              </a:cxn>
              <a:cxn ang="0">
                <a:pos x="connsiteX1" y="connsiteY1"/>
              </a:cxn>
              <a:cxn ang="0">
                <a:pos x="connsiteX2" y="connsiteY2"/>
              </a:cxn>
              <a:cxn ang="0">
                <a:pos x="connsiteX3" y="connsiteY3"/>
              </a:cxn>
            </a:cxnLst>
            <a:rect l="l" t="t" r="r" b="b"/>
            <a:pathLst>
              <a:path w="2400300" h="2400300">
                <a:moveTo>
                  <a:pt x="0" y="0"/>
                </a:moveTo>
                <a:lnTo>
                  <a:pt x="2400300" y="0"/>
                </a:lnTo>
                <a:lnTo>
                  <a:pt x="2400300" y="2400300"/>
                </a:lnTo>
                <a:lnTo>
                  <a:pt x="0" y="2400300"/>
                </a:lnTo>
                <a:close/>
              </a:path>
            </a:pathLst>
          </a:custGeom>
          <a:solidFill>
            <a:srgbClr val="F2F2F2"/>
          </a:solidFill>
          <a:ln>
            <a:noFill/>
          </a:ln>
          <a:effectLst>
            <a:outerShdw blurRad="25400" dist="12700" dir="3000000" algn="tl"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Bembo"/>
              <a:ea typeface="+mn-ea"/>
              <a:cs typeface="+mn-cs"/>
            </a:endParaRPr>
          </a:p>
        </p:txBody>
      </p:sp>
      <p:sp>
        <p:nvSpPr>
          <p:cNvPr id="13" name="Freeform: Shape 12">
            <a:extLst>
              <a:ext uri="{FF2B5EF4-FFF2-40B4-BE49-F238E27FC236}">
                <a16:creationId xmlns:a16="http://schemas.microsoft.com/office/drawing/2014/main" id="{141AAF8D-59B9-4EBC-AFD5-6A23FB0948D9}"/>
              </a:ext>
              <a:ext uri="{C183D7F6-B498-43B3-948B-1728B52AA6E4}">
                <adec:decorative xmlns:adec="http://schemas.microsoft.com/office/drawing/2017/decorative" val="1"/>
              </a:ext>
            </a:extLst>
          </p:cNvPr>
          <p:cNvSpPr/>
          <p:nvPr userDrawn="1"/>
        </p:nvSpPr>
        <p:spPr>
          <a:xfrm>
            <a:off x="6535073" y="3299383"/>
            <a:ext cx="2188956" cy="2357141"/>
          </a:xfrm>
          <a:custGeom>
            <a:avLst/>
            <a:gdLst>
              <a:gd name="connsiteX0" fmla="*/ 0 w 2400300"/>
              <a:gd name="connsiteY0" fmla="*/ 0 h 2400300"/>
              <a:gd name="connsiteX1" fmla="*/ 2400300 w 2400300"/>
              <a:gd name="connsiteY1" fmla="*/ 0 h 2400300"/>
              <a:gd name="connsiteX2" fmla="*/ 2400300 w 2400300"/>
              <a:gd name="connsiteY2" fmla="*/ 2400300 h 2400300"/>
              <a:gd name="connsiteX3" fmla="*/ 0 w 2400300"/>
              <a:gd name="connsiteY3" fmla="*/ 2400300 h 2400300"/>
            </a:gdLst>
            <a:ahLst/>
            <a:cxnLst>
              <a:cxn ang="0">
                <a:pos x="connsiteX0" y="connsiteY0"/>
              </a:cxn>
              <a:cxn ang="0">
                <a:pos x="connsiteX1" y="connsiteY1"/>
              </a:cxn>
              <a:cxn ang="0">
                <a:pos x="connsiteX2" y="connsiteY2"/>
              </a:cxn>
              <a:cxn ang="0">
                <a:pos x="connsiteX3" y="connsiteY3"/>
              </a:cxn>
            </a:cxnLst>
            <a:rect l="l" t="t" r="r" b="b"/>
            <a:pathLst>
              <a:path w="2400300" h="2400300">
                <a:moveTo>
                  <a:pt x="0" y="0"/>
                </a:moveTo>
                <a:lnTo>
                  <a:pt x="2400300" y="0"/>
                </a:lnTo>
                <a:lnTo>
                  <a:pt x="2400300" y="2400300"/>
                </a:lnTo>
                <a:lnTo>
                  <a:pt x="0" y="2400300"/>
                </a:lnTo>
                <a:close/>
              </a:path>
            </a:pathLst>
          </a:custGeom>
          <a:solidFill>
            <a:srgbClr val="F2F2F2"/>
          </a:solidFill>
          <a:ln>
            <a:noFill/>
          </a:ln>
          <a:effectLst>
            <a:outerShdw blurRad="25400" dist="12700" dir="3000000" algn="tl"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Bembo"/>
              <a:ea typeface="+mn-ea"/>
              <a:cs typeface="+mn-cs"/>
            </a:endParaRPr>
          </a:p>
        </p:txBody>
      </p:sp>
      <p:sp>
        <p:nvSpPr>
          <p:cNvPr id="28" name="Picture Placeholder 24">
            <a:extLst>
              <a:ext uri="{FF2B5EF4-FFF2-40B4-BE49-F238E27FC236}">
                <a16:creationId xmlns:a16="http://schemas.microsoft.com/office/drawing/2014/main" id="{5DA8A2F6-22B7-4A2A-AB6A-D1A0194EFE2E}"/>
              </a:ext>
            </a:extLst>
          </p:cNvPr>
          <p:cNvSpPr>
            <a:spLocks noGrp="1"/>
          </p:cNvSpPr>
          <p:nvPr>
            <p:ph type="pic" sz="quarter" idx="11" hasCustomPrompt="1"/>
          </p:nvPr>
        </p:nvSpPr>
        <p:spPr>
          <a:xfrm>
            <a:off x="6669655" y="3429000"/>
            <a:ext cx="1918660" cy="2110220"/>
          </a:xfrm>
        </p:spPr>
        <p:txBody>
          <a:bodyPr/>
          <a:lstStyle>
            <a:lvl1pPr marL="0" indent="0" algn="ctr">
              <a:buNone/>
              <a:defRPr/>
            </a:lvl1pPr>
          </a:lstStyle>
          <a:p>
            <a:r>
              <a:rPr lang="en-US" dirty="0"/>
              <a:t>Click to add photo</a:t>
            </a:r>
          </a:p>
        </p:txBody>
      </p:sp>
      <p:sp>
        <p:nvSpPr>
          <p:cNvPr id="29" name="Picture Placeholder 26">
            <a:extLst>
              <a:ext uri="{FF2B5EF4-FFF2-40B4-BE49-F238E27FC236}">
                <a16:creationId xmlns:a16="http://schemas.microsoft.com/office/drawing/2014/main" id="{7F0A11D1-5C3D-4F4B-A0CC-3D77FEC4500A}"/>
              </a:ext>
            </a:extLst>
          </p:cNvPr>
          <p:cNvSpPr>
            <a:spLocks noGrp="1"/>
          </p:cNvSpPr>
          <p:nvPr>
            <p:ph type="pic" sz="quarter" idx="12" hasCustomPrompt="1"/>
          </p:nvPr>
        </p:nvSpPr>
        <p:spPr>
          <a:xfrm>
            <a:off x="9018563" y="4382729"/>
            <a:ext cx="2220051" cy="1651244"/>
          </a:xfrm>
        </p:spPr>
        <p:txBody>
          <a:bodyPr/>
          <a:lstStyle>
            <a:lvl1pPr marL="0" indent="0" algn="ctr">
              <a:buNone/>
              <a:defRPr/>
            </a:lvl1pPr>
          </a:lstStyle>
          <a:p>
            <a:r>
              <a:rPr lang="en-US" dirty="0"/>
              <a:t>Click to add photo</a:t>
            </a:r>
          </a:p>
        </p:txBody>
      </p:sp>
    </p:spTree>
    <p:extLst>
      <p:ext uri="{BB962C8B-B14F-4D97-AF65-F5344CB8AC3E}">
        <p14:creationId xmlns:p14="http://schemas.microsoft.com/office/powerpoint/2010/main" val="31686819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8DF6718-41ED-4C54-A5E0-6854E6A5FEC0}"/>
              </a:ext>
            </a:extLst>
          </p:cNvPr>
          <p:cNvSpPr>
            <a:spLocks noGrp="1"/>
          </p:cNvSpPr>
          <p:nvPr>
            <p:ph type="title"/>
          </p:nvPr>
        </p:nvSpPr>
        <p:spPr>
          <a:xfrm>
            <a:off x="1050879" y="609601"/>
            <a:ext cx="9505664" cy="1216024"/>
          </a:xfrm>
        </p:spPr>
        <p:txBody>
          <a:bodyPr/>
          <a:lstStyle/>
          <a:p>
            <a:r>
              <a:rPr lang="en-US"/>
              <a:t>Click to edit Master title style</a:t>
            </a:r>
            <a:endParaRPr lang="en-US" dirty="0"/>
          </a:p>
        </p:txBody>
      </p:sp>
      <p:sp>
        <p:nvSpPr>
          <p:cNvPr id="14" name="Footer Placeholder 4">
            <a:extLst>
              <a:ext uri="{FF2B5EF4-FFF2-40B4-BE49-F238E27FC236}">
                <a16:creationId xmlns:a16="http://schemas.microsoft.com/office/drawing/2014/main" id="{F108B8EB-11C2-417E-9AEB-0014B67F6846}"/>
              </a:ext>
            </a:extLst>
          </p:cNvPr>
          <p:cNvSpPr>
            <a:spLocks noGrp="1"/>
          </p:cNvSpPr>
          <p:nvPr>
            <p:ph type="ftr" sz="quarter" idx="11"/>
          </p:nvPr>
        </p:nvSpPr>
        <p:spPr>
          <a:xfrm rot="5400000">
            <a:off x="10451592" y="1408176"/>
            <a:ext cx="2770499"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all" spc="300" normalizeH="0" baseline="0" noProof="0" dirty="0">
                <a:ln>
                  <a:noFill/>
                </a:ln>
                <a:solidFill>
                  <a:prstClr val="black">
                    <a:lumMod val="85000"/>
                    <a:lumOff val="15000"/>
                  </a:prstClr>
                </a:solidFill>
                <a:effectLst/>
                <a:uLnTx/>
                <a:uFillTx/>
                <a:latin typeface="Bembo"/>
                <a:ea typeface="+mn-ea"/>
                <a:cs typeface="+mn-cs"/>
              </a:rPr>
              <a:t>PRESENTATION TITLE</a:t>
            </a:r>
          </a:p>
        </p:txBody>
      </p:sp>
      <p:sp>
        <p:nvSpPr>
          <p:cNvPr id="15" name="Slide Number Placeholder 5">
            <a:extLst>
              <a:ext uri="{FF2B5EF4-FFF2-40B4-BE49-F238E27FC236}">
                <a16:creationId xmlns:a16="http://schemas.microsoft.com/office/drawing/2014/main" id="{ED0BE230-847C-4C6B-886E-DC67B716578C}"/>
              </a:ext>
            </a:extLst>
          </p:cNvPr>
          <p:cNvSpPr>
            <a:spLocks noGrp="1"/>
          </p:cNvSpPr>
          <p:nvPr>
            <p:ph type="sldNum" sz="quarter" idx="12"/>
          </p:nvPr>
        </p:nvSpPr>
        <p:spPr>
          <a:xfrm>
            <a:off x="11558016" y="3136392"/>
            <a:ext cx="545911" cy="58002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4F66505-CBE9-4DDE-B6B8-8F5BDC18C943}" type="slidenum">
              <a:rPr kumimoji="0" lang="en-US" sz="1600" b="0" i="0" u="none" strike="noStrike" kern="1200" cap="none" spc="0" normalizeH="0" baseline="0" noProof="0" smtClean="0">
                <a:ln>
                  <a:noFill/>
                </a:ln>
                <a:solidFill>
                  <a:prstClr val="black">
                    <a:lumMod val="85000"/>
                    <a:lumOff val="15000"/>
                  </a:prstClr>
                </a:solidFill>
                <a:effectLst/>
                <a:uLnTx/>
                <a:uFillTx/>
                <a:latin typeface="Bembo"/>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prstClr val="black">
                  <a:lumMod val="85000"/>
                  <a:lumOff val="15000"/>
                </a:prstClr>
              </a:solidFill>
              <a:effectLst/>
              <a:uLnTx/>
              <a:uFillTx/>
              <a:latin typeface="Bembo"/>
              <a:ea typeface="+mn-ea"/>
              <a:cs typeface="+mn-cs"/>
            </a:endParaRPr>
          </a:p>
        </p:txBody>
      </p:sp>
      <p:sp>
        <p:nvSpPr>
          <p:cNvPr id="3" name="Content Placeholder 2">
            <a:extLst>
              <a:ext uri="{FF2B5EF4-FFF2-40B4-BE49-F238E27FC236}">
                <a16:creationId xmlns:a16="http://schemas.microsoft.com/office/drawing/2014/main" id="{6D6FCC2C-03CF-494D-B7E3-F35D55A0559B}"/>
              </a:ext>
            </a:extLst>
          </p:cNvPr>
          <p:cNvSpPr>
            <a:spLocks noGrp="1"/>
          </p:cNvSpPr>
          <p:nvPr>
            <p:ph sz="quarter" idx="13" hasCustomPrompt="1"/>
          </p:nvPr>
        </p:nvSpPr>
        <p:spPr>
          <a:xfrm>
            <a:off x="1050925" y="1995488"/>
            <a:ext cx="9520238" cy="4051300"/>
          </a:xfrm>
        </p:spPr>
        <p:txBody>
          <a:bodyPr/>
          <a:lstStyle>
            <a:lvl1pPr>
              <a:defRPr/>
            </a:lvl1pPr>
          </a:lstStyle>
          <a:p>
            <a:pPr lvl="0"/>
            <a:r>
              <a:rPr lang="en-US" dirty="0"/>
              <a:t>Click to add content</a:t>
            </a:r>
          </a:p>
        </p:txBody>
      </p:sp>
      <p:sp>
        <p:nvSpPr>
          <p:cNvPr id="16" name="Date Placeholder 3">
            <a:extLst>
              <a:ext uri="{FF2B5EF4-FFF2-40B4-BE49-F238E27FC236}">
                <a16:creationId xmlns:a16="http://schemas.microsoft.com/office/drawing/2014/main" id="{541F9C1F-F806-4AEE-8DC8-32E0C226B747}"/>
              </a:ext>
            </a:extLst>
          </p:cNvPr>
          <p:cNvSpPr>
            <a:spLocks noGrp="1"/>
          </p:cNvSpPr>
          <p:nvPr>
            <p:ph type="dt" sz="half" idx="10"/>
          </p:nvPr>
        </p:nvSpPr>
        <p:spPr>
          <a:xfrm rot="5400000">
            <a:off x="10506456" y="5074920"/>
            <a:ext cx="264766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all" spc="300" normalizeH="0" baseline="0" noProof="0" dirty="0">
                <a:ln>
                  <a:noFill/>
                </a:ln>
                <a:solidFill>
                  <a:prstClr val="black">
                    <a:lumMod val="85000"/>
                    <a:lumOff val="15000"/>
                  </a:prstClr>
                </a:solidFill>
                <a:effectLst/>
                <a:uLnTx/>
                <a:uFillTx/>
                <a:latin typeface="Bembo"/>
                <a:ea typeface="+mn-ea"/>
                <a:cs typeface="+mn-cs"/>
              </a:rPr>
              <a:t>20XX</a:t>
            </a:r>
          </a:p>
        </p:txBody>
      </p:sp>
    </p:spTree>
    <p:extLst>
      <p:ext uri="{BB962C8B-B14F-4D97-AF65-F5344CB8AC3E}">
        <p14:creationId xmlns:p14="http://schemas.microsoft.com/office/powerpoint/2010/main" val="40955170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0FB9366C-3E3E-485E-97C4-5AE324727DB4}"/>
              </a:ext>
            </a:extLst>
          </p:cNvPr>
          <p:cNvSpPr>
            <a:spLocks noGrp="1"/>
          </p:cNvSpPr>
          <p:nvPr>
            <p:ph type="title"/>
          </p:nvPr>
        </p:nvSpPr>
        <p:spPr>
          <a:xfrm>
            <a:off x="1050879" y="609601"/>
            <a:ext cx="9505664" cy="1216024"/>
          </a:xfrm>
        </p:spPr>
        <p:txBody>
          <a:bodyPr/>
          <a:lstStyle/>
          <a:p>
            <a:r>
              <a:rPr lang="en-US"/>
              <a:t>Click to edit Master title style</a:t>
            </a:r>
            <a:endParaRPr lang="en-US" dirty="0"/>
          </a:p>
        </p:txBody>
      </p:sp>
      <p:sp>
        <p:nvSpPr>
          <p:cNvPr id="5" name="Content Placeholder 4">
            <a:extLst>
              <a:ext uri="{FF2B5EF4-FFF2-40B4-BE49-F238E27FC236}">
                <a16:creationId xmlns:a16="http://schemas.microsoft.com/office/drawing/2014/main" id="{1041B15B-1C95-4DB3-A374-0EA6128AD7CC}"/>
              </a:ext>
            </a:extLst>
          </p:cNvPr>
          <p:cNvSpPr>
            <a:spLocks noGrp="1"/>
          </p:cNvSpPr>
          <p:nvPr>
            <p:ph sz="quarter" idx="13" hasCustomPrompt="1"/>
          </p:nvPr>
        </p:nvSpPr>
        <p:spPr>
          <a:xfrm>
            <a:off x="1179513" y="2151063"/>
            <a:ext cx="8662987" cy="3563937"/>
          </a:xfrm>
        </p:spPr>
        <p:txBody>
          <a:bodyPr/>
          <a:lstStyle>
            <a:lvl1pPr>
              <a:defRPr/>
            </a:lvl1pPr>
          </a:lstStyle>
          <a:p>
            <a:pPr lvl="0"/>
            <a:r>
              <a:rPr lang="en-US" dirty="0"/>
              <a:t>Click to add content</a:t>
            </a:r>
          </a:p>
        </p:txBody>
      </p:sp>
      <p:sp>
        <p:nvSpPr>
          <p:cNvPr id="16" name="Footer Placeholder 4">
            <a:extLst>
              <a:ext uri="{FF2B5EF4-FFF2-40B4-BE49-F238E27FC236}">
                <a16:creationId xmlns:a16="http://schemas.microsoft.com/office/drawing/2014/main" id="{BF4243C0-3183-4D64-AB76-1BFF75CD2269}"/>
              </a:ext>
            </a:extLst>
          </p:cNvPr>
          <p:cNvSpPr>
            <a:spLocks noGrp="1"/>
          </p:cNvSpPr>
          <p:nvPr>
            <p:ph type="ftr" sz="quarter" idx="11"/>
          </p:nvPr>
        </p:nvSpPr>
        <p:spPr>
          <a:xfrm rot="5400000">
            <a:off x="10451592" y="1408176"/>
            <a:ext cx="2770499"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all" spc="300" normalizeH="0" baseline="0" noProof="0" dirty="0">
                <a:ln>
                  <a:noFill/>
                </a:ln>
                <a:solidFill>
                  <a:prstClr val="black">
                    <a:lumMod val="85000"/>
                    <a:lumOff val="15000"/>
                  </a:prstClr>
                </a:solidFill>
                <a:effectLst/>
                <a:uLnTx/>
                <a:uFillTx/>
                <a:latin typeface="Bembo"/>
                <a:ea typeface="+mn-ea"/>
                <a:cs typeface="+mn-cs"/>
              </a:rPr>
              <a:t>PRESENTATION TITLE</a:t>
            </a:r>
          </a:p>
        </p:txBody>
      </p:sp>
      <p:sp>
        <p:nvSpPr>
          <p:cNvPr id="17" name="Slide Number Placeholder 5">
            <a:extLst>
              <a:ext uri="{FF2B5EF4-FFF2-40B4-BE49-F238E27FC236}">
                <a16:creationId xmlns:a16="http://schemas.microsoft.com/office/drawing/2014/main" id="{F9E6693E-0940-4734-963E-221C7CA1A246}"/>
              </a:ext>
            </a:extLst>
          </p:cNvPr>
          <p:cNvSpPr>
            <a:spLocks noGrp="1"/>
          </p:cNvSpPr>
          <p:nvPr>
            <p:ph type="sldNum" sz="quarter" idx="12"/>
          </p:nvPr>
        </p:nvSpPr>
        <p:spPr>
          <a:xfrm>
            <a:off x="11558016" y="3136392"/>
            <a:ext cx="545911" cy="58002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4F66505-CBE9-4DDE-B6B8-8F5BDC18C943}" type="slidenum">
              <a:rPr kumimoji="0" lang="en-US" sz="1600" b="0" i="0" u="none" strike="noStrike" kern="1200" cap="none" spc="0" normalizeH="0" baseline="0" noProof="0" smtClean="0">
                <a:ln>
                  <a:noFill/>
                </a:ln>
                <a:solidFill>
                  <a:prstClr val="black">
                    <a:lumMod val="85000"/>
                    <a:lumOff val="15000"/>
                  </a:prstClr>
                </a:solidFill>
                <a:effectLst/>
                <a:uLnTx/>
                <a:uFillTx/>
                <a:latin typeface="Bembo"/>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prstClr val="black">
                  <a:lumMod val="85000"/>
                  <a:lumOff val="15000"/>
                </a:prstClr>
              </a:solidFill>
              <a:effectLst/>
              <a:uLnTx/>
              <a:uFillTx/>
              <a:latin typeface="Bembo"/>
              <a:ea typeface="+mn-ea"/>
              <a:cs typeface="+mn-cs"/>
            </a:endParaRPr>
          </a:p>
        </p:txBody>
      </p:sp>
      <p:sp>
        <p:nvSpPr>
          <p:cNvPr id="18" name="Date Placeholder 3">
            <a:extLst>
              <a:ext uri="{FF2B5EF4-FFF2-40B4-BE49-F238E27FC236}">
                <a16:creationId xmlns:a16="http://schemas.microsoft.com/office/drawing/2014/main" id="{E81E05B4-02F5-4BAF-8B6C-730F83EF9B0D}"/>
              </a:ext>
            </a:extLst>
          </p:cNvPr>
          <p:cNvSpPr>
            <a:spLocks noGrp="1"/>
          </p:cNvSpPr>
          <p:nvPr>
            <p:ph type="dt" sz="half" idx="10"/>
          </p:nvPr>
        </p:nvSpPr>
        <p:spPr>
          <a:xfrm rot="5400000">
            <a:off x="10506456" y="5074920"/>
            <a:ext cx="264766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all" spc="300" normalizeH="0" baseline="0" noProof="0" dirty="0">
                <a:ln>
                  <a:noFill/>
                </a:ln>
                <a:solidFill>
                  <a:prstClr val="black">
                    <a:lumMod val="85000"/>
                    <a:lumOff val="15000"/>
                  </a:prstClr>
                </a:solidFill>
                <a:effectLst/>
                <a:uLnTx/>
                <a:uFillTx/>
                <a:latin typeface="Bembo"/>
                <a:ea typeface="+mn-ea"/>
                <a:cs typeface="+mn-cs"/>
              </a:rPr>
              <a:t>20XX</a:t>
            </a:r>
          </a:p>
        </p:txBody>
      </p:sp>
    </p:spTree>
    <p:extLst>
      <p:ext uri="{BB962C8B-B14F-4D97-AF65-F5344CB8AC3E}">
        <p14:creationId xmlns:p14="http://schemas.microsoft.com/office/powerpoint/2010/main" val="11161259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useBgFill="1">
        <p:nvSpPr>
          <p:cNvPr id="10" name="Freeform: Shape 9">
            <a:extLst>
              <a:ext uri="{FF2B5EF4-FFF2-40B4-BE49-F238E27FC236}">
                <a16:creationId xmlns:a16="http://schemas.microsoft.com/office/drawing/2014/main" id="{DF030B83-B804-40A5-BE0B-EA9097BBBF02}"/>
              </a:ext>
              <a:ext uri="{C183D7F6-B498-43B3-948B-1728B52AA6E4}">
                <adec:decorative xmlns:adec="http://schemas.microsoft.com/office/drawing/2017/decorative" val="1"/>
              </a:ext>
            </a:extLst>
          </p:cNvPr>
          <p:cNvSpPr/>
          <p:nvPr userDrawn="1"/>
        </p:nvSpPr>
        <p:spPr>
          <a:xfrm>
            <a:off x="2" y="-1"/>
            <a:ext cx="7890120" cy="735601"/>
          </a:xfrm>
          <a:custGeom>
            <a:avLst/>
            <a:gdLst>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906706 w 10678681"/>
              <a:gd name="connsiteY64" fmla="*/ 1027961 h 1357700"/>
              <a:gd name="connsiteX65" fmla="*/ 6698313 w 10678681"/>
              <a:gd name="connsiteY65" fmla="*/ 1063249 h 1357700"/>
              <a:gd name="connsiteX66" fmla="*/ 6505317 w 10678681"/>
              <a:gd name="connsiteY66" fmla="*/ 1011686 h 1357700"/>
              <a:gd name="connsiteX67" fmla="*/ 6392549 w 10678681"/>
              <a:gd name="connsiteY67" fmla="*/ 1032948 h 1357700"/>
              <a:gd name="connsiteX68" fmla="*/ 6361470 w 10678681"/>
              <a:gd name="connsiteY68" fmla="*/ 1080572 h 1357700"/>
              <a:gd name="connsiteX69" fmla="*/ 6074811 w 10678681"/>
              <a:gd name="connsiteY69" fmla="*/ 1092701 h 1357700"/>
              <a:gd name="connsiteX70" fmla="*/ 6004655 w 10678681"/>
              <a:gd name="connsiteY70" fmla="*/ 1114946 h 1357700"/>
              <a:gd name="connsiteX71" fmla="*/ 5936643 w 10678681"/>
              <a:gd name="connsiteY71" fmla="*/ 1095428 h 1357700"/>
              <a:gd name="connsiteX72" fmla="*/ 5912484 w 10678681"/>
              <a:gd name="connsiteY72" fmla="*/ 1112624 h 1357700"/>
              <a:gd name="connsiteX73" fmla="*/ 5908387 w 10678681"/>
              <a:gd name="connsiteY73" fmla="*/ 1116018 h 1357700"/>
              <a:gd name="connsiteX74" fmla="*/ 5890495 w 10678681"/>
              <a:gd name="connsiteY74" fmla="*/ 1120268 h 1357700"/>
              <a:gd name="connsiteX75" fmla="*/ 5887318 w 10678681"/>
              <a:gd name="connsiteY75" fmla="*/ 1133134 h 1357700"/>
              <a:gd name="connsiteX76" fmla="*/ 5861726 w 10678681"/>
              <a:gd name="connsiteY76" fmla="*/ 1147891 h 1357700"/>
              <a:gd name="connsiteX77" fmla="*/ 5828273 w 10678681"/>
              <a:gd name="connsiteY77" fmla="*/ 1152456 h 1357700"/>
              <a:gd name="connsiteX78" fmla="*/ 5667391 w 10678681"/>
              <a:gd name="connsiteY78" fmla="*/ 1161093 h 1357700"/>
              <a:gd name="connsiteX79" fmla="*/ 5572219 w 10678681"/>
              <a:gd name="connsiteY79" fmla="*/ 1173708 h 1357700"/>
              <a:gd name="connsiteX80" fmla="*/ 5537768 w 10678681"/>
              <a:gd name="connsiteY80" fmla="*/ 1190202 h 1357700"/>
              <a:gd name="connsiteX81" fmla="*/ 5488513 w 10678681"/>
              <a:gd name="connsiteY81" fmla="*/ 1205367 h 1357700"/>
              <a:gd name="connsiteX82" fmla="*/ 5402905 w 10678681"/>
              <a:gd name="connsiteY82" fmla="*/ 1241191 h 1357700"/>
              <a:gd name="connsiteX83" fmla="*/ 5285593 w 10678681"/>
              <a:gd name="connsiteY83" fmla="*/ 1273569 h 1357700"/>
              <a:gd name="connsiteX84" fmla="*/ 5192893 w 10678681"/>
              <a:gd name="connsiteY84" fmla="*/ 1247188 h 1357700"/>
              <a:gd name="connsiteX85" fmla="*/ 5186475 w 10678681"/>
              <a:gd name="connsiteY85" fmla="*/ 1257028 h 1357700"/>
              <a:gd name="connsiteX86" fmla="*/ 5126038 w 10678681"/>
              <a:gd name="connsiteY86" fmla="*/ 1263189 h 1357700"/>
              <a:gd name="connsiteX87" fmla="*/ 4905913 w 10678681"/>
              <a:gd name="connsiteY87" fmla="*/ 1224477 h 1357700"/>
              <a:gd name="connsiteX88" fmla="*/ 4788036 w 10678681"/>
              <a:gd name="connsiteY88" fmla="*/ 1238182 h 1357700"/>
              <a:gd name="connsiteX89" fmla="*/ 4747555 w 10678681"/>
              <a:gd name="connsiteY89" fmla="*/ 1252768 h 1357700"/>
              <a:gd name="connsiteX90" fmla="*/ 4679644 w 10678681"/>
              <a:gd name="connsiteY90" fmla="*/ 1276603 h 1357700"/>
              <a:gd name="connsiteX91" fmla="*/ 4632222 w 10678681"/>
              <a:gd name="connsiteY91" fmla="*/ 1318360 h 1357700"/>
              <a:gd name="connsiteX92" fmla="*/ 4617358 w 10678681"/>
              <a:gd name="connsiteY92" fmla="*/ 1327690 h 1357700"/>
              <a:gd name="connsiteX93" fmla="*/ 4589102 w 10678681"/>
              <a:gd name="connsiteY93" fmla="*/ 1321223 h 1357700"/>
              <a:gd name="connsiteX94" fmla="*/ 4578184 w 10678681"/>
              <a:gd name="connsiteY94" fmla="*/ 1326745 h 1357700"/>
              <a:gd name="connsiteX95" fmla="*/ 4574270 w 10678681"/>
              <a:gd name="connsiteY95" fmla="*/ 1325878 h 1357700"/>
              <a:gd name="connsiteX96" fmla="*/ 4564919 w 10678681"/>
              <a:gd name="connsiteY96" fmla="*/ 1325507 h 1357700"/>
              <a:gd name="connsiteX97" fmla="*/ 4566586 w 10678681"/>
              <a:gd name="connsiteY97" fmla="*/ 1316963 h 1357700"/>
              <a:gd name="connsiteX98" fmla="*/ 4556303 w 10678681"/>
              <a:gd name="connsiteY98" fmla="*/ 1300262 h 1357700"/>
              <a:gd name="connsiteX99" fmla="*/ 4502358 w 10678681"/>
              <a:gd name="connsiteY99" fmla="*/ 1302558 h 1357700"/>
              <a:gd name="connsiteX100" fmla="*/ 4498919 w 10678681"/>
              <a:gd name="connsiteY100" fmla="*/ 1312115 h 1357700"/>
              <a:gd name="connsiteX101" fmla="*/ 4492075 w 10678681"/>
              <a:gd name="connsiteY101" fmla="*/ 1313357 h 1357700"/>
              <a:gd name="connsiteX102" fmla="*/ 4487466 w 10678681"/>
              <a:gd name="connsiteY102" fmla="*/ 1304102 h 1357700"/>
              <a:gd name="connsiteX103" fmla="*/ 4398292 w 10678681"/>
              <a:gd name="connsiteY103" fmla="*/ 1278410 h 1357700"/>
              <a:gd name="connsiteX104" fmla="*/ 4278026 w 10678681"/>
              <a:gd name="connsiteY104" fmla="*/ 1259803 h 1357700"/>
              <a:gd name="connsiteX105" fmla="*/ 4188995 w 10678681"/>
              <a:gd name="connsiteY105" fmla="*/ 1296718 h 1357700"/>
              <a:gd name="connsiteX106" fmla="*/ 4181483 w 10678681"/>
              <a:gd name="connsiteY106" fmla="*/ 1287686 h 1357700"/>
              <a:gd name="connsiteX107" fmla="*/ 4120739 w 10678681"/>
              <a:gd name="connsiteY107" fmla="*/ 1288549 h 1357700"/>
              <a:gd name="connsiteX108" fmla="*/ 3906561 w 10678681"/>
              <a:gd name="connsiteY108" fmla="*/ 1352435 h 1357700"/>
              <a:gd name="connsiteX109" fmla="*/ 3787890 w 10678681"/>
              <a:gd name="connsiteY109" fmla="*/ 1352442 h 1357700"/>
              <a:gd name="connsiteX110" fmla="*/ 3745993 w 10678681"/>
              <a:gd name="connsiteY110" fmla="*/ 1342630 h 1357700"/>
              <a:gd name="connsiteX111" fmla="*/ 3675785 w 10678681"/>
              <a:gd name="connsiteY111" fmla="*/ 1326802 h 1357700"/>
              <a:gd name="connsiteX112" fmla="*/ 3623856 w 10678681"/>
              <a:gd name="connsiteY112" fmla="*/ 1290804 h 1357700"/>
              <a:gd name="connsiteX113" fmla="*/ 3564933 w 10678681"/>
              <a:gd name="connsiteY113" fmla="*/ 1287147 h 1357700"/>
              <a:gd name="connsiteX114" fmla="*/ 3550537 w 10678681"/>
              <a:gd name="connsiteY114" fmla="*/ 1317552 h 1357700"/>
              <a:gd name="connsiteX115" fmla="*/ 3487736 w 10678681"/>
              <a:gd name="connsiteY115" fmla="*/ 1303493 h 1357700"/>
              <a:gd name="connsiteX116" fmla="*/ 3392548 w 10678681"/>
              <a:gd name="connsiteY116" fmla="*/ 1278741 h 1357700"/>
              <a:gd name="connsiteX117" fmla="*/ 3337466 w 10678681"/>
              <a:gd name="connsiteY117" fmla="*/ 1272537 h 1357700"/>
              <a:gd name="connsiteX118" fmla="*/ 3187206 w 10678681"/>
              <a:gd name="connsiteY118" fmla="*/ 1246821 h 1357700"/>
              <a:gd name="connsiteX119" fmla="*/ 3036856 w 10678681"/>
              <a:gd name="connsiteY119" fmla="*/ 1214383 h 1357700"/>
              <a:gd name="connsiteX120" fmla="*/ 2948654 w 10678681"/>
              <a:gd name="connsiteY120" fmla="*/ 1157455 h 1357700"/>
              <a:gd name="connsiteX121" fmla="*/ 2824973 w 10678681"/>
              <a:gd name="connsiteY121" fmla="*/ 1134864 h 1357700"/>
              <a:gd name="connsiteX122" fmla="*/ 2804398 w 10678681"/>
              <a:gd name="connsiteY122" fmla="*/ 1125556 h 1357700"/>
              <a:gd name="connsiteX123" fmla="*/ 2775396 w 10678681"/>
              <a:gd name="connsiteY123" fmla="*/ 1130148 h 1357700"/>
              <a:gd name="connsiteX124" fmla="*/ 2659096 w 10678681"/>
              <a:gd name="connsiteY124" fmla="*/ 1150294 h 1357700"/>
              <a:gd name="connsiteX125" fmla="*/ 2567088 w 10678681"/>
              <a:gd name="connsiteY125" fmla="*/ 1181781 h 1357700"/>
              <a:gd name="connsiteX126" fmla="*/ 2454501 w 10678681"/>
              <a:gd name="connsiteY126" fmla="*/ 1155455 h 1357700"/>
              <a:gd name="connsiteX127" fmla="*/ 2385161 w 10678681"/>
              <a:gd name="connsiteY127" fmla="*/ 1161312 h 1357700"/>
              <a:gd name="connsiteX128" fmla="*/ 2270528 w 10678681"/>
              <a:gd name="connsiteY128" fmla="*/ 1204338 h 1357700"/>
              <a:gd name="connsiteX129" fmla="*/ 2121820 w 10678681"/>
              <a:gd name="connsiteY129" fmla="*/ 1187078 h 1357700"/>
              <a:gd name="connsiteX130" fmla="*/ 2092716 w 10678681"/>
              <a:gd name="connsiteY130" fmla="*/ 1139224 h 1357700"/>
              <a:gd name="connsiteX131" fmla="*/ 2052449 w 10678681"/>
              <a:gd name="connsiteY131" fmla="*/ 1109687 h 1357700"/>
              <a:gd name="connsiteX132" fmla="*/ 2032607 w 10678681"/>
              <a:gd name="connsiteY132" fmla="*/ 1175477 h 1357700"/>
              <a:gd name="connsiteX133" fmla="*/ 1901837 w 10678681"/>
              <a:gd name="connsiteY133" fmla="*/ 1221762 h 1357700"/>
              <a:gd name="connsiteX134" fmla="*/ 1836762 w 10678681"/>
              <a:gd name="connsiteY134" fmla="*/ 1237387 h 1357700"/>
              <a:gd name="connsiteX135" fmla="*/ 1735877 w 10678681"/>
              <a:gd name="connsiteY135" fmla="*/ 1246527 h 1357700"/>
              <a:gd name="connsiteX136" fmla="*/ 1705069 w 10678681"/>
              <a:gd name="connsiteY136" fmla="*/ 1251989 h 1357700"/>
              <a:gd name="connsiteX137" fmla="*/ 1397689 w 10678681"/>
              <a:gd name="connsiteY137" fmla="*/ 1336144 h 1357700"/>
              <a:gd name="connsiteX138" fmla="*/ 1220734 w 10678681"/>
              <a:gd name="connsiteY138" fmla="*/ 1257811 h 1357700"/>
              <a:gd name="connsiteX139" fmla="*/ 1021737 w 10678681"/>
              <a:gd name="connsiteY139" fmla="*/ 1238739 h 1357700"/>
              <a:gd name="connsiteX140" fmla="*/ 959820 w 10678681"/>
              <a:gd name="connsiteY140" fmla="*/ 1275863 h 1357700"/>
              <a:gd name="connsiteX141" fmla="*/ 929137 w 10678681"/>
              <a:gd name="connsiteY141" fmla="*/ 1273957 h 1357700"/>
              <a:gd name="connsiteX142" fmla="*/ 878849 w 10678681"/>
              <a:gd name="connsiteY142" fmla="*/ 1266740 h 1357700"/>
              <a:gd name="connsiteX143" fmla="*/ 800667 w 10678681"/>
              <a:gd name="connsiteY143" fmla="*/ 1282041 h 1357700"/>
              <a:gd name="connsiteX144" fmla="*/ 644906 w 10678681"/>
              <a:gd name="connsiteY144" fmla="*/ 1273685 h 1357700"/>
              <a:gd name="connsiteX145" fmla="*/ 379869 w 10678681"/>
              <a:gd name="connsiteY145" fmla="*/ 1339165 h 1357700"/>
              <a:gd name="connsiteX146" fmla="*/ 137696 w 10678681"/>
              <a:gd name="connsiteY146" fmla="*/ 1319217 h 1357700"/>
              <a:gd name="connsiteX147" fmla="*/ 54250 w 10678681"/>
              <a:gd name="connsiteY147" fmla="*/ 1315838 h 1357700"/>
              <a:gd name="connsiteX148" fmla="*/ 28042 w 10678681"/>
              <a:gd name="connsiteY148" fmla="*/ 1297822 h 1357700"/>
              <a:gd name="connsiteX149" fmla="*/ 0 w 10678681"/>
              <a:gd name="connsiteY149" fmla="*/ 1294612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906706 w 10678681"/>
              <a:gd name="connsiteY64" fmla="*/ 1027961 h 1357700"/>
              <a:gd name="connsiteX65" fmla="*/ 6698313 w 10678681"/>
              <a:gd name="connsiteY65" fmla="*/ 1063249 h 1357700"/>
              <a:gd name="connsiteX66" fmla="*/ 6505317 w 10678681"/>
              <a:gd name="connsiteY66" fmla="*/ 1011686 h 1357700"/>
              <a:gd name="connsiteX67" fmla="*/ 6392549 w 10678681"/>
              <a:gd name="connsiteY67" fmla="*/ 1032948 h 1357700"/>
              <a:gd name="connsiteX68" fmla="*/ 6361470 w 10678681"/>
              <a:gd name="connsiteY68" fmla="*/ 1080572 h 1357700"/>
              <a:gd name="connsiteX69" fmla="*/ 6074811 w 10678681"/>
              <a:gd name="connsiteY69" fmla="*/ 1092701 h 1357700"/>
              <a:gd name="connsiteX70" fmla="*/ 6004655 w 10678681"/>
              <a:gd name="connsiteY70" fmla="*/ 1114946 h 1357700"/>
              <a:gd name="connsiteX71" fmla="*/ 5936643 w 10678681"/>
              <a:gd name="connsiteY71" fmla="*/ 1095428 h 1357700"/>
              <a:gd name="connsiteX72" fmla="*/ 5912484 w 10678681"/>
              <a:gd name="connsiteY72" fmla="*/ 1112624 h 1357700"/>
              <a:gd name="connsiteX73" fmla="*/ 5908387 w 10678681"/>
              <a:gd name="connsiteY73" fmla="*/ 1116018 h 1357700"/>
              <a:gd name="connsiteX74" fmla="*/ 5890495 w 10678681"/>
              <a:gd name="connsiteY74" fmla="*/ 1120268 h 1357700"/>
              <a:gd name="connsiteX75" fmla="*/ 5887318 w 10678681"/>
              <a:gd name="connsiteY75" fmla="*/ 1133134 h 1357700"/>
              <a:gd name="connsiteX76" fmla="*/ 5861726 w 10678681"/>
              <a:gd name="connsiteY76" fmla="*/ 1147891 h 1357700"/>
              <a:gd name="connsiteX77" fmla="*/ 5828273 w 10678681"/>
              <a:gd name="connsiteY77" fmla="*/ 1152456 h 1357700"/>
              <a:gd name="connsiteX78" fmla="*/ 5667391 w 10678681"/>
              <a:gd name="connsiteY78" fmla="*/ 1161093 h 1357700"/>
              <a:gd name="connsiteX79" fmla="*/ 5572219 w 10678681"/>
              <a:gd name="connsiteY79" fmla="*/ 1173708 h 1357700"/>
              <a:gd name="connsiteX80" fmla="*/ 5537768 w 10678681"/>
              <a:gd name="connsiteY80" fmla="*/ 1190202 h 1357700"/>
              <a:gd name="connsiteX81" fmla="*/ 5488513 w 10678681"/>
              <a:gd name="connsiteY81" fmla="*/ 1205367 h 1357700"/>
              <a:gd name="connsiteX82" fmla="*/ 5402905 w 10678681"/>
              <a:gd name="connsiteY82" fmla="*/ 1241191 h 1357700"/>
              <a:gd name="connsiteX83" fmla="*/ 5285593 w 10678681"/>
              <a:gd name="connsiteY83" fmla="*/ 1273569 h 1357700"/>
              <a:gd name="connsiteX84" fmla="*/ 5192893 w 10678681"/>
              <a:gd name="connsiteY84" fmla="*/ 1247188 h 1357700"/>
              <a:gd name="connsiteX85" fmla="*/ 5186475 w 10678681"/>
              <a:gd name="connsiteY85" fmla="*/ 1257028 h 1357700"/>
              <a:gd name="connsiteX86" fmla="*/ 5126038 w 10678681"/>
              <a:gd name="connsiteY86" fmla="*/ 1263189 h 1357700"/>
              <a:gd name="connsiteX87" fmla="*/ 4905913 w 10678681"/>
              <a:gd name="connsiteY87" fmla="*/ 1224477 h 1357700"/>
              <a:gd name="connsiteX88" fmla="*/ 4788036 w 10678681"/>
              <a:gd name="connsiteY88" fmla="*/ 1238182 h 1357700"/>
              <a:gd name="connsiteX89" fmla="*/ 4747555 w 10678681"/>
              <a:gd name="connsiteY89" fmla="*/ 1252768 h 1357700"/>
              <a:gd name="connsiteX90" fmla="*/ 4679644 w 10678681"/>
              <a:gd name="connsiteY90" fmla="*/ 1276603 h 1357700"/>
              <a:gd name="connsiteX91" fmla="*/ 4632222 w 10678681"/>
              <a:gd name="connsiteY91" fmla="*/ 1318360 h 1357700"/>
              <a:gd name="connsiteX92" fmla="*/ 4617358 w 10678681"/>
              <a:gd name="connsiteY92" fmla="*/ 1327690 h 1357700"/>
              <a:gd name="connsiteX93" fmla="*/ 4589102 w 10678681"/>
              <a:gd name="connsiteY93" fmla="*/ 1321223 h 1357700"/>
              <a:gd name="connsiteX94" fmla="*/ 4578184 w 10678681"/>
              <a:gd name="connsiteY94" fmla="*/ 1326745 h 1357700"/>
              <a:gd name="connsiteX95" fmla="*/ 4574270 w 10678681"/>
              <a:gd name="connsiteY95" fmla="*/ 1325878 h 1357700"/>
              <a:gd name="connsiteX96" fmla="*/ 4564919 w 10678681"/>
              <a:gd name="connsiteY96" fmla="*/ 1325507 h 1357700"/>
              <a:gd name="connsiteX97" fmla="*/ 4566586 w 10678681"/>
              <a:gd name="connsiteY97" fmla="*/ 1316963 h 1357700"/>
              <a:gd name="connsiteX98" fmla="*/ 4556303 w 10678681"/>
              <a:gd name="connsiteY98" fmla="*/ 1300262 h 1357700"/>
              <a:gd name="connsiteX99" fmla="*/ 4502358 w 10678681"/>
              <a:gd name="connsiteY99" fmla="*/ 1302558 h 1357700"/>
              <a:gd name="connsiteX100" fmla="*/ 4498919 w 10678681"/>
              <a:gd name="connsiteY100" fmla="*/ 1312115 h 1357700"/>
              <a:gd name="connsiteX101" fmla="*/ 4492075 w 10678681"/>
              <a:gd name="connsiteY101" fmla="*/ 1313357 h 1357700"/>
              <a:gd name="connsiteX102" fmla="*/ 4487466 w 10678681"/>
              <a:gd name="connsiteY102" fmla="*/ 1304102 h 1357700"/>
              <a:gd name="connsiteX103" fmla="*/ 4398292 w 10678681"/>
              <a:gd name="connsiteY103" fmla="*/ 1278410 h 1357700"/>
              <a:gd name="connsiteX104" fmla="*/ 4278026 w 10678681"/>
              <a:gd name="connsiteY104" fmla="*/ 1259803 h 1357700"/>
              <a:gd name="connsiteX105" fmla="*/ 4188995 w 10678681"/>
              <a:gd name="connsiteY105" fmla="*/ 1296718 h 1357700"/>
              <a:gd name="connsiteX106" fmla="*/ 4181483 w 10678681"/>
              <a:gd name="connsiteY106" fmla="*/ 1287686 h 1357700"/>
              <a:gd name="connsiteX107" fmla="*/ 4120739 w 10678681"/>
              <a:gd name="connsiteY107" fmla="*/ 1288549 h 1357700"/>
              <a:gd name="connsiteX108" fmla="*/ 3906561 w 10678681"/>
              <a:gd name="connsiteY108" fmla="*/ 1352435 h 1357700"/>
              <a:gd name="connsiteX109" fmla="*/ 3787890 w 10678681"/>
              <a:gd name="connsiteY109" fmla="*/ 1352442 h 1357700"/>
              <a:gd name="connsiteX110" fmla="*/ 3745993 w 10678681"/>
              <a:gd name="connsiteY110" fmla="*/ 1342630 h 1357700"/>
              <a:gd name="connsiteX111" fmla="*/ 3675785 w 10678681"/>
              <a:gd name="connsiteY111" fmla="*/ 1326802 h 1357700"/>
              <a:gd name="connsiteX112" fmla="*/ 3623856 w 10678681"/>
              <a:gd name="connsiteY112" fmla="*/ 1290804 h 1357700"/>
              <a:gd name="connsiteX113" fmla="*/ 3564933 w 10678681"/>
              <a:gd name="connsiteY113" fmla="*/ 1287147 h 1357700"/>
              <a:gd name="connsiteX114" fmla="*/ 3550537 w 10678681"/>
              <a:gd name="connsiteY114" fmla="*/ 1317552 h 1357700"/>
              <a:gd name="connsiteX115" fmla="*/ 3487736 w 10678681"/>
              <a:gd name="connsiteY115" fmla="*/ 1303493 h 1357700"/>
              <a:gd name="connsiteX116" fmla="*/ 3392548 w 10678681"/>
              <a:gd name="connsiteY116" fmla="*/ 1278741 h 1357700"/>
              <a:gd name="connsiteX117" fmla="*/ 3337466 w 10678681"/>
              <a:gd name="connsiteY117" fmla="*/ 1272537 h 1357700"/>
              <a:gd name="connsiteX118" fmla="*/ 3187206 w 10678681"/>
              <a:gd name="connsiteY118" fmla="*/ 1246821 h 1357700"/>
              <a:gd name="connsiteX119" fmla="*/ 3036856 w 10678681"/>
              <a:gd name="connsiteY119" fmla="*/ 1214383 h 1357700"/>
              <a:gd name="connsiteX120" fmla="*/ 2948654 w 10678681"/>
              <a:gd name="connsiteY120" fmla="*/ 1157455 h 1357700"/>
              <a:gd name="connsiteX121" fmla="*/ 2824973 w 10678681"/>
              <a:gd name="connsiteY121" fmla="*/ 1134864 h 1357700"/>
              <a:gd name="connsiteX122" fmla="*/ 2804398 w 10678681"/>
              <a:gd name="connsiteY122" fmla="*/ 1125556 h 1357700"/>
              <a:gd name="connsiteX123" fmla="*/ 2775396 w 10678681"/>
              <a:gd name="connsiteY123" fmla="*/ 1130148 h 1357700"/>
              <a:gd name="connsiteX124" fmla="*/ 2659096 w 10678681"/>
              <a:gd name="connsiteY124" fmla="*/ 1150294 h 1357700"/>
              <a:gd name="connsiteX125" fmla="*/ 2567088 w 10678681"/>
              <a:gd name="connsiteY125" fmla="*/ 1181781 h 1357700"/>
              <a:gd name="connsiteX126" fmla="*/ 2454501 w 10678681"/>
              <a:gd name="connsiteY126" fmla="*/ 1155455 h 1357700"/>
              <a:gd name="connsiteX127" fmla="*/ 2385161 w 10678681"/>
              <a:gd name="connsiteY127" fmla="*/ 1161312 h 1357700"/>
              <a:gd name="connsiteX128" fmla="*/ 2270528 w 10678681"/>
              <a:gd name="connsiteY128" fmla="*/ 1204338 h 1357700"/>
              <a:gd name="connsiteX129" fmla="*/ 2121820 w 10678681"/>
              <a:gd name="connsiteY129" fmla="*/ 1187078 h 1357700"/>
              <a:gd name="connsiteX130" fmla="*/ 2092716 w 10678681"/>
              <a:gd name="connsiteY130" fmla="*/ 1139224 h 1357700"/>
              <a:gd name="connsiteX131" fmla="*/ 2052449 w 10678681"/>
              <a:gd name="connsiteY131" fmla="*/ 1109687 h 1357700"/>
              <a:gd name="connsiteX132" fmla="*/ 2032607 w 10678681"/>
              <a:gd name="connsiteY132" fmla="*/ 1175477 h 1357700"/>
              <a:gd name="connsiteX133" fmla="*/ 1901837 w 10678681"/>
              <a:gd name="connsiteY133" fmla="*/ 1221762 h 1357700"/>
              <a:gd name="connsiteX134" fmla="*/ 1836762 w 10678681"/>
              <a:gd name="connsiteY134" fmla="*/ 1237387 h 1357700"/>
              <a:gd name="connsiteX135" fmla="*/ 1735877 w 10678681"/>
              <a:gd name="connsiteY135" fmla="*/ 1246527 h 1357700"/>
              <a:gd name="connsiteX136" fmla="*/ 1705069 w 10678681"/>
              <a:gd name="connsiteY136" fmla="*/ 1251989 h 1357700"/>
              <a:gd name="connsiteX137" fmla="*/ 1397689 w 10678681"/>
              <a:gd name="connsiteY137" fmla="*/ 1336144 h 1357700"/>
              <a:gd name="connsiteX138" fmla="*/ 1220734 w 10678681"/>
              <a:gd name="connsiteY138" fmla="*/ 1257811 h 1357700"/>
              <a:gd name="connsiteX139" fmla="*/ 1021737 w 10678681"/>
              <a:gd name="connsiteY139" fmla="*/ 1238739 h 1357700"/>
              <a:gd name="connsiteX140" fmla="*/ 959820 w 10678681"/>
              <a:gd name="connsiteY140" fmla="*/ 1275863 h 1357700"/>
              <a:gd name="connsiteX141" fmla="*/ 929137 w 10678681"/>
              <a:gd name="connsiteY141" fmla="*/ 1273957 h 1357700"/>
              <a:gd name="connsiteX142" fmla="*/ 878849 w 10678681"/>
              <a:gd name="connsiteY142" fmla="*/ 1266740 h 1357700"/>
              <a:gd name="connsiteX143" fmla="*/ 800667 w 10678681"/>
              <a:gd name="connsiteY143" fmla="*/ 1282041 h 1357700"/>
              <a:gd name="connsiteX144" fmla="*/ 644906 w 10678681"/>
              <a:gd name="connsiteY144" fmla="*/ 1273685 h 1357700"/>
              <a:gd name="connsiteX145" fmla="*/ 379869 w 10678681"/>
              <a:gd name="connsiteY145" fmla="*/ 1339165 h 1357700"/>
              <a:gd name="connsiteX146" fmla="*/ 137696 w 10678681"/>
              <a:gd name="connsiteY146" fmla="*/ 1319217 h 1357700"/>
              <a:gd name="connsiteX147" fmla="*/ 54250 w 10678681"/>
              <a:gd name="connsiteY147" fmla="*/ 1315838 h 1357700"/>
              <a:gd name="connsiteX148" fmla="*/ 28042 w 10678681"/>
              <a:gd name="connsiteY148" fmla="*/ 1297822 h 1357700"/>
              <a:gd name="connsiteX149" fmla="*/ 0 w 10678681"/>
              <a:gd name="connsiteY149" fmla="*/ 1294612 h 1357700"/>
              <a:gd name="connsiteX150" fmla="*/ 0 w 10678681"/>
              <a:gd name="connsiteY150"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98313 w 10678681"/>
              <a:gd name="connsiteY65" fmla="*/ 1063249 h 1357700"/>
              <a:gd name="connsiteX66" fmla="*/ 6505317 w 10678681"/>
              <a:gd name="connsiteY66" fmla="*/ 1011686 h 1357700"/>
              <a:gd name="connsiteX67" fmla="*/ 6392549 w 10678681"/>
              <a:gd name="connsiteY67" fmla="*/ 1032948 h 1357700"/>
              <a:gd name="connsiteX68" fmla="*/ 6361470 w 10678681"/>
              <a:gd name="connsiteY68" fmla="*/ 1080572 h 1357700"/>
              <a:gd name="connsiteX69" fmla="*/ 6074811 w 10678681"/>
              <a:gd name="connsiteY69" fmla="*/ 1092701 h 1357700"/>
              <a:gd name="connsiteX70" fmla="*/ 6004655 w 10678681"/>
              <a:gd name="connsiteY70" fmla="*/ 1114946 h 1357700"/>
              <a:gd name="connsiteX71" fmla="*/ 5936643 w 10678681"/>
              <a:gd name="connsiteY71" fmla="*/ 1095428 h 1357700"/>
              <a:gd name="connsiteX72" fmla="*/ 5912484 w 10678681"/>
              <a:gd name="connsiteY72" fmla="*/ 1112624 h 1357700"/>
              <a:gd name="connsiteX73" fmla="*/ 5908387 w 10678681"/>
              <a:gd name="connsiteY73" fmla="*/ 1116018 h 1357700"/>
              <a:gd name="connsiteX74" fmla="*/ 5890495 w 10678681"/>
              <a:gd name="connsiteY74" fmla="*/ 1120268 h 1357700"/>
              <a:gd name="connsiteX75" fmla="*/ 5887318 w 10678681"/>
              <a:gd name="connsiteY75" fmla="*/ 1133134 h 1357700"/>
              <a:gd name="connsiteX76" fmla="*/ 5861726 w 10678681"/>
              <a:gd name="connsiteY76" fmla="*/ 1147891 h 1357700"/>
              <a:gd name="connsiteX77" fmla="*/ 5828273 w 10678681"/>
              <a:gd name="connsiteY77" fmla="*/ 1152456 h 1357700"/>
              <a:gd name="connsiteX78" fmla="*/ 5667391 w 10678681"/>
              <a:gd name="connsiteY78" fmla="*/ 1161093 h 1357700"/>
              <a:gd name="connsiteX79" fmla="*/ 5572219 w 10678681"/>
              <a:gd name="connsiteY79" fmla="*/ 1173708 h 1357700"/>
              <a:gd name="connsiteX80" fmla="*/ 5537768 w 10678681"/>
              <a:gd name="connsiteY80" fmla="*/ 1190202 h 1357700"/>
              <a:gd name="connsiteX81" fmla="*/ 5488513 w 10678681"/>
              <a:gd name="connsiteY81" fmla="*/ 1205367 h 1357700"/>
              <a:gd name="connsiteX82" fmla="*/ 5402905 w 10678681"/>
              <a:gd name="connsiteY82" fmla="*/ 1241191 h 1357700"/>
              <a:gd name="connsiteX83" fmla="*/ 5285593 w 10678681"/>
              <a:gd name="connsiteY83" fmla="*/ 1273569 h 1357700"/>
              <a:gd name="connsiteX84" fmla="*/ 5192893 w 10678681"/>
              <a:gd name="connsiteY84" fmla="*/ 1247188 h 1357700"/>
              <a:gd name="connsiteX85" fmla="*/ 5186475 w 10678681"/>
              <a:gd name="connsiteY85" fmla="*/ 1257028 h 1357700"/>
              <a:gd name="connsiteX86" fmla="*/ 5126038 w 10678681"/>
              <a:gd name="connsiteY86" fmla="*/ 1263189 h 1357700"/>
              <a:gd name="connsiteX87" fmla="*/ 4905913 w 10678681"/>
              <a:gd name="connsiteY87" fmla="*/ 1224477 h 1357700"/>
              <a:gd name="connsiteX88" fmla="*/ 4788036 w 10678681"/>
              <a:gd name="connsiteY88" fmla="*/ 1238182 h 1357700"/>
              <a:gd name="connsiteX89" fmla="*/ 4747555 w 10678681"/>
              <a:gd name="connsiteY89" fmla="*/ 1252768 h 1357700"/>
              <a:gd name="connsiteX90" fmla="*/ 4679644 w 10678681"/>
              <a:gd name="connsiteY90" fmla="*/ 1276603 h 1357700"/>
              <a:gd name="connsiteX91" fmla="*/ 4632222 w 10678681"/>
              <a:gd name="connsiteY91" fmla="*/ 1318360 h 1357700"/>
              <a:gd name="connsiteX92" fmla="*/ 4617358 w 10678681"/>
              <a:gd name="connsiteY92" fmla="*/ 1327690 h 1357700"/>
              <a:gd name="connsiteX93" fmla="*/ 4589102 w 10678681"/>
              <a:gd name="connsiteY93" fmla="*/ 1321223 h 1357700"/>
              <a:gd name="connsiteX94" fmla="*/ 4578184 w 10678681"/>
              <a:gd name="connsiteY94" fmla="*/ 1326745 h 1357700"/>
              <a:gd name="connsiteX95" fmla="*/ 4574270 w 10678681"/>
              <a:gd name="connsiteY95" fmla="*/ 1325878 h 1357700"/>
              <a:gd name="connsiteX96" fmla="*/ 4564919 w 10678681"/>
              <a:gd name="connsiteY96" fmla="*/ 1325507 h 1357700"/>
              <a:gd name="connsiteX97" fmla="*/ 4566586 w 10678681"/>
              <a:gd name="connsiteY97" fmla="*/ 1316963 h 1357700"/>
              <a:gd name="connsiteX98" fmla="*/ 4556303 w 10678681"/>
              <a:gd name="connsiteY98" fmla="*/ 1300262 h 1357700"/>
              <a:gd name="connsiteX99" fmla="*/ 4502358 w 10678681"/>
              <a:gd name="connsiteY99" fmla="*/ 1302558 h 1357700"/>
              <a:gd name="connsiteX100" fmla="*/ 4498919 w 10678681"/>
              <a:gd name="connsiteY100" fmla="*/ 1312115 h 1357700"/>
              <a:gd name="connsiteX101" fmla="*/ 4492075 w 10678681"/>
              <a:gd name="connsiteY101" fmla="*/ 1313357 h 1357700"/>
              <a:gd name="connsiteX102" fmla="*/ 4487466 w 10678681"/>
              <a:gd name="connsiteY102" fmla="*/ 1304102 h 1357700"/>
              <a:gd name="connsiteX103" fmla="*/ 4398292 w 10678681"/>
              <a:gd name="connsiteY103" fmla="*/ 1278410 h 1357700"/>
              <a:gd name="connsiteX104" fmla="*/ 4278026 w 10678681"/>
              <a:gd name="connsiteY104" fmla="*/ 1259803 h 1357700"/>
              <a:gd name="connsiteX105" fmla="*/ 4188995 w 10678681"/>
              <a:gd name="connsiteY105" fmla="*/ 1296718 h 1357700"/>
              <a:gd name="connsiteX106" fmla="*/ 4181483 w 10678681"/>
              <a:gd name="connsiteY106" fmla="*/ 1287686 h 1357700"/>
              <a:gd name="connsiteX107" fmla="*/ 4120739 w 10678681"/>
              <a:gd name="connsiteY107" fmla="*/ 1288549 h 1357700"/>
              <a:gd name="connsiteX108" fmla="*/ 3906561 w 10678681"/>
              <a:gd name="connsiteY108" fmla="*/ 1352435 h 1357700"/>
              <a:gd name="connsiteX109" fmla="*/ 3787890 w 10678681"/>
              <a:gd name="connsiteY109" fmla="*/ 1352442 h 1357700"/>
              <a:gd name="connsiteX110" fmla="*/ 3745993 w 10678681"/>
              <a:gd name="connsiteY110" fmla="*/ 1342630 h 1357700"/>
              <a:gd name="connsiteX111" fmla="*/ 3675785 w 10678681"/>
              <a:gd name="connsiteY111" fmla="*/ 1326802 h 1357700"/>
              <a:gd name="connsiteX112" fmla="*/ 3623856 w 10678681"/>
              <a:gd name="connsiteY112" fmla="*/ 1290804 h 1357700"/>
              <a:gd name="connsiteX113" fmla="*/ 3564933 w 10678681"/>
              <a:gd name="connsiteY113" fmla="*/ 1287147 h 1357700"/>
              <a:gd name="connsiteX114" fmla="*/ 3550537 w 10678681"/>
              <a:gd name="connsiteY114" fmla="*/ 1317552 h 1357700"/>
              <a:gd name="connsiteX115" fmla="*/ 3487736 w 10678681"/>
              <a:gd name="connsiteY115" fmla="*/ 1303493 h 1357700"/>
              <a:gd name="connsiteX116" fmla="*/ 3392548 w 10678681"/>
              <a:gd name="connsiteY116" fmla="*/ 1278741 h 1357700"/>
              <a:gd name="connsiteX117" fmla="*/ 3337466 w 10678681"/>
              <a:gd name="connsiteY117" fmla="*/ 1272537 h 1357700"/>
              <a:gd name="connsiteX118" fmla="*/ 3187206 w 10678681"/>
              <a:gd name="connsiteY118" fmla="*/ 1246821 h 1357700"/>
              <a:gd name="connsiteX119" fmla="*/ 3036856 w 10678681"/>
              <a:gd name="connsiteY119" fmla="*/ 1214383 h 1357700"/>
              <a:gd name="connsiteX120" fmla="*/ 2948654 w 10678681"/>
              <a:gd name="connsiteY120" fmla="*/ 1157455 h 1357700"/>
              <a:gd name="connsiteX121" fmla="*/ 2824973 w 10678681"/>
              <a:gd name="connsiteY121" fmla="*/ 1134864 h 1357700"/>
              <a:gd name="connsiteX122" fmla="*/ 2804398 w 10678681"/>
              <a:gd name="connsiteY122" fmla="*/ 1125556 h 1357700"/>
              <a:gd name="connsiteX123" fmla="*/ 2775396 w 10678681"/>
              <a:gd name="connsiteY123" fmla="*/ 1130148 h 1357700"/>
              <a:gd name="connsiteX124" fmla="*/ 2659096 w 10678681"/>
              <a:gd name="connsiteY124" fmla="*/ 1150294 h 1357700"/>
              <a:gd name="connsiteX125" fmla="*/ 2567088 w 10678681"/>
              <a:gd name="connsiteY125" fmla="*/ 1181781 h 1357700"/>
              <a:gd name="connsiteX126" fmla="*/ 2454501 w 10678681"/>
              <a:gd name="connsiteY126" fmla="*/ 1155455 h 1357700"/>
              <a:gd name="connsiteX127" fmla="*/ 2385161 w 10678681"/>
              <a:gd name="connsiteY127" fmla="*/ 1161312 h 1357700"/>
              <a:gd name="connsiteX128" fmla="*/ 2270528 w 10678681"/>
              <a:gd name="connsiteY128" fmla="*/ 1204338 h 1357700"/>
              <a:gd name="connsiteX129" fmla="*/ 2121820 w 10678681"/>
              <a:gd name="connsiteY129" fmla="*/ 1187078 h 1357700"/>
              <a:gd name="connsiteX130" fmla="*/ 2092716 w 10678681"/>
              <a:gd name="connsiteY130" fmla="*/ 1139224 h 1357700"/>
              <a:gd name="connsiteX131" fmla="*/ 2052449 w 10678681"/>
              <a:gd name="connsiteY131" fmla="*/ 1109687 h 1357700"/>
              <a:gd name="connsiteX132" fmla="*/ 2032607 w 10678681"/>
              <a:gd name="connsiteY132" fmla="*/ 1175477 h 1357700"/>
              <a:gd name="connsiteX133" fmla="*/ 1901837 w 10678681"/>
              <a:gd name="connsiteY133" fmla="*/ 1221762 h 1357700"/>
              <a:gd name="connsiteX134" fmla="*/ 1836762 w 10678681"/>
              <a:gd name="connsiteY134" fmla="*/ 1237387 h 1357700"/>
              <a:gd name="connsiteX135" fmla="*/ 1735877 w 10678681"/>
              <a:gd name="connsiteY135" fmla="*/ 1246527 h 1357700"/>
              <a:gd name="connsiteX136" fmla="*/ 1705069 w 10678681"/>
              <a:gd name="connsiteY136" fmla="*/ 1251989 h 1357700"/>
              <a:gd name="connsiteX137" fmla="*/ 1397689 w 10678681"/>
              <a:gd name="connsiteY137" fmla="*/ 1336144 h 1357700"/>
              <a:gd name="connsiteX138" fmla="*/ 1220734 w 10678681"/>
              <a:gd name="connsiteY138" fmla="*/ 1257811 h 1357700"/>
              <a:gd name="connsiteX139" fmla="*/ 1021737 w 10678681"/>
              <a:gd name="connsiteY139" fmla="*/ 1238739 h 1357700"/>
              <a:gd name="connsiteX140" fmla="*/ 959820 w 10678681"/>
              <a:gd name="connsiteY140" fmla="*/ 1275863 h 1357700"/>
              <a:gd name="connsiteX141" fmla="*/ 929137 w 10678681"/>
              <a:gd name="connsiteY141" fmla="*/ 1273957 h 1357700"/>
              <a:gd name="connsiteX142" fmla="*/ 878849 w 10678681"/>
              <a:gd name="connsiteY142" fmla="*/ 1266740 h 1357700"/>
              <a:gd name="connsiteX143" fmla="*/ 800667 w 10678681"/>
              <a:gd name="connsiteY143" fmla="*/ 1282041 h 1357700"/>
              <a:gd name="connsiteX144" fmla="*/ 644906 w 10678681"/>
              <a:gd name="connsiteY144" fmla="*/ 1273685 h 1357700"/>
              <a:gd name="connsiteX145" fmla="*/ 379869 w 10678681"/>
              <a:gd name="connsiteY145" fmla="*/ 1339165 h 1357700"/>
              <a:gd name="connsiteX146" fmla="*/ 137696 w 10678681"/>
              <a:gd name="connsiteY146" fmla="*/ 1319217 h 1357700"/>
              <a:gd name="connsiteX147" fmla="*/ 54250 w 10678681"/>
              <a:gd name="connsiteY147" fmla="*/ 1315838 h 1357700"/>
              <a:gd name="connsiteX148" fmla="*/ 28042 w 10678681"/>
              <a:gd name="connsiteY148" fmla="*/ 1297822 h 1357700"/>
              <a:gd name="connsiteX149" fmla="*/ 0 w 10678681"/>
              <a:gd name="connsiteY149" fmla="*/ 1294612 h 1357700"/>
              <a:gd name="connsiteX150" fmla="*/ 0 w 10678681"/>
              <a:gd name="connsiteY150"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98313 w 10678681"/>
              <a:gd name="connsiteY65" fmla="*/ 1063249 h 1357700"/>
              <a:gd name="connsiteX66" fmla="*/ 6550218 w 10678681"/>
              <a:gd name="connsiteY66" fmla="*/ 1026825 h 1357700"/>
              <a:gd name="connsiteX67" fmla="*/ 6392549 w 10678681"/>
              <a:gd name="connsiteY67" fmla="*/ 1032948 h 1357700"/>
              <a:gd name="connsiteX68" fmla="*/ 6361470 w 10678681"/>
              <a:gd name="connsiteY68" fmla="*/ 1080572 h 1357700"/>
              <a:gd name="connsiteX69" fmla="*/ 6074811 w 10678681"/>
              <a:gd name="connsiteY69" fmla="*/ 1092701 h 1357700"/>
              <a:gd name="connsiteX70" fmla="*/ 6004655 w 10678681"/>
              <a:gd name="connsiteY70" fmla="*/ 1114946 h 1357700"/>
              <a:gd name="connsiteX71" fmla="*/ 5936643 w 10678681"/>
              <a:gd name="connsiteY71" fmla="*/ 1095428 h 1357700"/>
              <a:gd name="connsiteX72" fmla="*/ 5912484 w 10678681"/>
              <a:gd name="connsiteY72" fmla="*/ 1112624 h 1357700"/>
              <a:gd name="connsiteX73" fmla="*/ 5908387 w 10678681"/>
              <a:gd name="connsiteY73" fmla="*/ 1116018 h 1357700"/>
              <a:gd name="connsiteX74" fmla="*/ 5890495 w 10678681"/>
              <a:gd name="connsiteY74" fmla="*/ 1120268 h 1357700"/>
              <a:gd name="connsiteX75" fmla="*/ 5887318 w 10678681"/>
              <a:gd name="connsiteY75" fmla="*/ 1133134 h 1357700"/>
              <a:gd name="connsiteX76" fmla="*/ 5861726 w 10678681"/>
              <a:gd name="connsiteY76" fmla="*/ 1147891 h 1357700"/>
              <a:gd name="connsiteX77" fmla="*/ 5828273 w 10678681"/>
              <a:gd name="connsiteY77" fmla="*/ 1152456 h 1357700"/>
              <a:gd name="connsiteX78" fmla="*/ 5667391 w 10678681"/>
              <a:gd name="connsiteY78" fmla="*/ 1161093 h 1357700"/>
              <a:gd name="connsiteX79" fmla="*/ 5572219 w 10678681"/>
              <a:gd name="connsiteY79" fmla="*/ 1173708 h 1357700"/>
              <a:gd name="connsiteX80" fmla="*/ 5537768 w 10678681"/>
              <a:gd name="connsiteY80" fmla="*/ 1190202 h 1357700"/>
              <a:gd name="connsiteX81" fmla="*/ 5488513 w 10678681"/>
              <a:gd name="connsiteY81" fmla="*/ 1205367 h 1357700"/>
              <a:gd name="connsiteX82" fmla="*/ 5402905 w 10678681"/>
              <a:gd name="connsiteY82" fmla="*/ 1241191 h 1357700"/>
              <a:gd name="connsiteX83" fmla="*/ 5285593 w 10678681"/>
              <a:gd name="connsiteY83" fmla="*/ 1273569 h 1357700"/>
              <a:gd name="connsiteX84" fmla="*/ 5192893 w 10678681"/>
              <a:gd name="connsiteY84" fmla="*/ 1247188 h 1357700"/>
              <a:gd name="connsiteX85" fmla="*/ 5186475 w 10678681"/>
              <a:gd name="connsiteY85" fmla="*/ 1257028 h 1357700"/>
              <a:gd name="connsiteX86" fmla="*/ 5126038 w 10678681"/>
              <a:gd name="connsiteY86" fmla="*/ 1263189 h 1357700"/>
              <a:gd name="connsiteX87" fmla="*/ 4905913 w 10678681"/>
              <a:gd name="connsiteY87" fmla="*/ 1224477 h 1357700"/>
              <a:gd name="connsiteX88" fmla="*/ 4788036 w 10678681"/>
              <a:gd name="connsiteY88" fmla="*/ 1238182 h 1357700"/>
              <a:gd name="connsiteX89" fmla="*/ 4747555 w 10678681"/>
              <a:gd name="connsiteY89" fmla="*/ 1252768 h 1357700"/>
              <a:gd name="connsiteX90" fmla="*/ 4679644 w 10678681"/>
              <a:gd name="connsiteY90" fmla="*/ 1276603 h 1357700"/>
              <a:gd name="connsiteX91" fmla="*/ 4632222 w 10678681"/>
              <a:gd name="connsiteY91" fmla="*/ 1318360 h 1357700"/>
              <a:gd name="connsiteX92" fmla="*/ 4617358 w 10678681"/>
              <a:gd name="connsiteY92" fmla="*/ 1327690 h 1357700"/>
              <a:gd name="connsiteX93" fmla="*/ 4589102 w 10678681"/>
              <a:gd name="connsiteY93" fmla="*/ 1321223 h 1357700"/>
              <a:gd name="connsiteX94" fmla="*/ 4578184 w 10678681"/>
              <a:gd name="connsiteY94" fmla="*/ 1326745 h 1357700"/>
              <a:gd name="connsiteX95" fmla="*/ 4574270 w 10678681"/>
              <a:gd name="connsiteY95" fmla="*/ 1325878 h 1357700"/>
              <a:gd name="connsiteX96" fmla="*/ 4564919 w 10678681"/>
              <a:gd name="connsiteY96" fmla="*/ 1325507 h 1357700"/>
              <a:gd name="connsiteX97" fmla="*/ 4566586 w 10678681"/>
              <a:gd name="connsiteY97" fmla="*/ 1316963 h 1357700"/>
              <a:gd name="connsiteX98" fmla="*/ 4556303 w 10678681"/>
              <a:gd name="connsiteY98" fmla="*/ 1300262 h 1357700"/>
              <a:gd name="connsiteX99" fmla="*/ 4502358 w 10678681"/>
              <a:gd name="connsiteY99" fmla="*/ 1302558 h 1357700"/>
              <a:gd name="connsiteX100" fmla="*/ 4498919 w 10678681"/>
              <a:gd name="connsiteY100" fmla="*/ 1312115 h 1357700"/>
              <a:gd name="connsiteX101" fmla="*/ 4492075 w 10678681"/>
              <a:gd name="connsiteY101" fmla="*/ 1313357 h 1357700"/>
              <a:gd name="connsiteX102" fmla="*/ 4487466 w 10678681"/>
              <a:gd name="connsiteY102" fmla="*/ 1304102 h 1357700"/>
              <a:gd name="connsiteX103" fmla="*/ 4398292 w 10678681"/>
              <a:gd name="connsiteY103" fmla="*/ 1278410 h 1357700"/>
              <a:gd name="connsiteX104" fmla="*/ 4278026 w 10678681"/>
              <a:gd name="connsiteY104" fmla="*/ 1259803 h 1357700"/>
              <a:gd name="connsiteX105" fmla="*/ 4188995 w 10678681"/>
              <a:gd name="connsiteY105" fmla="*/ 1296718 h 1357700"/>
              <a:gd name="connsiteX106" fmla="*/ 4181483 w 10678681"/>
              <a:gd name="connsiteY106" fmla="*/ 1287686 h 1357700"/>
              <a:gd name="connsiteX107" fmla="*/ 4120739 w 10678681"/>
              <a:gd name="connsiteY107" fmla="*/ 1288549 h 1357700"/>
              <a:gd name="connsiteX108" fmla="*/ 3906561 w 10678681"/>
              <a:gd name="connsiteY108" fmla="*/ 1352435 h 1357700"/>
              <a:gd name="connsiteX109" fmla="*/ 3787890 w 10678681"/>
              <a:gd name="connsiteY109" fmla="*/ 1352442 h 1357700"/>
              <a:gd name="connsiteX110" fmla="*/ 3745993 w 10678681"/>
              <a:gd name="connsiteY110" fmla="*/ 1342630 h 1357700"/>
              <a:gd name="connsiteX111" fmla="*/ 3675785 w 10678681"/>
              <a:gd name="connsiteY111" fmla="*/ 1326802 h 1357700"/>
              <a:gd name="connsiteX112" fmla="*/ 3623856 w 10678681"/>
              <a:gd name="connsiteY112" fmla="*/ 1290804 h 1357700"/>
              <a:gd name="connsiteX113" fmla="*/ 3564933 w 10678681"/>
              <a:gd name="connsiteY113" fmla="*/ 1287147 h 1357700"/>
              <a:gd name="connsiteX114" fmla="*/ 3550537 w 10678681"/>
              <a:gd name="connsiteY114" fmla="*/ 1317552 h 1357700"/>
              <a:gd name="connsiteX115" fmla="*/ 3487736 w 10678681"/>
              <a:gd name="connsiteY115" fmla="*/ 1303493 h 1357700"/>
              <a:gd name="connsiteX116" fmla="*/ 3392548 w 10678681"/>
              <a:gd name="connsiteY116" fmla="*/ 1278741 h 1357700"/>
              <a:gd name="connsiteX117" fmla="*/ 3337466 w 10678681"/>
              <a:gd name="connsiteY117" fmla="*/ 1272537 h 1357700"/>
              <a:gd name="connsiteX118" fmla="*/ 3187206 w 10678681"/>
              <a:gd name="connsiteY118" fmla="*/ 1246821 h 1357700"/>
              <a:gd name="connsiteX119" fmla="*/ 3036856 w 10678681"/>
              <a:gd name="connsiteY119" fmla="*/ 1214383 h 1357700"/>
              <a:gd name="connsiteX120" fmla="*/ 2948654 w 10678681"/>
              <a:gd name="connsiteY120" fmla="*/ 1157455 h 1357700"/>
              <a:gd name="connsiteX121" fmla="*/ 2824973 w 10678681"/>
              <a:gd name="connsiteY121" fmla="*/ 1134864 h 1357700"/>
              <a:gd name="connsiteX122" fmla="*/ 2804398 w 10678681"/>
              <a:gd name="connsiteY122" fmla="*/ 1125556 h 1357700"/>
              <a:gd name="connsiteX123" fmla="*/ 2775396 w 10678681"/>
              <a:gd name="connsiteY123" fmla="*/ 1130148 h 1357700"/>
              <a:gd name="connsiteX124" fmla="*/ 2659096 w 10678681"/>
              <a:gd name="connsiteY124" fmla="*/ 1150294 h 1357700"/>
              <a:gd name="connsiteX125" fmla="*/ 2567088 w 10678681"/>
              <a:gd name="connsiteY125" fmla="*/ 1181781 h 1357700"/>
              <a:gd name="connsiteX126" fmla="*/ 2454501 w 10678681"/>
              <a:gd name="connsiteY126" fmla="*/ 1155455 h 1357700"/>
              <a:gd name="connsiteX127" fmla="*/ 2385161 w 10678681"/>
              <a:gd name="connsiteY127" fmla="*/ 1161312 h 1357700"/>
              <a:gd name="connsiteX128" fmla="*/ 2270528 w 10678681"/>
              <a:gd name="connsiteY128" fmla="*/ 1204338 h 1357700"/>
              <a:gd name="connsiteX129" fmla="*/ 2121820 w 10678681"/>
              <a:gd name="connsiteY129" fmla="*/ 1187078 h 1357700"/>
              <a:gd name="connsiteX130" fmla="*/ 2092716 w 10678681"/>
              <a:gd name="connsiteY130" fmla="*/ 1139224 h 1357700"/>
              <a:gd name="connsiteX131" fmla="*/ 2052449 w 10678681"/>
              <a:gd name="connsiteY131" fmla="*/ 1109687 h 1357700"/>
              <a:gd name="connsiteX132" fmla="*/ 2032607 w 10678681"/>
              <a:gd name="connsiteY132" fmla="*/ 1175477 h 1357700"/>
              <a:gd name="connsiteX133" fmla="*/ 1901837 w 10678681"/>
              <a:gd name="connsiteY133" fmla="*/ 1221762 h 1357700"/>
              <a:gd name="connsiteX134" fmla="*/ 1836762 w 10678681"/>
              <a:gd name="connsiteY134" fmla="*/ 1237387 h 1357700"/>
              <a:gd name="connsiteX135" fmla="*/ 1735877 w 10678681"/>
              <a:gd name="connsiteY135" fmla="*/ 1246527 h 1357700"/>
              <a:gd name="connsiteX136" fmla="*/ 1705069 w 10678681"/>
              <a:gd name="connsiteY136" fmla="*/ 1251989 h 1357700"/>
              <a:gd name="connsiteX137" fmla="*/ 1397689 w 10678681"/>
              <a:gd name="connsiteY137" fmla="*/ 1336144 h 1357700"/>
              <a:gd name="connsiteX138" fmla="*/ 1220734 w 10678681"/>
              <a:gd name="connsiteY138" fmla="*/ 1257811 h 1357700"/>
              <a:gd name="connsiteX139" fmla="*/ 1021737 w 10678681"/>
              <a:gd name="connsiteY139" fmla="*/ 1238739 h 1357700"/>
              <a:gd name="connsiteX140" fmla="*/ 959820 w 10678681"/>
              <a:gd name="connsiteY140" fmla="*/ 1275863 h 1357700"/>
              <a:gd name="connsiteX141" fmla="*/ 929137 w 10678681"/>
              <a:gd name="connsiteY141" fmla="*/ 1273957 h 1357700"/>
              <a:gd name="connsiteX142" fmla="*/ 878849 w 10678681"/>
              <a:gd name="connsiteY142" fmla="*/ 1266740 h 1357700"/>
              <a:gd name="connsiteX143" fmla="*/ 800667 w 10678681"/>
              <a:gd name="connsiteY143" fmla="*/ 1282041 h 1357700"/>
              <a:gd name="connsiteX144" fmla="*/ 644906 w 10678681"/>
              <a:gd name="connsiteY144" fmla="*/ 1273685 h 1357700"/>
              <a:gd name="connsiteX145" fmla="*/ 379869 w 10678681"/>
              <a:gd name="connsiteY145" fmla="*/ 1339165 h 1357700"/>
              <a:gd name="connsiteX146" fmla="*/ 137696 w 10678681"/>
              <a:gd name="connsiteY146" fmla="*/ 1319217 h 1357700"/>
              <a:gd name="connsiteX147" fmla="*/ 54250 w 10678681"/>
              <a:gd name="connsiteY147" fmla="*/ 1315838 h 1357700"/>
              <a:gd name="connsiteX148" fmla="*/ 28042 w 10678681"/>
              <a:gd name="connsiteY148" fmla="*/ 1297822 h 1357700"/>
              <a:gd name="connsiteX149" fmla="*/ 0 w 10678681"/>
              <a:gd name="connsiteY149" fmla="*/ 1294612 h 1357700"/>
              <a:gd name="connsiteX150" fmla="*/ 0 w 10678681"/>
              <a:gd name="connsiteY150"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98313 w 10678681"/>
              <a:gd name="connsiteY65" fmla="*/ 1063249 h 1357700"/>
              <a:gd name="connsiteX66" fmla="*/ 6550218 w 10678681"/>
              <a:gd name="connsiteY66" fmla="*/ 1026825 h 1357700"/>
              <a:gd name="connsiteX67" fmla="*/ 6392549 w 10678681"/>
              <a:gd name="connsiteY67" fmla="*/ 1032948 h 1357700"/>
              <a:gd name="connsiteX68" fmla="*/ 6327795 w 10678681"/>
              <a:gd name="connsiteY68" fmla="*/ 1088142 h 1357700"/>
              <a:gd name="connsiteX69" fmla="*/ 6074811 w 10678681"/>
              <a:gd name="connsiteY69" fmla="*/ 1092701 h 1357700"/>
              <a:gd name="connsiteX70" fmla="*/ 6004655 w 10678681"/>
              <a:gd name="connsiteY70" fmla="*/ 1114946 h 1357700"/>
              <a:gd name="connsiteX71" fmla="*/ 5936643 w 10678681"/>
              <a:gd name="connsiteY71" fmla="*/ 1095428 h 1357700"/>
              <a:gd name="connsiteX72" fmla="*/ 5912484 w 10678681"/>
              <a:gd name="connsiteY72" fmla="*/ 1112624 h 1357700"/>
              <a:gd name="connsiteX73" fmla="*/ 5908387 w 10678681"/>
              <a:gd name="connsiteY73" fmla="*/ 1116018 h 1357700"/>
              <a:gd name="connsiteX74" fmla="*/ 5890495 w 10678681"/>
              <a:gd name="connsiteY74" fmla="*/ 1120268 h 1357700"/>
              <a:gd name="connsiteX75" fmla="*/ 5887318 w 10678681"/>
              <a:gd name="connsiteY75" fmla="*/ 1133134 h 1357700"/>
              <a:gd name="connsiteX76" fmla="*/ 5861726 w 10678681"/>
              <a:gd name="connsiteY76" fmla="*/ 1147891 h 1357700"/>
              <a:gd name="connsiteX77" fmla="*/ 5828273 w 10678681"/>
              <a:gd name="connsiteY77" fmla="*/ 1152456 h 1357700"/>
              <a:gd name="connsiteX78" fmla="*/ 5667391 w 10678681"/>
              <a:gd name="connsiteY78" fmla="*/ 1161093 h 1357700"/>
              <a:gd name="connsiteX79" fmla="*/ 5572219 w 10678681"/>
              <a:gd name="connsiteY79" fmla="*/ 1173708 h 1357700"/>
              <a:gd name="connsiteX80" fmla="*/ 5537768 w 10678681"/>
              <a:gd name="connsiteY80" fmla="*/ 1190202 h 1357700"/>
              <a:gd name="connsiteX81" fmla="*/ 5488513 w 10678681"/>
              <a:gd name="connsiteY81" fmla="*/ 1205367 h 1357700"/>
              <a:gd name="connsiteX82" fmla="*/ 5402905 w 10678681"/>
              <a:gd name="connsiteY82" fmla="*/ 1241191 h 1357700"/>
              <a:gd name="connsiteX83" fmla="*/ 5285593 w 10678681"/>
              <a:gd name="connsiteY83" fmla="*/ 1273569 h 1357700"/>
              <a:gd name="connsiteX84" fmla="*/ 5192893 w 10678681"/>
              <a:gd name="connsiteY84" fmla="*/ 1247188 h 1357700"/>
              <a:gd name="connsiteX85" fmla="*/ 5186475 w 10678681"/>
              <a:gd name="connsiteY85" fmla="*/ 1257028 h 1357700"/>
              <a:gd name="connsiteX86" fmla="*/ 5126038 w 10678681"/>
              <a:gd name="connsiteY86" fmla="*/ 1263189 h 1357700"/>
              <a:gd name="connsiteX87" fmla="*/ 4905913 w 10678681"/>
              <a:gd name="connsiteY87" fmla="*/ 1224477 h 1357700"/>
              <a:gd name="connsiteX88" fmla="*/ 4788036 w 10678681"/>
              <a:gd name="connsiteY88" fmla="*/ 1238182 h 1357700"/>
              <a:gd name="connsiteX89" fmla="*/ 4747555 w 10678681"/>
              <a:gd name="connsiteY89" fmla="*/ 1252768 h 1357700"/>
              <a:gd name="connsiteX90" fmla="*/ 4679644 w 10678681"/>
              <a:gd name="connsiteY90" fmla="*/ 1276603 h 1357700"/>
              <a:gd name="connsiteX91" fmla="*/ 4632222 w 10678681"/>
              <a:gd name="connsiteY91" fmla="*/ 1318360 h 1357700"/>
              <a:gd name="connsiteX92" fmla="*/ 4617358 w 10678681"/>
              <a:gd name="connsiteY92" fmla="*/ 1327690 h 1357700"/>
              <a:gd name="connsiteX93" fmla="*/ 4589102 w 10678681"/>
              <a:gd name="connsiteY93" fmla="*/ 1321223 h 1357700"/>
              <a:gd name="connsiteX94" fmla="*/ 4578184 w 10678681"/>
              <a:gd name="connsiteY94" fmla="*/ 1326745 h 1357700"/>
              <a:gd name="connsiteX95" fmla="*/ 4574270 w 10678681"/>
              <a:gd name="connsiteY95" fmla="*/ 1325878 h 1357700"/>
              <a:gd name="connsiteX96" fmla="*/ 4564919 w 10678681"/>
              <a:gd name="connsiteY96" fmla="*/ 1325507 h 1357700"/>
              <a:gd name="connsiteX97" fmla="*/ 4566586 w 10678681"/>
              <a:gd name="connsiteY97" fmla="*/ 1316963 h 1357700"/>
              <a:gd name="connsiteX98" fmla="*/ 4556303 w 10678681"/>
              <a:gd name="connsiteY98" fmla="*/ 1300262 h 1357700"/>
              <a:gd name="connsiteX99" fmla="*/ 4502358 w 10678681"/>
              <a:gd name="connsiteY99" fmla="*/ 1302558 h 1357700"/>
              <a:gd name="connsiteX100" fmla="*/ 4498919 w 10678681"/>
              <a:gd name="connsiteY100" fmla="*/ 1312115 h 1357700"/>
              <a:gd name="connsiteX101" fmla="*/ 4492075 w 10678681"/>
              <a:gd name="connsiteY101" fmla="*/ 1313357 h 1357700"/>
              <a:gd name="connsiteX102" fmla="*/ 4487466 w 10678681"/>
              <a:gd name="connsiteY102" fmla="*/ 1304102 h 1357700"/>
              <a:gd name="connsiteX103" fmla="*/ 4398292 w 10678681"/>
              <a:gd name="connsiteY103" fmla="*/ 1278410 h 1357700"/>
              <a:gd name="connsiteX104" fmla="*/ 4278026 w 10678681"/>
              <a:gd name="connsiteY104" fmla="*/ 1259803 h 1357700"/>
              <a:gd name="connsiteX105" fmla="*/ 4188995 w 10678681"/>
              <a:gd name="connsiteY105" fmla="*/ 1296718 h 1357700"/>
              <a:gd name="connsiteX106" fmla="*/ 4181483 w 10678681"/>
              <a:gd name="connsiteY106" fmla="*/ 1287686 h 1357700"/>
              <a:gd name="connsiteX107" fmla="*/ 4120739 w 10678681"/>
              <a:gd name="connsiteY107" fmla="*/ 1288549 h 1357700"/>
              <a:gd name="connsiteX108" fmla="*/ 3906561 w 10678681"/>
              <a:gd name="connsiteY108" fmla="*/ 1352435 h 1357700"/>
              <a:gd name="connsiteX109" fmla="*/ 3787890 w 10678681"/>
              <a:gd name="connsiteY109" fmla="*/ 1352442 h 1357700"/>
              <a:gd name="connsiteX110" fmla="*/ 3745993 w 10678681"/>
              <a:gd name="connsiteY110" fmla="*/ 1342630 h 1357700"/>
              <a:gd name="connsiteX111" fmla="*/ 3675785 w 10678681"/>
              <a:gd name="connsiteY111" fmla="*/ 1326802 h 1357700"/>
              <a:gd name="connsiteX112" fmla="*/ 3623856 w 10678681"/>
              <a:gd name="connsiteY112" fmla="*/ 1290804 h 1357700"/>
              <a:gd name="connsiteX113" fmla="*/ 3564933 w 10678681"/>
              <a:gd name="connsiteY113" fmla="*/ 1287147 h 1357700"/>
              <a:gd name="connsiteX114" fmla="*/ 3550537 w 10678681"/>
              <a:gd name="connsiteY114" fmla="*/ 1317552 h 1357700"/>
              <a:gd name="connsiteX115" fmla="*/ 3487736 w 10678681"/>
              <a:gd name="connsiteY115" fmla="*/ 1303493 h 1357700"/>
              <a:gd name="connsiteX116" fmla="*/ 3392548 w 10678681"/>
              <a:gd name="connsiteY116" fmla="*/ 1278741 h 1357700"/>
              <a:gd name="connsiteX117" fmla="*/ 3337466 w 10678681"/>
              <a:gd name="connsiteY117" fmla="*/ 1272537 h 1357700"/>
              <a:gd name="connsiteX118" fmla="*/ 3187206 w 10678681"/>
              <a:gd name="connsiteY118" fmla="*/ 1246821 h 1357700"/>
              <a:gd name="connsiteX119" fmla="*/ 3036856 w 10678681"/>
              <a:gd name="connsiteY119" fmla="*/ 1214383 h 1357700"/>
              <a:gd name="connsiteX120" fmla="*/ 2948654 w 10678681"/>
              <a:gd name="connsiteY120" fmla="*/ 1157455 h 1357700"/>
              <a:gd name="connsiteX121" fmla="*/ 2824973 w 10678681"/>
              <a:gd name="connsiteY121" fmla="*/ 1134864 h 1357700"/>
              <a:gd name="connsiteX122" fmla="*/ 2804398 w 10678681"/>
              <a:gd name="connsiteY122" fmla="*/ 1125556 h 1357700"/>
              <a:gd name="connsiteX123" fmla="*/ 2775396 w 10678681"/>
              <a:gd name="connsiteY123" fmla="*/ 1130148 h 1357700"/>
              <a:gd name="connsiteX124" fmla="*/ 2659096 w 10678681"/>
              <a:gd name="connsiteY124" fmla="*/ 1150294 h 1357700"/>
              <a:gd name="connsiteX125" fmla="*/ 2567088 w 10678681"/>
              <a:gd name="connsiteY125" fmla="*/ 1181781 h 1357700"/>
              <a:gd name="connsiteX126" fmla="*/ 2454501 w 10678681"/>
              <a:gd name="connsiteY126" fmla="*/ 1155455 h 1357700"/>
              <a:gd name="connsiteX127" fmla="*/ 2385161 w 10678681"/>
              <a:gd name="connsiteY127" fmla="*/ 1161312 h 1357700"/>
              <a:gd name="connsiteX128" fmla="*/ 2270528 w 10678681"/>
              <a:gd name="connsiteY128" fmla="*/ 1204338 h 1357700"/>
              <a:gd name="connsiteX129" fmla="*/ 2121820 w 10678681"/>
              <a:gd name="connsiteY129" fmla="*/ 1187078 h 1357700"/>
              <a:gd name="connsiteX130" fmla="*/ 2092716 w 10678681"/>
              <a:gd name="connsiteY130" fmla="*/ 1139224 h 1357700"/>
              <a:gd name="connsiteX131" fmla="*/ 2052449 w 10678681"/>
              <a:gd name="connsiteY131" fmla="*/ 1109687 h 1357700"/>
              <a:gd name="connsiteX132" fmla="*/ 2032607 w 10678681"/>
              <a:gd name="connsiteY132" fmla="*/ 1175477 h 1357700"/>
              <a:gd name="connsiteX133" fmla="*/ 1901837 w 10678681"/>
              <a:gd name="connsiteY133" fmla="*/ 1221762 h 1357700"/>
              <a:gd name="connsiteX134" fmla="*/ 1836762 w 10678681"/>
              <a:gd name="connsiteY134" fmla="*/ 1237387 h 1357700"/>
              <a:gd name="connsiteX135" fmla="*/ 1735877 w 10678681"/>
              <a:gd name="connsiteY135" fmla="*/ 1246527 h 1357700"/>
              <a:gd name="connsiteX136" fmla="*/ 1705069 w 10678681"/>
              <a:gd name="connsiteY136" fmla="*/ 1251989 h 1357700"/>
              <a:gd name="connsiteX137" fmla="*/ 1397689 w 10678681"/>
              <a:gd name="connsiteY137" fmla="*/ 1336144 h 1357700"/>
              <a:gd name="connsiteX138" fmla="*/ 1220734 w 10678681"/>
              <a:gd name="connsiteY138" fmla="*/ 1257811 h 1357700"/>
              <a:gd name="connsiteX139" fmla="*/ 1021737 w 10678681"/>
              <a:gd name="connsiteY139" fmla="*/ 1238739 h 1357700"/>
              <a:gd name="connsiteX140" fmla="*/ 959820 w 10678681"/>
              <a:gd name="connsiteY140" fmla="*/ 1275863 h 1357700"/>
              <a:gd name="connsiteX141" fmla="*/ 929137 w 10678681"/>
              <a:gd name="connsiteY141" fmla="*/ 1273957 h 1357700"/>
              <a:gd name="connsiteX142" fmla="*/ 878849 w 10678681"/>
              <a:gd name="connsiteY142" fmla="*/ 1266740 h 1357700"/>
              <a:gd name="connsiteX143" fmla="*/ 800667 w 10678681"/>
              <a:gd name="connsiteY143" fmla="*/ 1282041 h 1357700"/>
              <a:gd name="connsiteX144" fmla="*/ 644906 w 10678681"/>
              <a:gd name="connsiteY144" fmla="*/ 1273685 h 1357700"/>
              <a:gd name="connsiteX145" fmla="*/ 379869 w 10678681"/>
              <a:gd name="connsiteY145" fmla="*/ 1339165 h 1357700"/>
              <a:gd name="connsiteX146" fmla="*/ 137696 w 10678681"/>
              <a:gd name="connsiteY146" fmla="*/ 1319217 h 1357700"/>
              <a:gd name="connsiteX147" fmla="*/ 54250 w 10678681"/>
              <a:gd name="connsiteY147" fmla="*/ 1315838 h 1357700"/>
              <a:gd name="connsiteX148" fmla="*/ 28042 w 10678681"/>
              <a:gd name="connsiteY148" fmla="*/ 1297822 h 1357700"/>
              <a:gd name="connsiteX149" fmla="*/ 0 w 10678681"/>
              <a:gd name="connsiteY149" fmla="*/ 1294612 h 1357700"/>
              <a:gd name="connsiteX150" fmla="*/ 0 w 10678681"/>
              <a:gd name="connsiteY150"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98313 w 10678681"/>
              <a:gd name="connsiteY65" fmla="*/ 1063249 h 1357700"/>
              <a:gd name="connsiteX66" fmla="*/ 6550218 w 10678681"/>
              <a:gd name="connsiteY66" fmla="*/ 1026825 h 1357700"/>
              <a:gd name="connsiteX67" fmla="*/ 6437450 w 10678681"/>
              <a:gd name="connsiteY67" fmla="*/ 1101075 h 1357700"/>
              <a:gd name="connsiteX68" fmla="*/ 6327795 w 10678681"/>
              <a:gd name="connsiteY68" fmla="*/ 1088142 h 1357700"/>
              <a:gd name="connsiteX69" fmla="*/ 6074811 w 10678681"/>
              <a:gd name="connsiteY69" fmla="*/ 1092701 h 1357700"/>
              <a:gd name="connsiteX70" fmla="*/ 6004655 w 10678681"/>
              <a:gd name="connsiteY70" fmla="*/ 1114946 h 1357700"/>
              <a:gd name="connsiteX71" fmla="*/ 5936643 w 10678681"/>
              <a:gd name="connsiteY71" fmla="*/ 1095428 h 1357700"/>
              <a:gd name="connsiteX72" fmla="*/ 5912484 w 10678681"/>
              <a:gd name="connsiteY72" fmla="*/ 1112624 h 1357700"/>
              <a:gd name="connsiteX73" fmla="*/ 5908387 w 10678681"/>
              <a:gd name="connsiteY73" fmla="*/ 1116018 h 1357700"/>
              <a:gd name="connsiteX74" fmla="*/ 5890495 w 10678681"/>
              <a:gd name="connsiteY74" fmla="*/ 1120268 h 1357700"/>
              <a:gd name="connsiteX75" fmla="*/ 5887318 w 10678681"/>
              <a:gd name="connsiteY75" fmla="*/ 1133134 h 1357700"/>
              <a:gd name="connsiteX76" fmla="*/ 5861726 w 10678681"/>
              <a:gd name="connsiteY76" fmla="*/ 1147891 h 1357700"/>
              <a:gd name="connsiteX77" fmla="*/ 5828273 w 10678681"/>
              <a:gd name="connsiteY77" fmla="*/ 1152456 h 1357700"/>
              <a:gd name="connsiteX78" fmla="*/ 5667391 w 10678681"/>
              <a:gd name="connsiteY78" fmla="*/ 1161093 h 1357700"/>
              <a:gd name="connsiteX79" fmla="*/ 5572219 w 10678681"/>
              <a:gd name="connsiteY79" fmla="*/ 1173708 h 1357700"/>
              <a:gd name="connsiteX80" fmla="*/ 5537768 w 10678681"/>
              <a:gd name="connsiteY80" fmla="*/ 1190202 h 1357700"/>
              <a:gd name="connsiteX81" fmla="*/ 5488513 w 10678681"/>
              <a:gd name="connsiteY81" fmla="*/ 1205367 h 1357700"/>
              <a:gd name="connsiteX82" fmla="*/ 5402905 w 10678681"/>
              <a:gd name="connsiteY82" fmla="*/ 1241191 h 1357700"/>
              <a:gd name="connsiteX83" fmla="*/ 5285593 w 10678681"/>
              <a:gd name="connsiteY83" fmla="*/ 1273569 h 1357700"/>
              <a:gd name="connsiteX84" fmla="*/ 5192893 w 10678681"/>
              <a:gd name="connsiteY84" fmla="*/ 1247188 h 1357700"/>
              <a:gd name="connsiteX85" fmla="*/ 5186475 w 10678681"/>
              <a:gd name="connsiteY85" fmla="*/ 1257028 h 1357700"/>
              <a:gd name="connsiteX86" fmla="*/ 5126038 w 10678681"/>
              <a:gd name="connsiteY86" fmla="*/ 1263189 h 1357700"/>
              <a:gd name="connsiteX87" fmla="*/ 4905913 w 10678681"/>
              <a:gd name="connsiteY87" fmla="*/ 1224477 h 1357700"/>
              <a:gd name="connsiteX88" fmla="*/ 4788036 w 10678681"/>
              <a:gd name="connsiteY88" fmla="*/ 1238182 h 1357700"/>
              <a:gd name="connsiteX89" fmla="*/ 4747555 w 10678681"/>
              <a:gd name="connsiteY89" fmla="*/ 1252768 h 1357700"/>
              <a:gd name="connsiteX90" fmla="*/ 4679644 w 10678681"/>
              <a:gd name="connsiteY90" fmla="*/ 1276603 h 1357700"/>
              <a:gd name="connsiteX91" fmla="*/ 4632222 w 10678681"/>
              <a:gd name="connsiteY91" fmla="*/ 1318360 h 1357700"/>
              <a:gd name="connsiteX92" fmla="*/ 4617358 w 10678681"/>
              <a:gd name="connsiteY92" fmla="*/ 1327690 h 1357700"/>
              <a:gd name="connsiteX93" fmla="*/ 4589102 w 10678681"/>
              <a:gd name="connsiteY93" fmla="*/ 1321223 h 1357700"/>
              <a:gd name="connsiteX94" fmla="*/ 4578184 w 10678681"/>
              <a:gd name="connsiteY94" fmla="*/ 1326745 h 1357700"/>
              <a:gd name="connsiteX95" fmla="*/ 4574270 w 10678681"/>
              <a:gd name="connsiteY95" fmla="*/ 1325878 h 1357700"/>
              <a:gd name="connsiteX96" fmla="*/ 4564919 w 10678681"/>
              <a:gd name="connsiteY96" fmla="*/ 1325507 h 1357700"/>
              <a:gd name="connsiteX97" fmla="*/ 4566586 w 10678681"/>
              <a:gd name="connsiteY97" fmla="*/ 1316963 h 1357700"/>
              <a:gd name="connsiteX98" fmla="*/ 4556303 w 10678681"/>
              <a:gd name="connsiteY98" fmla="*/ 1300262 h 1357700"/>
              <a:gd name="connsiteX99" fmla="*/ 4502358 w 10678681"/>
              <a:gd name="connsiteY99" fmla="*/ 1302558 h 1357700"/>
              <a:gd name="connsiteX100" fmla="*/ 4498919 w 10678681"/>
              <a:gd name="connsiteY100" fmla="*/ 1312115 h 1357700"/>
              <a:gd name="connsiteX101" fmla="*/ 4492075 w 10678681"/>
              <a:gd name="connsiteY101" fmla="*/ 1313357 h 1357700"/>
              <a:gd name="connsiteX102" fmla="*/ 4487466 w 10678681"/>
              <a:gd name="connsiteY102" fmla="*/ 1304102 h 1357700"/>
              <a:gd name="connsiteX103" fmla="*/ 4398292 w 10678681"/>
              <a:gd name="connsiteY103" fmla="*/ 1278410 h 1357700"/>
              <a:gd name="connsiteX104" fmla="*/ 4278026 w 10678681"/>
              <a:gd name="connsiteY104" fmla="*/ 1259803 h 1357700"/>
              <a:gd name="connsiteX105" fmla="*/ 4188995 w 10678681"/>
              <a:gd name="connsiteY105" fmla="*/ 1296718 h 1357700"/>
              <a:gd name="connsiteX106" fmla="*/ 4181483 w 10678681"/>
              <a:gd name="connsiteY106" fmla="*/ 1287686 h 1357700"/>
              <a:gd name="connsiteX107" fmla="*/ 4120739 w 10678681"/>
              <a:gd name="connsiteY107" fmla="*/ 1288549 h 1357700"/>
              <a:gd name="connsiteX108" fmla="*/ 3906561 w 10678681"/>
              <a:gd name="connsiteY108" fmla="*/ 1352435 h 1357700"/>
              <a:gd name="connsiteX109" fmla="*/ 3787890 w 10678681"/>
              <a:gd name="connsiteY109" fmla="*/ 1352442 h 1357700"/>
              <a:gd name="connsiteX110" fmla="*/ 3745993 w 10678681"/>
              <a:gd name="connsiteY110" fmla="*/ 1342630 h 1357700"/>
              <a:gd name="connsiteX111" fmla="*/ 3675785 w 10678681"/>
              <a:gd name="connsiteY111" fmla="*/ 1326802 h 1357700"/>
              <a:gd name="connsiteX112" fmla="*/ 3623856 w 10678681"/>
              <a:gd name="connsiteY112" fmla="*/ 1290804 h 1357700"/>
              <a:gd name="connsiteX113" fmla="*/ 3564933 w 10678681"/>
              <a:gd name="connsiteY113" fmla="*/ 1287147 h 1357700"/>
              <a:gd name="connsiteX114" fmla="*/ 3550537 w 10678681"/>
              <a:gd name="connsiteY114" fmla="*/ 1317552 h 1357700"/>
              <a:gd name="connsiteX115" fmla="*/ 3487736 w 10678681"/>
              <a:gd name="connsiteY115" fmla="*/ 1303493 h 1357700"/>
              <a:gd name="connsiteX116" fmla="*/ 3392548 w 10678681"/>
              <a:gd name="connsiteY116" fmla="*/ 1278741 h 1357700"/>
              <a:gd name="connsiteX117" fmla="*/ 3337466 w 10678681"/>
              <a:gd name="connsiteY117" fmla="*/ 1272537 h 1357700"/>
              <a:gd name="connsiteX118" fmla="*/ 3187206 w 10678681"/>
              <a:gd name="connsiteY118" fmla="*/ 1246821 h 1357700"/>
              <a:gd name="connsiteX119" fmla="*/ 3036856 w 10678681"/>
              <a:gd name="connsiteY119" fmla="*/ 1214383 h 1357700"/>
              <a:gd name="connsiteX120" fmla="*/ 2948654 w 10678681"/>
              <a:gd name="connsiteY120" fmla="*/ 1157455 h 1357700"/>
              <a:gd name="connsiteX121" fmla="*/ 2824973 w 10678681"/>
              <a:gd name="connsiteY121" fmla="*/ 1134864 h 1357700"/>
              <a:gd name="connsiteX122" fmla="*/ 2804398 w 10678681"/>
              <a:gd name="connsiteY122" fmla="*/ 1125556 h 1357700"/>
              <a:gd name="connsiteX123" fmla="*/ 2775396 w 10678681"/>
              <a:gd name="connsiteY123" fmla="*/ 1130148 h 1357700"/>
              <a:gd name="connsiteX124" fmla="*/ 2659096 w 10678681"/>
              <a:gd name="connsiteY124" fmla="*/ 1150294 h 1357700"/>
              <a:gd name="connsiteX125" fmla="*/ 2567088 w 10678681"/>
              <a:gd name="connsiteY125" fmla="*/ 1181781 h 1357700"/>
              <a:gd name="connsiteX126" fmla="*/ 2454501 w 10678681"/>
              <a:gd name="connsiteY126" fmla="*/ 1155455 h 1357700"/>
              <a:gd name="connsiteX127" fmla="*/ 2385161 w 10678681"/>
              <a:gd name="connsiteY127" fmla="*/ 1161312 h 1357700"/>
              <a:gd name="connsiteX128" fmla="*/ 2270528 w 10678681"/>
              <a:gd name="connsiteY128" fmla="*/ 1204338 h 1357700"/>
              <a:gd name="connsiteX129" fmla="*/ 2121820 w 10678681"/>
              <a:gd name="connsiteY129" fmla="*/ 1187078 h 1357700"/>
              <a:gd name="connsiteX130" fmla="*/ 2092716 w 10678681"/>
              <a:gd name="connsiteY130" fmla="*/ 1139224 h 1357700"/>
              <a:gd name="connsiteX131" fmla="*/ 2052449 w 10678681"/>
              <a:gd name="connsiteY131" fmla="*/ 1109687 h 1357700"/>
              <a:gd name="connsiteX132" fmla="*/ 2032607 w 10678681"/>
              <a:gd name="connsiteY132" fmla="*/ 1175477 h 1357700"/>
              <a:gd name="connsiteX133" fmla="*/ 1901837 w 10678681"/>
              <a:gd name="connsiteY133" fmla="*/ 1221762 h 1357700"/>
              <a:gd name="connsiteX134" fmla="*/ 1836762 w 10678681"/>
              <a:gd name="connsiteY134" fmla="*/ 1237387 h 1357700"/>
              <a:gd name="connsiteX135" fmla="*/ 1735877 w 10678681"/>
              <a:gd name="connsiteY135" fmla="*/ 1246527 h 1357700"/>
              <a:gd name="connsiteX136" fmla="*/ 1705069 w 10678681"/>
              <a:gd name="connsiteY136" fmla="*/ 1251989 h 1357700"/>
              <a:gd name="connsiteX137" fmla="*/ 1397689 w 10678681"/>
              <a:gd name="connsiteY137" fmla="*/ 1336144 h 1357700"/>
              <a:gd name="connsiteX138" fmla="*/ 1220734 w 10678681"/>
              <a:gd name="connsiteY138" fmla="*/ 1257811 h 1357700"/>
              <a:gd name="connsiteX139" fmla="*/ 1021737 w 10678681"/>
              <a:gd name="connsiteY139" fmla="*/ 1238739 h 1357700"/>
              <a:gd name="connsiteX140" fmla="*/ 959820 w 10678681"/>
              <a:gd name="connsiteY140" fmla="*/ 1275863 h 1357700"/>
              <a:gd name="connsiteX141" fmla="*/ 929137 w 10678681"/>
              <a:gd name="connsiteY141" fmla="*/ 1273957 h 1357700"/>
              <a:gd name="connsiteX142" fmla="*/ 878849 w 10678681"/>
              <a:gd name="connsiteY142" fmla="*/ 1266740 h 1357700"/>
              <a:gd name="connsiteX143" fmla="*/ 800667 w 10678681"/>
              <a:gd name="connsiteY143" fmla="*/ 1282041 h 1357700"/>
              <a:gd name="connsiteX144" fmla="*/ 644906 w 10678681"/>
              <a:gd name="connsiteY144" fmla="*/ 1273685 h 1357700"/>
              <a:gd name="connsiteX145" fmla="*/ 379869 w 10678681"/>
              <a:gd name="connsiteY145" fmla="*/ 1339165 h 1357700"/>
              <a:gd name="connsiteX146" fmla="*/ 137696 w 10678681"/>
              <a:gd name="connsiteY146" fmla="*/ 1319217 h 1357700"/>
              <a:gd name="connsiteX147" fmla="*/ 54250 w 10678681"/>
              <a:gd name="connsiteY147" fmla="*/ 1315838 h 1357700"/>
              <a:gd name="connsiteX148" fmla="*/ 28042 w 10678681"/>
              <a:gd name="connsiteY148" fmla="*/ 1297822 h 1357700"/>
              <a:gd name="connsiteX149" fmla="*/ 0 w 10678681"/>
              <a:gd name="connsiteY149" fmla="*/ 1294612 h 1357700"/>
              <a:gd name="connsiteX150" fmla="*/ 0 w 10678681"/>
              <a:gd name="connsiteY150"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98313 w 10678681"/>
              <a:gd name="connsiteY65" fmla="*/ 1063249 h 1357700"/>
              <a:gd name="connsiteX66" fmla="*/ 6550218 w 10678681"/>
              <a:gd name="connsiteY66" fmla="*/ 1026825 h 1357700"/>
              <a:gd name="connsiteX67" fmla="*/ 6437450 w 10678681"/>
              <a:gd name="connsiteY67" fmla="*/ 1101075 h 1357700"/>
              <a:gd name="connsiteX68" fmla="*/ 6327795 w 10678681"/>
              <a:gd name="connsiteY68" fmla="*/ 1088142 h 1357700"/>
              <a:gd name="connsiteX69" fmla="*/ 6136549 w 10678681"/>
              <a:gd name="connsiteY69" fmla="*/ 1100268 h 1357700"/>
              <a:gd name="connsiteX70" fmla="*/ 6004655 w 10678681"/>
              <a:gd name="connsiteY70" fmla="*/ 1114946 h 1357700"/>
              <a:gd name="connsiteX71" fmla="*/ 5936643 w 10678681"/>
              <a:gd name="connsiteY71" fmla="*/ 1095428 h 1357700"/>
              <a:gd name="connsiteX72" fmla="*/ 5912484 w 10678681"/>
              <a:gd name="connsiteY72" fmla="*/ 1112624 h 1357700"/>
              <a:gd name="connsiteX73" fmla="*/ 5908387 w 10678681"/>
              <a:gd name="connsiteY73" fmla="*/ 1116018 h 1357700"/>
              <a:gd name="connsiteX74" fmla="*/ 5890495 w 10678681"/>
              <a:gd name="connsiteY74" fmla="*/ 1120268 h 1357700"/>
              <a:gd name="connsiteX75" fmla="*/ 5887318 w 10678681"/>
              <a:gd name="connsiteY75" fmla="*/ 1133134 h 1357700"/>
              <a:gd name="connsiteX76" fmla="*/ 5861726 w 10678681"/>
              <a:gd name="connsiteY76" fmla="*/ 1147891 h 1357700"/>
              <a:gd name="connsiteX77" fmla="*/ 5828273 w 10678681"/>
              <a:gd name="connsiteY77" fmla="*/ 1152456 h 1357700"/>
              <a:gd name="connsiteX78" fmla="*/ 5667391 w 10678681"/>
              <a:gd name="connsiteY78" fmla="*/ 1161093 h 1357700"/>
              <a:gd name="connsiteX79" fmla="*/ 5572219 w 10678681"/>
              <a:gd name="connsiteY79" fmla="*/ 1173708 h 1357700"/>
              <a:gd name="connsiteX80" fmla="*/ 5537768 w 10678681"/>
              <a:gd name="connsiteY80" fmla="*/ 1190202 h 1357700"/>
              <a:gd name="connsiteX81" fmla="*/ 5488513 w 10678681"/>
              <a:gd name="connsiteY81" fmla="*/ 1205367 h 1357700"/>
              <a:gd name="connsiteX82" fmla="*/ 5402905 w 10678681"/>
              <a:gd name="connsiteY82" fmla="*/ 1241191 h 1357700"/>
              <a:gd name="connsiteX83" fmla="*/ 5285593 w 10678681"/>
              <a:gd name="connsiteY83" fmla="*/ 1273569 h 1357700"/>
              <a:gd name="connsiteX84" fmla="*/ 5192893 w 10678681"/>
              <a:gd name="connsiteY84" fmla="*/ 1247188 h 1357700"/>
              <a:gd name="connsiteX85" fmla="*/ 5186475 w 10678681"/>
              <a:gd name="connsiteY85" fmla="*/ 1257028 h 1357700"/>
              <a:gd name="connsiteX86" fmla="*/ 5126038 w 10678681"/>
              <a:gd name="connsiteY86" fmla="*/ 1263189 h 1357700"/>
              <a:gd name="connsiteX87" fmla="*/ 4905913 w 10678681"/>
              <a:gd name="connsiteY87" fmla="*/ 1224477 h 1357700"/>
              <a:gd name="connsiteX88" fmla="*/ 4788036 w 10678681"/>
              <a:gd name="connsiteY88" fmla="*/ 1238182 h 1357700"/>
              <a:gd name="connsiteX89" fmla="*/ 4747555 w 10678681"/>
              <a:gd name="connsiteY89" fmla="*/ 1252768 h 1357700"/>
              <a:gd name="connsiteX90" fmla="*/ 4679644 w 10678681"/>
              <a:gd name="connsiteY90" fmla="*/ 1276603 h 1357700"/>
              <a:gd name="connsiteX91" fmla="*/ 4632222 w 10678681"/>
              <a:gd name="connsiteY91" fmla="*/ 1318360 h 1357700"/>
              <a:gd name="connsiteX92" fmla="*/ 4617358 w 10678681"/>
              <a:gd name="connsiteY92" fmla="*/ 1327690 h 1357700"/>
              <a:gd name="connsiteX93" fmla="*/ 4589102 w 10678681"/>
              <a:gd name="connsiteY93" fmla="*/ 1321223 h 1357700"/>
              <a:gd name="connsiteX94" fmla="*/ 4578184 w 10678681"/>
              <a:gd name="connsiteY94" fmla="*/ 1326745 h 1357700"/>
              <a:gd name="connsiteX95" fmla="*/ 4574270 w 10678681"/>
              <a:gd name="connsiteY95" fmla="*/ 1325878 h 1357700"/>
              <a:gd name="connsiteX96" fmla="*/ 4564919 w 10678681"/>
              <a:gd name="connsiteY96" fmla="*/ 1325507 h 1357700"/>
              <a:gd name="connsiteX97" fmla="*/ 4566586 w 10678681"/>
              <a:gd name="connsiteY97" fmla="*/ 1316963 h 1357700"/>
              <a:gd name="connsiteX98" fmla="*/ 4556303 w 10678681"/>
              <a:gd name="connsiteY98" fmla="*/ 1300262 h 1357700"/>
              <a:gd name="connsiteX99" fmla="*/ 4502358 w 10678681"/>
              <a:gd name="connsiteY99" fmla="*/ 1302558 h 1357700"/>
              <a:gd name="connsiteX100" fmla="*/ 4498919 w 10678681"/>
              <a:gd name="connsiteY100" fmla="*/ 1312115 h 1357700"/>
              <a:gd name="connsiteX101" fmla="*/ 4492075 w 10678681"/>
              <a:gd name="connsiteY101" fmla="*/ 1313357 h 1357700"/>
              <a:gd name="connsiteX102" fmla="*/ 4487466 w 10678681"/>
              <a:gd name="connsiteY102" fmla="*/ 1304102 h 1357700"/>
              <a:gd name="connsiteX103" fmla="*/ 4398292 w 10678681"/>
              <a:gd name="connsiteY103" fmla="*/ 1278410 h 1357700"/>
              <a:gd name="connsiteX104" fmla="*/ 4278026 w 10678681"/>
              <a:gd name="connsiteY104" fmla="*/ 1259803 h 1357700"/>
              <a:gd name="connsiteX105" fmla="*/ 4188995 w 10678681"/>
              <a:gd name="connsiteY105" fmla="*/ 1296718 h 1357700"/>
              <a:gd name="connsiteX106" fmla="*/ 4181483 w 10678681"/>
              <a:gd name="connsiteY106" fmla="*/ 1287686 h 1357700"/>
              <a:gd name="connsiteX107" fmla="*/ 4120739 w 10678681"/>
              <a:gd name="connsiteY107" fmla="*/ 1288549 h 1357700"/>
              <a:gd name="connsiteX108" fmla="*/ 3906561 w 10678681"/>
              <a:gd name="connsiteY108" fmla="*/ 1352435 h 1357700"/>
              <a:gd name="connsiteX109" fmla="*/ 3787890 w 10678681"/>
              <a:gd name="connsiteY109" fmla="*/ 1352442 h 1357700"/>
              <a:gd name="connsiteX110" fmla="*/ 3745993 w 10678681"/>
              <a:gd name="connsiteY110" fmla="*/ 1342630 h 1357700"/>
              <a:gd name="connsiteX111" fmla="*/ 3675785 w 10678681"/>
              <a:gd name="connsiteY111" fmla="*/ 1326802 h 1357700"/>
              <a:gd name="connsiteX112" fmla="*/ 3623856 w 10678681"/>
              <a:gd name="connsiteY112" fmla="*/ 1290804 h 1357700"/>
              <a:gd name="connsiteX113" fmla="*/ 3564933 w 10678681"/>
              <a:gd name="connsiteY113" fmla="*/ 1287147 h 1357700"/>
              <a:gd name="connsiteX114" fmla="*/ 3550537 w 10678681"/>
              <a:gd name="connsiteY114" fmla="*/ 1317552 h 1357700"/>
              <a:gd name="connsiteX115" fmla="*/ 3487736 w 10678681"/>
              <a:gd name="connsiteY115" fmla="*/ 1303493 h 1357700"/>
              <a:gd name="connsiteX116" fmla="*/ 3392548 w 10678681"/>
              <a:gd name="connsiteY116" fmla="*/ 1278741 h 1357700"/>
              <a:gd name="connsiteX117" fmla="*/ 3337466 w 10678681"/>
              <a:gd name="connsiteY117" fmla="*/ 1272537 h 1357700"/>
              <a:gd name="connsiteX118" fmla="*/ 3187206 w 10678681"/>
              <a:gd name="connsiteY118" fmla="*/ 1246821 h 1357700"/>
              <a:gd name="connsiteX119" fmla="*/ 3036856 w 10678681"/>
              <a:gd name="connsiteY119" fmla="*/ 1214383 h 1357700"/>
              <a:gd name="connsiteX120" fmla="*/ 2948654 w 10678681"/>
              <a:gd name="connsiteY120" fmla="*/ 1157455 h 1357700"/>
              <a:gd name="connsiteX121" fmla="*/ 2824973 w 10678681"/>
              <a:gd name="connsiteY121" fmla="*/ 1134864 h 1357700"/>
              <a:gd name="connsiteX122" fmla="*/ 2804398 w 10678681"/>
              <a:gd name="connsiteY122" fmla="*/ 1125556 h 1357700"/>
              <a:gd name="connsiteX123" fmla="*/ 2775396 w 10678681"/>
              <a:gd name="connsiteY123" fmla="*/ 1130148 h 1357700"/>
              <a:gd name="connsiteX124" fmla="*/ 2659096 w 10678681"/>
              <a:gd name="connsiteY124" fmla="*/ 1150294 h 1357700"/>
              <a:gd name="connsiteX125" fmla="*/ 2567088 w 10678681"/>
              <a:gd name="connsiteY125" fmla="*/ 1181781 h 1357700"/>
              <a:gd name="connsiteX126" fmla="*/ 2454501 w 10678681"/>
              <a:gd name="connsiteY126" fmla="*/ 1155455 h 1357700"/>
              <a:gd name="connsiteX127" fmla="*/ 2385161 w 10678681"/>
              <a:gd name="connsiteY127" fmla="*/ 1161312 h 1357700"/>
              <a:gd name="connsiteX128" fmla="*/ 2270528 w 10678681"/>
              <a:gd name="connsiteY128" fmla="*/ 1204338 h 1357700"/>
              <a:gd name="connsiteX129" fmla="*/ 2121820 w 10678681"/>
              <a:gd name="connsiteY129" fmla="*/ 1187078 h 1357700"/>
              <a:gd name="connsiteX130" fmla="*/ 2092716 w 10678681"/>
              <a:gd name="connsiteY130" fmla="*/ 1139224 h 1357700"/>
              <a:gd name="connsiteX131" fmla="*/ 2052449 w 10678681"/>
              <a:gd name="connsiteY131" fmla="*/ 1109687 h 1357700"/>
              <a:gd name="connsiteX132" fmla="*/ 2032607 w 10678681"/>
              <a:gd name="connsiteY132" fmla="*/ 1175477 h 1357700"/>
              <a:gd name="connsiteX133" fmla="*/ 1901837 w 10678681"/>
              <a:gd name="connsiteY133" fmla="*/ 1221762 h 1357700"/>
              <a:gd name="connsiteX134" fmla="*/ 1836762 w 10678681"/>
              <a:gd name="connsiteY134" fmla="*/ 1237387 h 1357700"/>
              <a:gd name="connsiteX135" fmla="*/ 1735877 w 10678681"/>
              <a:gd name="connsiteY135" fmla="*/ 1246527 h 1357700"/>
              <a:gd name="connsiteX136" fmla="*/ 1705069 w 10678681"/>
              <a:gd name="connsiteY136" fmla="*/ 1251989 h 1357700"/>
              <a:gd name="connsiteX137" fmla="*/ 1397689 w 10678681"/>
              <a:gd name="connsiteY137" fmla="*/ 1336144 h 1357700"/>
              <a:gd name="connsiteX138" fmla="*/ 1220734 w 10678681"/>
              <a:gd name="connsiteY138" fmla="*/ 1257811 h 1357700"/>
              <a:gd name="connsiteX139" fmla="*/ 1021737 w 10678681"/>
              <a:gd name="connsiteY139" fmla="*/ 1238739 h 1357700"/>
              <a:gd name="connsiteX140" fmla="*/ 959820 w 10678681"/>
              <a:gd name="connsiteY140" fmla="*/ 1275863 h 1357700"/>
              <a:gd name="connsiteX141" fmla="*/ 929137 w 10678681"/>
              <a:gd name="connsiteY141" fmla="*/ 1273957 h 1357700"/>
              <a:gd name="connsiteX142" fmla="*/ 878849 w 10678681"/>
              <a:gd name="connsiteY142" fmla="*/ 1266740 h 1357700"/>
              <a:gd name="connsiteX143" fmla="*/ 800667 w 10678681"/>
              <a:gd name="connsiteY143" fmla="*/ 1282041 h 1357700"/>
              <a:gd name="connsiteX144" fmla="*/ 644906 w 10678681"/>
              <a:gd name="connsiteY144" fmla="*/ 1273685 h 1357700"/>
              <a:gd name="connsiteX145" fmla="*/ 379869 w 10678681"/>
              <a:gd name="connsiteY145" fmla="*/ 1339165 h 1357700"/>
              <a:gd name="connsiteX146" fmla="*/ 137696 w 10678681"/>
              <a:gd name="connsiteY146" fmla="*/ 1319217 h 1357700"/>
              <a:gd name="connsiteX147" fmla="*/ 54250 w 10678681"/>
              <a:gd name="connsiteY147" fmla="*/ 1315838 h 1357700"/>
              <a:gd name="connsiteX148" fmla="*/ 28042 w 10678681"/>
              <a:gd name="connsiteY148" fmla="*/ 1297822 h 1357700"/>
              <a:gd name="connsiteX149" fmla="*/ 0 w 10678681"/>
              <a:gd name="connsiteY149" fmla="*/ 1294612 h 1357700"/>
              <a:gd name="connsiteX150" fmla="*/ 0 w 10678681"/>
              <a:gd name="connsiteY150"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98313 w 10678681"/>
              <a:gd name="connsiteY65" fmla="*/ 1063249 h 1357700"/>
              <a:gd name="connsiteX66" fmla="*/ 6550218 w 10678681"/>
              <a:gd name="connsiteY66" fmla="*/ 1026825 h 1357700"/>
              <a:gd name="connsiteX67" fmla="*/ 6437450 w 10678681"/>
              <a:gd name="connsiteY67" fmla="*/ 1101075 h 1357700"/>
              <a:gd name="connsiteX68" fmla="*/ 6327795 w 10678681"/>
              <a:gd name="connsiteY68" fmla="*/ 1088142 h 1357700"/>
              <a:gd name="connsiteX69" fmla="*/ 6136549 w 10678681"/>
              <a:gd name="connsiteY69" fmla="*/ 1100268 h 1357700"/>
              <a:gd name="connsiteX70" fmla="*/ 6004655 w 10678681"/>
              <a:gd name="connsiteY70" fmla="*/ 1114946 h 1357700"/>
              <a:gd name="connsiteX71" fmla="*/ 5936643 w 10678681"/>
              <a:gd name="connsiteY71" fmla="*/ 1095428 h 1357700"/>
              <a:gd name="connsiteX72" fmla="*/ 5912484 w 10678681"/>
              <a:gd name="connsiteY72" fmla="*/ 1112624 h 1357700"/>
              <a:gd name="connsiteX73" fmla="*/ 5908387 w 10678681"/>
              <a:gd name="connsiteY73" fmla="*/ 1116018 h 1357700"/>
              <a:gd name="connsiteX74" fmla="*/ 5890495 w 10678681"/>
              <a:gd name="connsiteY74" fmla="*/ 1120268 h 1357700"/>
              <a:gd name="connsiteX75" fmla="*/ 5887318 w 10678681"/>
              <a:gd name="connsiteY75" fmla="*/ 1133134 h 1357700"/>
              <a:gd name="connsiteX76" fmla="*/ 5861726 w 10678681"/>
              <a:gd name="connsiteY76" fmla="*/ 1147891 h 1357700"/>
              <a:gd name="connsiteX77" fmla="*/ 5805823 w 10678681"/>
              <a:gd name="connsiteY77" fmla="*/ 1152457 h 1357700"/>
              <a:gd name="connsiteX78" fmla="*/ 5667391 w 10678681"/>
              <a:gd name="connsiteY78" fmla="*/ 1161093 h 1357700"/>
              <a:gd name="connsiteX79" fmla="*/ 5572219 w 10678681"/>
              <a:gd name="connsiteY79" fmla="*/ 1173708 h 1357700"/>
              <a:gd name="connsiteX80" fmla="*/ 5537768 w 10678681"/>
              <a:gd name="connsiteY80" fmla="*/ 1190202 h 1357700"/>
              <a:gd name="connsiteX81" fmla="*/ 5488513 w 10678681"/>
              <a:gd name="connsiteY81" fmla="*/ 1205367 h 1357700"/>
              <a:gd name="connsiteX82" fmla="*/ 5402905 w 10678681"/>
              <a:gd name="connsiteY82" fmla="*/ 1241191 h 1357700"/>
              <a:gd name="connsiteX83" fmla="*/ 5285593 w 10678681"/>
              <a:gd name="connsiteY83" fmla="*/ 1273569 h 1357700"/>
              <a:gd name="connsiteX84" fmla="*/ 5192893 w 10678681"/>
              <a:gd name="connsiteY84" fmla="*/ 1247188 h 1357700"/>
              <a:gd name="connsiteX85" fmla="*/ 5186475 w 10678681"/>
              <a:gd name="connsiteY85" fmla="*/ 1257028 h 1357700"/>
              <a:gd name="connsiteX86" fmla="*/ 5126038 w 10678681"/>
              <a:gd name="connsiteY86" fmla="*/ 1263189 h 1357700"/>
              <a:gd name="connsiteX87" fmla="*/ 4905913 w 10678681"/>
              <a:gd name="connsiteY87" fmla="*/ 1224477 h 1357700"/>
              <a:gd name="connsiteX88" fmla="*/ 4788036 w 10678681"/>
              <a:gd name="connsiteY88" fmla="*/ 1238182 h 1357700"/>
              <a:gd name="connsiteX89" fmla="*/ 4747555 w 10678681"/>
              <a:gd name="connsiteY89" fmla="*/ 1252768 h 1357700"/>
              <a:gd name="connsiteX90" fmla="*/ 4679644 w 10678681"/>
              <a:gd name="connsiteY90" fmla="*/ 1276603 h 1357700"/>
              <a:gd name="connsiteX91" fmla="*/ 4632222 w 10678681"/>
              <a:gd name="connsiteY91" fmla="*/ 1318360 h 1357700"/>
              <a:gd name="connsiteX92" fmla="*/ 4617358 w 10678681"/>
              <a:gd name="connsiteY92" fmla="*/ 1327690 h 1357700"/>
              <a:gd name="connsiteX93" fmla="*/ 4589102 w 10678681"/>
              <a:gd name="connsiteY93" fmla="*/ 1321223 h 1357700"/>
              <a:gd name="connsiteX94" fmla="*/ 4578184 w 10678681"/>
              <a:gd name="connsiteY94" fmla="*/ 1326745 h 1357700"/>
              <a:gd name="connsiteX95" fmla="*/ 4574270 w 10678681"/>
              <a:gd name="connsiteY95" fmla="*/ 1325878 h 1357700"/>
              <a:gd name="connsiteX96" fmla="*/ 4564919 w 10678681"/>
              <a:gd name="connsiteY96" fmla="*/ 1325507 h 1357700"/>
              <a:gd name="connsiteX97" fmla="*/ 4566586 w 10678681"/>
              <a:gd name="connsiteY97" fmla="*/ 1316963 h 1357700"/>
              <a:gd name="connsiteX98" fmla="*/ 4556303 w 10678681"/>
              <a:gd name="connsiteY98" fmla="*/ 1300262 h 1357700"/>
              <a:gd name="connsiteX99" fmla="*/ 4502358 w 10678681"/>
              <a:gd name="connsiteY99" fmla="*/ 1302558 h 1357700"/>
              <a:gd name="connsiteX100" fmla="*/ 4498919 w 10678681"/>
              <a:gd name="connsiteY100" fmla="*/ 1312115 h 1357700"/>
              <a:gd name="connsiteX101" fmla="*/ 4492075 w 10678681"/>
              <a:gd name="connsiteY101" fmla="*/ 1313357 h 1357700"/>
              <a:gd name="connsiteX102" fmla="*/ 4487466 w 10678681"/>
              <a:gd name="connsiteY102" fmla="*/ 1304102 h 1357700"/>
              <a:gd name="connsiteX103" fmla="*/ 4398292 w 10678681"/>
              <a:gd name="connsiteY103" fmla="*/ 1278410 h 1357700"/>
              <a:gd name="connsiteX104" fmla="*/ 4278026 w 10678681"/>
              <a:gd name="connsiteY104" fmla="*/ 1259803 h 1357700"/>
              <a:gd name="connsiteX105" fmla="*/ 4188995 w 10678681"/>
              <a:gd name="connsiteY105" fmla="*/ 1296718 h 1357700"/>
              <a:gd name="connsiteX106" fmla="*/ 4181483 w 10678681"/>
              <a:gd name="connsiteY106" fmla="*/ 1287686 h 1357700"/>
              <a:gd name="connsiteX107" fmla="*/ 4120739 w 10678681"/>
              <a:gd name="connsiteY107" fmla="*/ 1288549 h 1357700"/>
              <a:gd name="connsiteX108" fmla="*/ 3906561 w 10678681"/>
              <a:gd name="connsiteY108" fmla="*/ 1352435 h 1357700"/>
              <a:gd name="connsiteX109" fmla="*/ 3787890 w 10678681"/>
              <a:gd name="connsiteY109" fmla="*/ 1352442 h 1357700"/>
              <a:gd name="connsiteX110" fmla="*/ 3745993 w 10678681"/>
              <a:gd name="connsiteY110" fmla="*/ 1342630 h 1357700"/>
              <a:gd name="connsiteX111" fmla="*/ 3675785 w 10678681"/>
              <a:gd name="connsiteY111" fmla="*/ 1326802 h 1357700"/>
              <a:gd name="connsiteX112" fmla="*/ 3623856 w 10678681"/>
              <a:gd name="connsiteY112" fmla="*/ 1290804 h 1357700"/>
              <a:gd name="connsiteX113" fmla="*/ 3564933 w 10678681"/>
              <a:gd name="connsiteY113" fmla="*/ 1287147 h 1357700"/>
              <a:gd name="connsiteX114" fmla="*/ 3550537 w 10678681"/>
              <a:gd name="connsiteY114" fmla="*/ 1317552 h 1357700"/>
              <a:gd name="connsiteX115" fmla="*/ 3487736 w 10678681"/>
              <a:gd name="connsiteY115" fmla="*/ 1303493 h 1357700"/>
              <a:gd name="connsiteX116" fmla="*/ 3392548 w 10678681"/>
              <a:gd name="connsiteY116" fmla="*/ 1278741 h 1357700"/>
              <a:gd name="connsiteX117" fmla="*/ 3337466 w 10678681"/>
              <a:gd name="connsiteY117" fmla="*/ 1272537 h 1357700"/>
              <a:gd name="connsiteX118" fmla="*/ 3187206 w 10678681"/>
              <a:gd name="connsiteY118" fmla="*/ 1246821 h 1357700"/>
              <a:gd name="connsiteX119" fmla="*/ 3036856 w 10678681"/>
              <a:gd name="connsiteY119" fmla="*/ 1214383 h 1357700"/>
              <a:gd name="connsiteX120" fmla="*/ 2948654 w 10678681"/>
              <a:gd name="connsiteY120" fmla="*/ 1157455 h 1357700"/>
              <a:gd name="connsiteX121" fmla="*/ 2824973 w 10678681"/>
              <a:gd name="connsiteY121" fmla="*/ 1134864 h 1357700"/>
              <a:gd name="connsiteX122" fmla="*/ 2804398 w 10678681"/>
              <a:gd name="connsiteY122" fmla="*/ 1125556 h 1357700"/>
              <a:gd name="connsiteX123" fmla="*/ 2775396 w 10678681"/>
              <a:gd name="connsiteY123" fmla="*/ 1130148 h 1357700"/>
              <a:gd name="connsiteX124" fmla="*/ 2659096 w 10678681"/>
              <a:gd name="connsiteY124" fmla="*/ 1150294 h 1357700"/>
              <a:gd name="connsiteX125" fmla="*/ 2567088 w 10678681"/>
              <a:gd name="connsiteY125" fmla="*/ 1181781 h 1357700"/>
              <a:gd name="connsiteX126" fmla="*/ 2454501 w 10678681"/>
              <a:gd name="connsiteY126" fmla="*/ 1155455 h 1357700"/>
              <a:gd name="connsiteX127" fmla="*/ 2385161 w 10678681"/>
              <a:gd name="connsiteY127" fmla="*/ 1161312 h 1357700"/>
              <a:gd name="connsiteX128" fmla="*/ 2270528 w 10678681"/>
              <a:gd name="connsiteY128" fmla="*/ 1204338 h 1357700"/>
              <a:gd name="connsiteX129" fmla="*/ 2121820 w 10678681"/>
              <a:gd name="connsiteY129" fmla="*/ 1187078 h 1357700"/>
              <a:gd name="connsiteX130" fmla="*/ 2092716 w 10678681"/>
              <a:gd name="connsiteY130" fmla="*/ 1139224 h 1357700"/>
              <a:gd name="connsiteX131" fmla="*/ 2052449 w 10678681"/>
              <a:gd name="connsiteY131" fmla="*/ 1109687 h 1357700"/>
              <a:gd name="connsiteX132" fmla="*/ 2032607 w 10678681"/>
              <a:gd name="connsiteY132" fmla="*/ 1175477 h 1357700"/>
              <a:gd name="connsiteX133" fmla="*/ 1901837 w 10678681"/>
              <a:gd name="connsiteY133" fmla="*/ 1221762 h 1357700"/>
              <a:gd name="connsiteX134" fmla="*/ 1836762 w 10678681"/>
              <a:gd name="connsiteY134" fmla="*/ 1237387 h 1357700"/>
              <a:gd name="connsiteX135" fmla="*/ 1735877 w 10678681"/>
              <a:gd name="connsiteY135" fmla="*/ 1246527 h 1357700"/>
              <a:gd name="connsiteX136" fmla="*/ 1705069 w 10678681"/>
              <a:gd name="connsiteY136" fmla="*/ 1251989 h 1357700"/>
              <a:gd name="connsiteX137" fmla="*/ 1397689 w 10678681"/>
              <a:gd name="connsiteY137" fmla="*/ 1336144 h 1357700"/>
              <a:gd name="connsiteX138" fmla="*/ 1220734 w 10678681"/>
              <a:gd name="connsiteY138" fmla="*/ 1257811 h 1357700"/>
              <a:gd name="connsiteX139" fmla="*/ 1021737 w 10678681"/>
              <a:gd name="connsiteY139" fmla="*/ 1238739 h 1357700"/>
              <a:gd name="connsiteX140" fmla="*/ 959820 w 10678681"/>
              <a:gd name="connsiteY140" fmla="*/ 1275863 h 1357700"/>
              <a:gd name="connsiteX141" fmla="*/ 929137 w 10678681"/>
              <a:gd name="connsiteY141" fmla="*/ 1273957 h 1357700"/>
              <a:gd name="connsiteX142" fmla="*/ 878849 w 10678681"/>
              <a:gd name="connsiteY142" fmla="*/ 1266740 h 1357700"/>
              <a:gd name="connsiteX143" fmla="*/ 800667 w 10678681"/>
              <a:gd name="connsiteY143" fmla="*/ 1282041 h 1357700"/>
              <a:gd name="connsiteX144" fmla="*/ 644906 w 10678681"/>
              <a:gd name="connsiteY144" fmla="*/ 1273685 h 1357700"/>
              <a:gd name="connsiteX145" fmla="*/ 379869 w 10678681"/>
              <a:gd name="connsiteY145" fmla="*/ 1339165 h 1357700"/>
              <a:gd name="connsiteX146" fmla="*/ 137696 w 10678681"/>
              <a:gd name="connsiteY146" fmla="*/ 1319217 h 1357700"/>
              <a:gd name="connsiteX147" fmla="*/ 54250 w 10678681"/>
              <a:gd name="connsiteY147" fmla="*/ 1315838 h 1357700"/>
              <a:gd name="connsiteX148" fmla="*/ 28042 w 10678681"/>
              <a:gd name="connsiteY148" fmla="*/ 1297822 h 1357700"/>
              <a:gd name="connsiteX149" fmla="*/ 0 w 10678681"/>
              <a:gd name="connsiteY149" fmla="*/ 1294612 h 1357700"/>
              <a:gd name="connsiteX150" fmla="*/ 0 w 10678681"/>
              <a:gd name="connsiteY150"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98313 w 10678681"/>
              <a:gd name="connsiteY65" fmla="*/ 1063249 h 1357700"/>
              <a:gd name="connsiteX66" fmla="*/ 6550218 w 10678681"/>
              <a:gd name="connsiteY66" fmla="*/ 1026825 h 1357700"/>
              <a:gd name="connsiteX67" fmla="*/ 6437450 w 10678681"/>
              <a:gd name="connsiteY67" fmla="*/ 1101075 h 1357700"/>
              <a:gd name="connsiteX68" fmla="*/ 6327795 w 10678681"/>
              <a:gd name="connsiteY68" fmla="*/ 1088142 h 1357700"/>
              <a:gd name="connsiteX69" fmla="*/ 6136549 w 10678681"/>
              <a:gd name="connsiteY69" fmla="*/ 1100268 h 1357700"/>
              <a:gd name="connsiteX70" fmla="*/ 6004655 w 10678681"/>
              <a:gd name="connsiteY70" fmla="*/ 1114946 h 1357700"/>
              <a:gd name="connsiteX71" fmla="*/ 5936643 w 10678681"/>
              <a:gd name="connsiteY71" fmla="*/ 1095428 h 1357700"/>
              <a:gd name="connsiteX72" fmla="*/ 5912484 w 10678681"/>
              <a:gd name="connsiteY72" fmla="*/ 1112624 h 1357700"/>
              <a:gd name="connsiteX73" fmla="*/ 5908387 w 10678681"/>
              <a:gd name="connsiteY73" fmla="*/ 1116018 h 1357700"/>
              <a:gd name="connsiteX74" fmla="*/ 5890495 w 10678681"/>
              <a:gd name="connsiteY74" fmla="*/ 1120268 h 1357700"/>
              <a:gd name="connsiteX75" fmla="*/ 5887318 w 10678681"/>
              <a:gd name="connsiteY75" fmla="*/ 1133134 h 1357700"/>
              <a:gd name="connsiteX76" fmla="*/ 5861726 w 10678681"/>
              <a:gd name="connsiteY76" fmla="*/ 1147891 h 1357700"/>
              <a:gd name="connsiteX77" fmla="*/ 5805823 w 10678681"/>
              <a:gd name="connsiteY77" fmla="*/ 1152457 h 1357700"/>
              <a:gd name="connsiteX78" fmla="*/ 5689841 w 10678681"/>
              <a:gd name="connsiteY78" fmla="*/ 1176232 h 1357700"/>
              <a:gd name="connsiteX79" fmla="*/ 5572219 w 10678681"/>
              <a:gd name="connsiteY79" fmla="*/ 1173708 h 1357700"/>
              <a:gd name="connsiteX80" fmla="*/ 5537768 w 10678681"/>
              <a:gd name="connsiteY80" fmla="*/ 1190202 h 1357700"/>
              <a:gd name="connsiteX81" fmla="*/ 5488513 w 10678681"/>
              <a:gd name="connsiteY81" fmla="*/ 1205367 h 1357700"/>
              <a:gd name="connsiteX82" fmla="*/ 5402905 w 10678681"/>
              <a:gd name="connsiteY82" fmla="*/ 1241191 h 1357700"/>
              <a:gd name="connsiteX83" fmla="*/ 5285593 w 10678681"/>
              <a:gd name="connsiteY83" fmla="*/ 1273569 h 1357700"/>
              <a:gd name="connsiteX84" fmla="*/ 5192893 w 10678681"/>
              <a:gd name="connsiteY84" fmla="*/ 1247188 h 1357700"/>
              <a:gd name="connsiteX85" fmla="*/ 5186475 w 10678681"/>
              <a:gd name="connsiteY85" fmla="*/ 1257028 h 1357700"/>
              <a:gd name="connsiteX86" fmla="*/ 5126038 w 10678681"/>
              <a:gd name="connsiteY86" fmla="*/ 1263189 h 1357700"/>
              <a:gd name="connsiteX87" fmla="*/ 4905913 w 10678681"/>
              <a:gd name="connsiteY87" fmla="*/ 1224477 h 1357700"/>
              <a:gd name="connsiteX88" fmla="*/ 4788036 w 10678681"/>
              <a:gd name="connsiteY88" fmla="*/ 1238182 h 1357700"/>
              <a:gd name="connsiteX89" fmla="*/ 4747555 w 10678681"/>
              <a:gd name="connsiteY89" fmla="*/ 1252768 h 1357700"/>
              <a:gd name="connsiteX90" fmla="*/ 4679644 w 10678681"/>
              <a:gd name="connsiteY90" fmla="*/ 1276603 h 1357700"/>
              <a:gd name="connsiteX91" fmla="*/ 4632222 w 10678681"/>
              <a:gd name="connsiteY91" fmla="*/ 1318360 h 1357700"/>
              <a:gd name="connsiteX92" fmla="*/ 4617358 w 10678681"/>
              <a:gd name="connsiteY92" fmla="*/ 1327690 h 1357700"/>
              <a:gd name="connsiteX93" fmla="*/ 4589102 w 10678681"/>
              <a:gd name="connsiteY93" fmla="*/ 1321223 h 1357700"/>
              <a:gd name="connsiteX94" fmla="*/ 4578184 w 10678681"/>
              <a:gd name="connsiteY94" fmla="*/ 1326745 h 1357700"/>
              <a:gd name="connsiteX95" fmla="*/ 4574270 w 10678681"/>
              <a:gd name="connsiteY95" fmla="*/ 1325878 h 1357700"/>
              <a:gd name="connsiteX96" fmla="*/ 4564919 w 10678681"/>
              <a:gd name="connsiteY96" fmla="*/ 1325507 h 1357700"/>
              <a:gd name="connsiteX97" fmla="*/ 4566586 w 10678681"/>
              <a:gd name="connsiteY97" fmla="*/ 1316963 h 1357700"/>
              <a:gd name="connsiteX98" fmla="*/ 4556303 w 10678681"/>
              <a:gd name="connsiteY98" fmla="*/ 1300262 h 1357700"/>
              <a:gd name="connsiteX99" fmla="*/ 4502358 w 10678681"/>
              <a:gd name="connsiteY99" fmla="*/ 1302558 h 1357700"/>
              <a:gd name="connsiteX100" fmla="*/ 4498919 w 10678681"/>
              <a:gd name="connsiteY100" fmla="*/ 1312115 h 1357700"/>
              <a:gd name="connsiteX101" fmla="*/ 4492075 w 10678681"/>
              <a:gd name="connsiteY101" fmla="*/ 1313357 h 1357700"/>
              <a:gd name="connsiteX102" fmla="*/ 4487466 w 10678681"/>
              <a:gd name="connsiteY102" fmla="*/ 1304102 h 1357700"/>
              <a:gd name="connsiteX103" fmla="*/ 4398292 w 10678681"/>
              <a:gd name="connsiteY103" fmla="*/ 1278410 h 1357700"/>
              <a:gd name="connsiteX104" fmla="*/ 4278026 w 10678681"/>
              <a:gd name="connsiteY104" fmla="*/ 1259803 h 1357700"/>
              <a:gd name="connsiteX105" fmla="*/ 4188995 w 10678681"/>
              <a:gd name="connsiteY105" fmla="*/ 1296718 h 1357700"/>
              <a:gd name="connsiteX106" fmla="*/ 4181483 w 10678681"/>
              <a:gd name="connsiteY106" fmla="*/ 1287686 h 1357700"/>
              <a:gd name="connsiteX107" fmla="*/ 4120739 w 10678681"/>
              <a:gd name="connsiteY107" fmla="*/ 1288549 h 1357700"/>
              <a:gd name="connsiteX108" fmla="*/ 3906561 w 10678681"/>
              <a:gd name="connsiteY108" fmla="*/ 1352435 h 1357700"/>
              <a:gd name="connsiteX109" fmla="*/ 3787890 w 10678681"/>
              <a:gd name="connsiteY109" fmla="*/ 1352442 h 1357700"/>
              <a:gd name="connsiteX110" fmla="*/ 3745993 w 10678681"/>
              <a:gd name="connsiteY110" fmla="*/ 1342630 h 1357700"/>
              <a:gd name="connsiteX111" fmla="*/ 3675785 w 10678681"/>
              <a:gd name="connsiteY111" fmla="*/ 1326802 h 1357700"/>
              <a:gd name="connsiteX112" fmla="*/ 3623856 w 10678681"/>
              <a:gd name="connsiteY112" fmla="*/ 1290804 h 1357700"/>
              <a:gd name="connsiteX113" fmla="*/ 3564933 w 10678681"/>
              <a:gd name="connsiteY113" fmla="*/ 1287147 h 1357700"/>
              <a:gd name="connsiteX114" fmla="*/ 3550537 w 10678681"/>
              <a:gd name="connsiteY114" fmla="*/ 1317552 h 1357700"/>
              <a:gd name="connsiteX115" fmla="*/ 3487736 w 10678681"/>
              <a:gd name="connsiteY115" fmla="*/ 1303493 h 1357700"/>
              <a:gd name="connsiteX116" fmla="*/ 3392548 w 10678681"/>
              <a:gd name="connsiteY116" fmla="*/ 1278741 h 1357700"/>
              <a:gd name="connsiteX117" fmla="*/ 3337466 w 10678681"/>
              <a:gd name="connsiteY117" fmla="*/ 1272537 h 1357700"/>
              <a:gd name="connsiteX118" fmla="*/ 3187206 w 10678681"/>
              <a:gd name="connsiteY118" fmla="*/ 1246821 h 1357700"/>
              <a:gd name="connsiteX119" fmla="*/ 3036856 w 10678681"/>
              <a:gd name="connsiteY119" fmla="*/ 1214383 h 1357700"/>
              <a:gd name="connsiteX120" fmla="*/ 2948654 w 10678681"/>
              <a:gd name="connsiteY120" fmla="*/ 1157455 h 1357700"/>
              <a:gd name="connsiteX121" fmla="*/ 2824973 w 10678681"/>
              <a:gd name="connsiteY121" fmla="*/ 1134864 h 1357700"/>
              <a:gd name="connsiteX122" fmla="*/ 2804398 w 10678681"/>
              <a:gd name="connsiteY122" fmla="*/ 1125556 h 1357700"/>
              <a:gd name="connsiteX123" fmla="*/ 2775396 w 10678681"/>
              <a:gd name="connsiteY123" fmla="*/ 1130148 h 1357700"/>
              <a:gd name="connsiteX124" fmla="*/ 2659096 w 10678681"/>
              <a:gd name="connsiteY124" fmla="*/ 1150294 h 1357700"/>
              <a:gd name="connsiteX125" fmla="*/ 2567088 w 10678681"/>
              <a:gd name="connsiteY125" fmla="*/ 1181781 h 1357700"/>
              <a:gd name="connsiteX126" fmla="*/ 2454501 w 10678681"/>
              <a:gd name="connsiteY126" fmla="*/ 1155455 h 1357700"/>
              <a:gd name="connsiteX127" fmla="*/ 2385161 w 10678681"/>
              <a:gd name="connsiteY127" fmla="*/ 1161312 h 1357700"/>
              <a:gd name="connsiteX128" fmla="*/ 2270528 w 10678681"/>
              <a:gd name="connsiteY128" fmla="*/ 1204338 h 1357700"/>
              <a:gd name="connsiteX129" fmla="*/ 2121820 w 10678681"/>
              <a:gd name="connsiteY129" fmla="*/ 1187078 h 1357700"/>
              <a:gd name="connsiteX130" fmla="*/ 2092716 w 10678681"/>
              <a:gd name="connsiteY130" fmla="*/ 1139224 h 1357700"/>
              <a:gd name="connsiteX131" fmla="*/ 2052449 w 10678681"/>
              <a:gd name="connsiteY131" fmla="*/ 1109687 h 1357700"/>
              <a:gd name="connsiteX132" fmla="*/ 2032607 w 10678681"/>
              <a:gd name="connsiteY132" fmla="*/ 1175477 h 1357700"/>
              <a:gd name="connsiteX133" fmla="*/ 1901837 w 10678681"/>
              <a:gd name="connsiteY133" fmla="*/ 1221762 h 1357700"/>
              <a:gd name="connsiteX134" fmla="*/ 1836762 w 10678681"/>
              <a:gd name="connsiteY134" fmla="*/ 1237387 h 1357700"/>
              <a:gd name="connsiteX135" fmla="*/ 1735877 w 10678681"/>
              <a:gd name="connsiteY135" fmla="*/ 1246527 h 1357700"/>
              <a:gd name="connsiteX136" fmla="*/ 1705069 w 10678681"/>
              <a:gd name="connsiteY136" fmla="*/ 1251989 h 1357700"/>
              <a:gd name="connsiteX137" fmla="*/ 1397689 w 10678681"/>
              <a:gd name="connsiteY137" fmla="*/ 1336144 h 1357700"/>
              <a:gd name="connsiteX138" fmla="*/ 1220734 w 10678681"/>
              <a:gd name="connsiteY138" fmla="*/ 1257811 h 1357700"/>
              <a:gd name="connsiteX139" fmla="*/ 1021737 w 10678681"/>
              <a:gd name="connsiteY139" fmla="*/ 1238739 h 1357700"/>
              <a:gd name="connsiteX140" fmla="*/ 959820 w 10678681"/>
              <a:gd name="connsiteY140" fmla="*/ 1275863 h 1357700"/>
              <a:gd name="connsiteX141" fmla="*/ 929137 w 10678681"/>
              <a:gd name="connsiteY141" fmla="*/ 1273957 h 1357700"/>
              <a:gd name="connsiteX142" fmla="*/ 878849 w 10678681"/>
              <a:gd name="connsiteY142" fmla="*/ 1266740 h 1357700"/>
              <a:gd name="connsiteX143" fmla="*/ 800667 w 10678681"/>
              <a:gd name="connsiteY143" fmla="*/ 1282041 h 1357700"/>
              <a:gd name="connsiteX144" fmla="*/ 644906 w 10678681"/>
              <a:gd name="connsiteY144" fmla="*/ 1273685 h 1357700"/>
              <a:gd name="connsiteX145" fmla="*/ 379869 w 10678681"/>
              <a:gd name="connsiteY145" fmla="*/ 1339165 h 1357700"/>
              <a:gd name="connsiteX146" fmla="*/ 137696 w 10678681"/>
              <a:gd name="connsiteY146" fmla="*/ 1319217 h 1357700"/>
              <a:gd name="connsiteX147" fmla="*/ 54250 w 10678681"/>
              <a:gd name="connsiteY147" fmla="*/ 1315838 h 1357700"/>
              <a:gd name="connsiteX148" fmla="*/ 28042 w 10678681"/>
              <a:gd name="connsiteY148" fmla="*/ 1297822 h 1357700"/>
              <a:gd name="connsiteX149" fmla="*/ 0 w 10678681"/>
              <a:gd name="connsiteY149" fmla="*/ 1294612 h 1357700"/>
              <a:gd name="connsiteX150" fmla="*/ 0 w 10678681"/>
              <a:gd name="connsiteY150"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98313 w 10678681"/>
              <a:gd name="connsiteY65" fmla="*/ 1063249 h 1357700"/>
              <a:gd name="connsiteX66" fmla="*/ 6550218 w 10678681"/>
              <a:gd name="connsiteY66" fmla="*/ 1026825 h 1357700"/>
              <a:gd name="connsiteX67" fmla="*/ 6437450 w 10678681"/>
              <a:gd name="connsiteY67" fmla="*/ 1101075 h 1357700"/>
              <a:gd name="connsiteX68" fmla="*/ 6327795 w 10678681"/>
              <a:gd name="connsiteY68" fmla="*/ 1088142 h 1357700"/>
              <a:gd name="connsiteX69" fmla="*/ 6136549 w 10678681"/>
              <a:gd name="connsiteY69" fmla="*/ 1100268 h 1357700"/>
              <a:gd name="connsiteX70" fmla="*/ 6004655 w 10678681"/>
              <a:gd name="connsiteY70" fmla="*/ 1114946 h 1357700"/>
              <a:gd name="connsiteX71" fmla="*/ 5936643 w 10678681"/>
              <a:gd name="connsiteY71" fmla="*/ 1095428 h 1357700"/>
              <a:gd name="connsiteX72" fmla="*/ 5912484 w 10678681"/>
              <a:gd name="connsiteY72" fmla="*/ 1112624 h 1357700"/>
              <a:gd name="connsiteX73" fmla="*/ 5908387 w 10678681"/>
              <a:gd name="connsiteY73" fmla="*/ 1116018 h 1357700"/>
              <a:gd name="connsiteX74" fmla="*/ 5890495 w 10678681"/>
              <a:gd name="connsiteY74" fmla="*/ 1120268 h 1357700"/>
              <a:gd name="connsiteX75" fmla="*/ 5887318 w 10678681"/>
              <a:gd name="connsiteY75" fmla="*/ 1133134 h 1357700"/>
              <a:gd name="connsiteX76" fmla="*/ 5861726 w 10678681"/>
              <a:gd name="connsiteY76" fmla="*/ 1147891 h 1357700"/>
              <a:gd name="connsiteX77" fmla="*/ 5805823 w 10678681"/>
              <a:gd name="connsiteY77" fmla="*/ 1152457 h 1357700"/>
              <a:gd name="connsiteX78" fmla="*/ 5689841 w 10678681"/>
              <a:gd name="connsiteY78" fmla="*/ 1176232 h 1357700"/>
              <a:gd name="connsiteX79" fmla="*/ 5537768 w 10678681"/>
              <a:gd name="connsiteY79" fmla="*/ 1190202 h 1357700"/>
              <a:gd name="connsiteX80" fmla="*/ 5488513 w 10678681"/>
              <a:gd name="connsiteY80" fmla="*/ 1205367 h 1357700"/>
              <a:gd name="connsiteX81" fmla="*/ 5402905 w 10678681"/>
              <a:gd name="connsiteY81" fmla="*/ 1241191 h 1357700"/>
              <a:gd name="connsiteX82" fmla="*/ 5285593 w 10678681"/>
              <a:gd name="connsiteY82" fmla="*/ 1273569 h 1357700"/>
              <a:gd name="connsiteX83" fmla="*/ 5192893 w 10678681"/>
              <a:gd name="connsiteY83" fmla="*/ 1247188 h 1357700"/>
              <a:gd name="connsiteX84" fmla="*/ 5186475 w 10678681"/>
              <a:gd name="connsiteY84" fmla="*/ 1257028 h 1357700"/>
              <a:gd name="connsiteX85" fmla="*/ 5126038 w 10678681"/>
              <a:gd name="connsiteY85" fmla="*/ 1263189 h 1357700"/>
              <a:gd name="connsiteX86" fmla="*/ 4905913 w 10678681"/>
              <a:gd name="connsiteY86" fmla="*/ 1224477 h 1357700"/>
              <a:gd name="connsiteX87" fmla="*/ 4788036 w 10678681"/>
              <a:gd name="connsiteY87" fmla="*/ 1238182 h 1357700"/>
              <a:gd name="connsiteX88" fmla="*/ 4747555 w 10678681"/>
              <a:gd name="connsiteY88" fmla="*/ 1252768 h 1357700"/>
              <a:gd name="connsiteX89" fmla="*/ 4679644 w 10678681"/>
              <a:gd name="connsiteY89" fmla="*/ 1276603 h 1357700"/>
              <a:gd name="connsiteX90" fmla="*/ 4632222 w 10678681"/>
              <a:gd name="connsiteY90" fmla="*/ 1318360 h 1357700"/>
              <a:gd name="connsiteX91" fmla="*/ 4617358 w 10678681"/>
              <a:gd name="connsiteY91" fmla="*/ 1327690 h 1357700"/>
              <a:gd name="connsiteX92" fmla="*/ 4589102 w 10678681"/>
              <a:gd name="connsiteY92" fmla="*/ 1321223 h 1357700"/>
              <a:gd name="connsiteX93" fmla="*/ 4578184 w 10678681"/>
              <a:gd name="connsiteY93" fmla="*/ 1326745 h 1357700"/>
              <a:gd name="connsiteX94" fmla="*/ 4574270 w 10678681"/>
              <a:gd name="connsiteY94" fmla="*/ 1325878 h 1357700"/>
              <a:gd name="connsiteX95" fmla="*/ 4564919 w 10678681"/>
              <a:gd name="connsiteY95" fmla="*/ 1325507 h 1357700"/>
              <a:gd name="connsiteX96" fmla="*/ 4566586 w 10678681"/>
              <a:gd name="connsiteY96" fmla="*/ 1316963 h 1357700"/>
              <a:gd name="connsiteX97" fmla="*/ 4556303 w 10678681"/>
              <a:gd name="connsiteY97" fmla="*/ 1300262 h 1357700"/>
              <a:gd name="connsiteX98" fmla="*/ 4502358 w 10678681"/>
              <a:gd name="connsiteY98" fmla="*/ 1302558 h 1357700"/>
              <a:gd name="connsiteX99" fmla="*/ 4498919 w 10678681"/>
              <a:gd name="connsiteY99" fmla="*/ 1312115 h 1357700"/>
              <a:gd name="connsiteX100" fmla="*/ 4492075 w 10678681"/>
              <a:gd name="connsiteY100" fmla="*/ 1313357 h 1357700"/>
              <a:gd name="connsiteX101" fmla="*/ 4487466 w 10678681"/>
              <a:gd name="connsiteY101" fmla="*/ 1304102 h 1357700"/>
              <a:gd name="connsiteX102" fmla="*/ 4398292 w 10678681"/>
              <a:gd name="connsiteY102" fmla="*/ 1278410 h 1357700"/>
              <a:gd name="connsiteX103" fmla="*/ 4278026 w 10678681"/>
              <a:gd name="connsiteY103" fmla="*/ 1259803 h 1357700"/>
              <a:gd name="connsiteX104" fmla="*/ 4188995 w 10678681"/>
              <a:gd name="connsiteY104" fmla="*/ 1296718 h 1357700"/>
              <a:gd name="connsiteX105" fmla="*/ 4181483 w 10678681"/>
              <a:gd name="connsiteY105" fmla="*/ 1287686 h 1357700"/>
              <a:gd name="connsiteX106" fmla="*/ 4120739 w 10678681"/>
              <a:gd name="connsiteY106" fmla="*/ 1288549 h 1357700"/>
              <a:gd name="connsiteX107" fmla="*/ 3906561 w 10678681"/>
              <a:gd name="connsiteY107" fmla="*/ 1352435 h 1357700"/>
              <a:gd name="connsiteX108" fmla="*/ 3787890 w 10678681"/>
              <a:gd name="connsiteY108" fmla="*/ 1352442 h 1357700"/>
              <a:gd name="connsiteX109" fmla="*/ 3745993 w 10678681"/>
              <a:gd name="connsiteY109" fmla="*/ 1342630 h 1357700"/>
              <a:gd name="connsiteX110" fmla="*/ 3675785 w 10678681"/>
              <a:gd name="connsiteY110" fmla="*/ 1326802 h 1357700"/>
              <a:gd name="connsiteX111" fmla="*/ 3623856 w 10678681"/>
              <a:gd name="connsiteY111" fmla="*/ 1290804 h 1357700"/>
              <a:gd name="connsiteX112" fmla="*/ 3564933 w 10678681"/>
              <a:gd name="connsiteY112" fmla="*/ 1287147 h 1357700"/>
              <a:gd name="connsiteX113" fmla="*/ 3550537 w 10678681"/>
              <a:gd name="connsiteY113" fmla="*/ 1317552 h 1357700"/>
              <a:gd name="connsiteX114" fmla="*/ 3487736 w 10678681"/>
              <a:gd name="connsiteY114" fmla="*/ 1303493 h 1357700"/>
              <a:gd name="connsiteX115" fmla="*/ 3392548 w 10678681"/>
              <a:gd name="connsiteY115" fmla="*/ 1278741 h 1357700"/>
              <a:gd name="connsiteX116" fmla="*/ 3337466 w 10678681"/>
              <a:gd name="connsiteY116" fmla="*/ 1272537 h 1357700"/>
              <a:gd name="connsiteX117" fmla="*/ 3187206 w 10678681"/>
              <a:gd name="connsiteY117" fmla="*/ 1246821 h 1357700"/>
              <a:gd name="connsiteX118" fmla="*/ 3036856 w 10678681"/>
              <a:gd name="connsiteY118" fmla="*/ 1214383 h 1357700"/>
              <a:gd name="connsiteX119" fmla="*/ 2948654 w 10678681"/>
              <a:gd name="connsiteY119" fmla="*/ 1157455 h 1357700"/>
              <a:gd name="connsiteX120" fmla="*/ 2824973 w 10678681"/>
              <a:gd name="connsiteY120" fmla="*/ 1134864 h 1357700"/>
              <a:gd name="connsiteX121" fmla="*/ 2804398 w 10678681"/>
              <a:gd name="connsiteY121" fmla="*/ 1125556 h 1357700"/>
              <a:gd name="connsiteX122" fmla="*/ 2775396 w 10678681"/>
              <a:gd name="connsiteY122" fmla="*/ 1130148 h 1357700"/>
              <a:gd name="connsiteX123" fmla="*/ 2659096 w 10678681"/>
              <a:gd name="connsiteY123" fmla="*/ 1150294 h 1357700"/>
              <a:gd name="connsiteX124" fmla="*/ 2567088 w 10678681"/>
              <a:gd name="connsiteY124" fmla="*/ 1181781 h 1357700"/>
              <a:gd name="connsiteX125" fmla="*/ 2454501 w 10678681"/>
              <a:gd name="connsiteY125" fmla="*/ 1155455 h 1357700"/>
              <a:gd name="connsiteX126" fmla="*/ 2385161 w 10678681"/>
              <a:gd name="connsiteY126" fmla="*/ 1161312 h 1357700"/>
              <a:gd name="connsiteX127" fmla="*/ 2270528 w 10678681"/>
              <a:gd name="connsiteY127" fmla="*/ 1204338 h 1357700"/>
              <a:gd name="connsiteX128" fmla="*/ 2121820 w 10678681"/>
              <a:gd name="connsiteY128" fmla="*/ 1187078 h 1357700"/>
              <a:gd name="connsiteX129" fmla="*/ 2092716 w 10678681"/>
              <a:gd name="connsiteY129" fmla="*/ 1139224 h 1357700"/>
              <a:gd name="connsiteX130" fmla="*/ 2052449 w 10678681"/>
              <a:gd name="connsiteY130" fmla="*/ 1109687 h 1357700"/>
              <a:gd name="connsiteX131" fmla="*/ 2032607 w 10678681"/>
              <a:gd name="connsiteY131" fmla="*/ 1175477 h 1357700"/>
              <a:gd name="connsiteX132" fmla="*/ 1901837 w 10678681"/>
              <a:gd name="connsiteY132" fmla="*/ 1221762 h 1357700"/>
              <a:gd name="connsiteX133" fmla="*/ 1836762 w 10678681"/>
              <a:gd name="connsiteY133" fmla="*/ 1237387 h 1357700"/>
              <a:gd name="connsiteX134" fmla="*/ 1735877 w 10678681"/>
              <a:gd name="connsiteY134" fmla="*/ 1246527 h 1357700"/>
              <a:gd name="connsiteX135" fmla="*/ 1705069 w 10678681"/>
              <a:gd name="connsiteY135" fmla="*/ 1251989 h 1357700"/>
              <a:gd name="connsiteX136" fmla="*/ 1397689 w 10678681"/>
              <a:gd name="connsiteY136" fmla="*/ 1336144 h 1357700"/>
              <a:gd name="connsiteX137" fmla="*/ 1220734 w 10678681"/>
              <a:gd name="connsiteY137" fmla="*/ 1257811 h 1357700"/>
              <a:gd name="connsiteX138" fmla="*/ 1021737 w 10678681"/>
              <a:gd name="connsiteY138" fmla="*/ 1238739 h 1357700"/>
              <a:gd name="connsiteX139" fmla="*/ 959820 w 10678681"/>
              <a:gd name="connsiteY139" fmla="*/ 1275863 h 1357700"/>
              <a:gd name="connsiteX140" fmla="*/ 929137 w 10678681"/>
              <a:gd name="connsiteY140" fmla="*/ 1273957 h 1357700"/>
              <a:gd name="connsiteX141" fmla="*/ 878849 w 10678681"/>
              <a:gd name="connsiteY141" fmla="*/ 1266740 h 1357700"/>
              <a:gd name="connsiteX142" fmla="*/ 800667 w 10678681"/>
              <a:gd name="connsiteY142" fmla="*/ 1282041 h 1357700"/>
              <a:gd name="connsiteX143" fmla="*/ 644906 w 10678681"/>
              <a:gd name="connsiteY143" fmla="*/ 1273685 h 1357700"/>
              <a:gd name="connsiteX144" fmla="*/ 379869 w 10678681"/>
              <a:gd name="connsiteY144" fmla="*/ 1339165 h 1357700"/>
              <a:gd name="connsiteX145" fmla="*/ 137696 w 10678681"/>
              <a:gd name="connsiteY145" fmla="*/ 1319217 h 1357700"/>
              <a:gd name="connsiteX146" fmla="*/ 54250 w 10678681"/>
              <a:gd name="connsiteY146" fmla="*/ 1315838 h 1357700"/>
              <a:gd name="connsiteX147" fmla="*/ 28042 w 10678681"/>
              <a:gd name="connsiteY147" fmla="*/ 1297822 h 1357700"/>
              <a:gd name="connsiteX148" fmla="*/ 0 w 10678681"/>
              <a:gd name="connsiteY148" fmla="*/ 1294612 h 1357700"/>
              <a:gd name="connsiteX149" fmla="*/ 0 w 10678681"/>
              <a:gd name="connsiteY149"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98313 w 10678681"/>
              <a:gd name="connsiteY65" fmla="*/ 1063249 h 1357700"/>
              <a:gd name="connsiteX66" fmla="*/ 6550218 w 10678681"/>
              <a:gd name="connsiteY66" fmla="*/ 1026825 h 1357700"/>
              <a:gd name="connsiteX67" fmla="*/ 6437450 w 10678681"/>
              <a:gd name="connsiteY67" fmla="*/ 1101075 h 1357700"/>
              <a:gd name="connsiteX68" fmla="*/ 6327795 w 10678681"/>
              <a:gd name="connsiteY68" fmla="*/ 1088142 h 1357700"/>
              <a:gd name="connsiteX69" fmla="*/ 6136549 w 10678681"/>
              <a:gd name="connsiteY69" fmla="*/ 1100268 h 1357700"/>
              <a:gd name="connsiteX70" fmla="*/ 6004655 w 10678681"/>
              <a:gd name="connsiteY70" fmla="*/ 1114946 h 1357700"/>
              <a:gd name="connsiteX71" fmla="*/ 5936643 w 10678681"/>
              <a:gd name="connsiteY71" fmla="*/ 1095428 h 1357700"/>
              <a:gd name="connsiteX72" fmla="*/ 5912484 w 10678681"/>
              <a:gd name="connsiteY72" fmla="*/ 1112624 h 1357700"/>
              <a:gd name="connsiteX73" fmla="*/ 5908387 w 10678681"/>
              <a:gd name="connsiteY73" fmla="*/ 1116018 h 1357700"/>
              <a:gd name="connsiteX74" fmla="*/ 5890495 w 10678681"/>
              <a:gd name="connsiteY74" fmla="*/ 1120268 h 1357700"/>
              <a:gd name="connsiteX75" fmla="*/ 5887318 w 10678681"/>
              <a:gd name="connsiteY75" fmla="*/ 1133134 h 1357700"/>
              <a:gd name="connsiteX76" fmla="*/ 5861726 w 10678681"/>
              <a:gd name="connsiteY76" fmla="*/ 1147891 h 1357700"/>
              <a:gd name="connsiteX77" fmla="*/ 5805823 w 10678681"/>
              <a:gd name="connsiteY77" fmla="*/ 1152457 h 1357700"/>
              <a:gd name="connsiteX78" fmla="*/ 5689841 w 10678681"/>
              <a:gd name="connsiteY78" fmla="*/ 1176232 h 1357700"/>
              <a:gd name="connsiteX79" fmla="*/ 5605119 w 10678681"/>
              <a:gd name="connsiteY79" fmla="*/ 1190202 h 1357700"/>
              <a:gd name="connsiteX80" fmla="*/ 5488513 w 10678681"/>
              <a:gd name="connsiteY80" fmla="*/ 1205367 h 1357700"/>
              <a:gd name="connsiteX81" fmla="*/ 5402905 w 10678681"/>
              <a:gd name="connsiteY81" fmla="*/ 1241191 h 1357700"/>
              <a:gd name="connsiteX82" fmla="*/ 5285593 w 10678681"/>
              <a:gd name="connsiteY82" fmla="*/ 1273569 h 1357700"/>
              <a:gd name="connsiteX83" fmla="*/ 5192893 w 10678681"/>
              <a:gd name="connsiteY83" fmla="*/ 1247188 h 1357700"/>
              <a:gd name="connsiteX84" fmla="*/ 5186475 w 10678681"/>
              <a:gd name="connsiteY84" fmla="*/ 1257028 h 1357700"/>
              <a:gd name="connsiteX85" fmla="*/ 5126038 w 10678681"/>
              <a:gd name="connsiteY85" fmla="*/ 1263189 h 1357700"/>
              <a:gd name="connsiteX86" fmla="*/ 4905913 w 10678681"/>
              <a:gd name="connsiteY86" fmla="*/ 1224477 h 1357700"/>
              <a:gd name="connsiteX87" fmla="*/ 4788036 w 10678681"/>
              <a:gd name="connsiteY87" fmla="*/ 1238182 h 1357700"/>
              <a:gd name="connsiteX88" fmla="*/ 4747555 w 10678681"/>
              <a:gd name="connsiteY88" fmla="*/ 1252768 h 1357700"/>
              <a:gd name="connsiteX89" fmla="*/ 4679644 w 10678681"/>
              <a:gd name="connsiteY89" fmla="*/ 1276603 h 1357700"/>
              <a:gd name="connsiteX90" fmla="*/ 4632222 w 10678681"/>
              <a:gd name="connsiteY90" fmla="*/ 1318360 h 1357700"/>
              <a:gd name="connsiteX91" fmla="*/ 4617358 w 10678681"/>
              <a:gd name="connsiteY91" fmla="*/ 1327690 h 1357700"/>
              <a:gd name="connsiteX92" fmla="*/ 4589102 w 10678681"/>
              <a:gd name="connsiteY92" fmla="*/ 1321223 h 1357700"/>
              <a:gd name="connsiteX93" fmla="*/ 4578184 w 10678681"/>
              <a:gd name="connsiteY93" fmla="*/ 1326745 h 1357700"/>
              <a:gd name="connsiteX94" fmla="*/ 4574270 w 10678681"/>
              <a:gd name="connsiteY94" fmla="*/ 1325878 h 1357700"/>
              <a:gd name="connsiteX95" fmla="*/ 4564919 w 10678681"/>
              <a:gd name="connsiteY95" fmla="*/ 1325507 h 1357700"/>
              <a:gd name="connsiteX96" fmla="*/ 4566586 w 10678681"/>
              <a:gd name="connsiteY96" fmla="*/ 1316963 h 1357700"/>
              <a:gd name="connsiteX97" fmla="*/ 4556303 w 10678681"/>
              <a:gd name="connsiteY97" fmla="*/ 1300262 h 1357700"/>
              <a:gd name="connsiteX98" fmla="*/ 4502358 w 10678681"/>
              <a:gd name="connsiteY98" fmla="*/ 1302558 h 1357700"/>
              <a:gd name="connsiteX99" fmla="*/ 4498919 w 10678681"/>
              <a:gd name="connsiteY99" fmla="*/ 1312115 h 1357700"/>
              <a:gd name="connsiteX100" fmla="*/ 4492075 w 10678681"/>
              <a:gd name="connsiteY100" fmla="*/ 1313357 h 1357700"/>
              <a:gd name="connsiteX101" fmla="*/ 4487466 w 10678681"/>
              <a:gd name="connsiteY101" fmla="*/ 1304102 h 1357700"/>
              <a:gd name="connsiteX102" fmla="*/ 4398292 w 10678681"/>
              <a:gd name="connsiteY102" fmla="*/ 1278410 h 1357700"/>
              <a:gd name="connsiteX103" fmla="*/ 4278026 w 10678681"/>
              <a:gd name="connsiteY103" fmla="*/ 1259803 h 1357700"/>
              <a:gd name="connsiteX104" fmla="*/ 4188995 w 10678681"/>
              <a:gd name="connsiteY104" fmla="*/ 1296718 h 1357700"/>
              <a:gd name="connsiteX105" fmla="*/ 4181483 w 10678681"/>
              <a:gd name="connsiteY105" fmla="*/ 1287686 h 1357700"/>
              <a:gd name="connsiteX106" fmla="*/ 4120739 w 10678681"/>
              <a:gd name="connsiteY106" fmla="*/ 1288549 h 1357700"/>
              <a:gd name="connsiteX107" fmla="*/ 3906561 w 10678681"/>
              <a:gd name="connsiteY107" fmla="*/ 1352435 h 1357700"/>
              <a:gd name="connsiteX108" fmla="*/ 3787890 w 10678681"/>
              <a:gd name="connsiteY108" fmla="*/ 1352442 h 1357700"/>
              <a:gd name="connsiteX109" fmla="*/ 3745993 w 10678681"/>
              <a:gd name="connsiteY109" fmla="*/ 1342630 h 1357700"/>
              <a:gd name="connsiteX110" fmla="*/ 3675785 w 10678681"/>
              <a:gd name="connsiteY110" fmla="*/ 1326802 h 1357700"/>
              <a:gd name="connsiteX111" fmla="*/ 3623856 w 10678681"/>
              <a:gd name="connsiteY111" fmla="*/ 1290804 h 1357700"/>
              <a:gd name="connsiteX112" fmla="*/ 3564933 w 10678681"/>
              <a:gd name="connsiteY112" fmla="*/ 1287147 h 1357700"/>
              <a:gd name="connsiteX113" fmla="*/ 3550537 w 10678681"/>
              <a:gd name="connsiteY113" fmla="*/ 1317552 h 1357700"/>
              <a:gd name="connsiteX114" fmla="*/ 3487736 w 10678681"/>
              <a:gd name="connsiteY114" fmla="*/ 1303493 h 1357700"/>
              <a:gd name="connsiteX115" fmla="*/ 3392548 w 10678681"/>
              <a:gd name="connsiteY115" fmla="*/ 1278741 h 1357700"/>
              <a:gd name="connsiteX116" fmla="*/ 3337466 w 10678681"/>
              <a:gd name="connsiteY116" fmla="*/ 1272537 h 1357700"/>
              <a:gd name="connsiteX117" fmla="*/ 3187206 w 10678681"/>
              <a:gd name="connsiteY117" fmla="*/ 1246821 h 1357700"/>
              <a:gd name="connsiteX118" fmla="*/ 3036856 w 10678681"/>
              <a:gd name="connsiteY118" fmla="*/ 1214383 h 1357700"/>
              <a:gd name="connsiteX119" fmla="*/ 2948654 w 10678681"/>
              <a:gd name="connsiteY119" fmla="*/ 1157455 h 1357700"/>
              <a:gd name="connsiteX120" fmla="*/ 2824973 w 10678681"/>
              <a:gd name="connsiteY120" fmla="*/ 1134864 h 1357700"/>
              <a:gd name="connsiteX121" fmla="*/ 2804398 w 10678681"/>
              <a:gd name="connsiteY121" fmla="*/ 1125556 h 1357700"/>
              <a:gd name="connsiteX122" fmla="*/ 2775396 w 10678681"/>
              <a:gd name="connsiteY122" fmla="*/ 1130148 h 1357700"/>
              <a:gd name="connsiteX123" fmla="*/ 2659096 w 10678681"/>
              <a:gd name="connsiteY123" fmla="*/ 1150294 h 1357700"/>
              <a:gd name="connsiteX124" fmla="*/ 2567088 w 10678681"/>
              <a:gd name="connsiteY124" fmla="*/ 1181781 h 1357700"/>
              <a:gd name="connsiteX125" fmla="*/ 2454501 w 10678681"/>
              <a:gd name="connsiteY125" fmla="*/ 1155455 h 1357700"/>
              <a:gd name="connsiteX126" fmla="*/ 2385161 w 10678681"/>
              <a:gd name="connsiteY126" fmla="*/ 1161312 h 1357700"/>
              <a:gd name="connsiteX127" fmla="*/ 2270528 w 10678681"/>
              <a:gd name="connsiteY127" fmla="*/ 1204338 h 1357700"/>
              <a:gd name="connsiteX128" fmla="*/ 2121820 w 10678681"/>
              <a:gd name="connsiteY128" fmla="*/ 1187078 h 1357700"/>
              <a:gd name="connsiteX129" fmla="*/ 2092716 w 10678681"/>
              <a:gd name="connsiteY129" fmla="*/ 1139224 h 1357700"/>
              <a:gd name="connsiteX130" fmla="*/ 2052449 w 10678681"/>
              <a:gd name="connsiteY130" fmla="*/ 1109687 h 1357700"/>
              <a:gd name="connsiteX131" fmla="*/ 2032607 w 10678681"/>
              <a:gd name="connsiteY131" fmla="*/ 1175477 h 1357700"/>
              <a:gd name="connsiteX132" fmla="*/ 1901837 w 10678681"/>
              <a:gd name="connsiteY132" fmla="*/ 1221762 h 1357700"/>
              <a:gd name="connsiteX133" fmla="*/ 1836762 w 10678681"/>
              <a:gd name="connsiteY133" fmla="*/ 1237387 h 1357700"/>
              <a:gd name="connsiteX134" fmla="*/ 1735877 w 10678681"/>
              <a:gd name="connsiteY134" fmla="*/ 1246527 h 1357700"/>
              <a:gd name="connsiteX135" fmla="*/ 1705069 w 10678681"/>
              <a:gd name="connsiteY135" fmla="*/ 1251989 h 1357700"/>
              <a:gd name="connsiteX136" fmla="*/ 1397689 w 10678681"/>
              <a:gd name="connsiteY136" fmla="*/ 1336144 h 1357700"/>
              <a:gd name="connsiteX137" fmla="*/ 1220734 w 10678681"/>
              <a:gd name="connsiteY137" fmla="*/ 1257811 h 1357700"/>
              <a:gd name="connsiteX138" fmla="*/ 1021737 w 10678681"/>
              <a:gd name="connsiteY138" fmla="*/ 1238739 h 1357700"/>
              <a:gd name="connsiteX139" fmla="*/ 959820 w 10678681"/>
              <a:gd name="connsiteY139" fmla="*/ 1275863 h 1357700"/>
              <a:gd name="connsiteX140" fmla="*/ 929137 w 10678681"/>
              <a:gd name="connsiteY140" fmla="*/ 1273957 h 1357700"/>
              <a:gd name="connsiteX141" fmla="*/ 878849 w 10678681"/>
              <a:gd name="connsiteY141" fmla="*/ 1266740 h 1357700"/>
              <a:gd name="connsiteX142" fmla="*/ 800667 w 10678681"/>
              <a:gd name="connsiteY142" fmla="*/ 1282041 h 1357700"/>
              <a:gd name="connsiteX143" fmla="*/ 644906 w 10678681"/>
              <a:gd name="connsiteY143" fmla="*/ 1273685 h 1357700"/>
              <a:gd name="connsiteX144" fmla="*/ 379869 w 10678681"/>
              <a:gd name="connsiteY144" fmla="*/ 1339165 h 1357700"/>
              <a:gd name="connsiteX145" fmla="*/ 137696 w 10678681"/>
              <a:gd name="connsiteY145" fmla="*/ 1319217 h 1357700"/>
              <a:gd name="connsiteX146" fmla="*/ 54250 w 10678681"/>
              <a:gd name="connsiteY146" fmla="*/ 1315838 h 1357700"/>
              <a:gd name="connsiteX147" fmla="*/ 28042 w 10678681"/>
              <a:gd name="connsiteY147" fmla="*/ 1297822 h 1357700"/>
              <a:gd name="connsiteX148" fmla="*/ 0 w 10678681"/>
              <a:gd name="connsiteY148" fmla="*/ 1294612 h 1357700"/>
              <a:gd name="connsiteX149" fmla="*/ 0 w 10678681"/>
              <a:gd name="connsiteY149"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98313 w 10678681"/>
              <a:gd name="connsiteY65" fmla="*/ 1063249 h 1357700"/>
              <a:gd name="connsiteX66" fmla="*/ 6550218 w 10678681"/>
              <a:gd name="connsiteY66" fmla="*/ 1026825 h 1357700"/>
              <a:gd name="connsiteX67" fmla="*/ 6437450 w 10678681"/>
              <a:gd name="connsiteY67" fmla="*/ 1101075 h 1357700"/>
              <a:gd name="connsiteX68" fmla="*/ 6327795 w 10678681"/>
              <a:gd name="connsiteY68" fmla="*/ 1088142 h 1357700"/>
              <a:gd name="connsiteX69" fmla="*/ 6136549 w 10678681"/>
              <a:gd name="connsiteY69" fmla="*/ 1100268 h 1357700"/>
              <a:gd name="connsiteX70" fmla="*/ 6004655 w 10678681"/>
              <a:gd name="connsiteY70" fmla="*/ 1114946 h 1357700"/>
              <a:gd name="connsiteX71" fmla="*/ 5936643 w 10678681"/>
              <a:gd name="connsiteY71" fmla="*/ 1095428 h 1357700"/>
              <a:gd name="connsiteX72" fmla="*/ 5912484 w 10678681"/>
              <a:gd name="connsiteY72" fmla="*/ 1112624 h 1357700"/>
              <a:gd name="connsiteX73" fmla="*/ 5908387 w 10678681"/>
              <a:gd name="connsiteY73" fmla="*/ 1116018 h 1357700"/>
              <a:gd name="connsiteX74" fmla="*/ 5890495 w 10678681"/>
              <a:gd name="connsiteY74" fmla="*/ 1120268 h 1357700"/>
              <a:gd name="connsiteX75" fmla="*/ 5887318 w 10678681"/>
              <a:gd name="connsiteY75" fmla="*/ 1133134 h 1357700"/>
              <a:gd name="connsiteX76" fmla="*/ 5861726 w 10678681"/>
              <a:gd name="connsiteY76" fmla="*/ 1147891 h 1357700"/>
              <a:gd name="connsiteX77" fmla="*/ 5805823 w 10678681"/>
              <a:gd name="connsiteY77" fmla="*/ 1152457 h 1357700"/>
              <a:gd name="connsiteX78" fmla="*/ 5689841 w 10678681"/>
              <a:gd name="connsiteY78" fmla="*/ 1176232 h 1357700"/>
              <a:gd name="connsiteX79" fmla="*/ 5605119 w 10678681"/>
              <a:gd name="connsiteY79" fmla="*/ 1190202 h 1357700"/>
              <a:gd name="connsiteX80" fmla="*/ 5488513 w 10678681"/>
              <a:gd name="connsiteY80" fmla="*/ 1205367 h 1357700"/>
              <a:gd name="connsiteX81" fmla="*/ 5402905 w 10678681"/>
              <a:gd name="connsiteY81" fmla="*/ 1241191 h 1357700"/>
              <a:gd name="connsiteX82" fmla="*/ 5285593 w 10678681"/>
              <a:gd name="connsiteY82" fmla="*/ 1273569 h 1357700"/>
              <a:gd name="connsiteX83" fmla="*/ 5192893 w 10678681"/>
              <a:gd name="connsiteY83" fmla="*/ 1247188 h 1357700"/>
              <a:gd name="connsiteX84" fmla="*/ 5186475 w 10678681"/>
              <a:gd name="connsiteY84" fmla="*/ 1257028 h 1357700"/>
              <a:gd name="connsiteX85" fmla="*/ 5126038 w 10678681"/>
              <a:gd name="connsiteY85" fmla="*/ 1263189 h 1357700"/>
              <a:gd name="connsiteX86" fmla="*/ 4894688 w 10678681"/>
              <a:gd name="connsiteY86" fmla="*/ 1247184 h 1357700"/>
              <a:gd name="connsiteX87" fmla="*/ 4788036 w 10678681"/>
              <a:gd name="connsiteY87" fmla="*/ 1238182 h 1357700"/>
              <a:gd name="connsiteX88" fmla="*/ 4747555 w 10678681"/>
              <a:gd name="connsiteY88" fmla="*/ 1252768 h 1357700"/>
              <a:gd name="connsiteX89" fmla="*/ 4679644 w 10678681"/>
              <a:gd name="connsiteY89" fmla="*/ 1276603 h 1357700"/>
              <a:gd name="connsiteX90" fmla="*/ 4632222 w 10678681"/>
              <a:gd name="connsiteY90" fmla="*/ 1318360 h 1357700"/>
              <a:gd name="connsiteX91" fmla="*/ 4617358 w 10678681"/>
              <a:gd name="connsiteY91" fmla="*/ 1327690 h 1357700"/>
              <a:gd name="connsiteX92" fmla="*/ 4589102 w 10678681"/>
              <a:gd name="connsiteY92" fmla="*/ 1321223 h 1357700"/>
              <a:gd name="connsiteX93" fmla="*/ 4578184 w 10678681"/>
              <a:gd name="connsiteY93" fmla="*/ 1326745 h 1357700"/>
              <a:gd name="connsiteX94" fmla="*/ 4574270 w 10678681"/>
              <a:gd name="connsiteY94" fmla="*/ 1325878 h 1357700"/>
              <a:gd name="connsiteX95" fmla="*/ 4564919 w 10678681"/>
              <a:gd name="connsiteY95" fmla="*/ 1325507 h 1357700"/>
              <a:gd name="connsiteX96" fmla="*/ 4566586 w 10678681"/>
              <a:gd name="connsiteY96" fmla="*/ 1316963 h 1357700"/>
              <a:gd name="connsiteX97" fmla="*/ 4556303 w 10678681"/>
              <a:gd name="connsiteY97" fmla="*/ 1300262 h 1357700"/>
              <a:gd name="connsiteX98" fmla="*/ 4502358 w 10678681"/>
              <a:gd name="connsiteY98" fmla="*/ 1302558 h 1357700"/>
              <a:gd name="connsiteX99" fmla="*/ 4498919 w 10678681"/>
              <a:gd name="connsiteY99" fmla="*/ 1312115 h 1357700"/>
              <a:gd name="connsiteX100" fmla="*/ 4492075 w 10678681"/>
              <a:gd name="connsiteY100" fmla="*/ 1313357 h 1357700"/>
              <a:gd name="connsiteX101" fmla="*/ 4487466 w 10678681"/>
              <a:gd name="connsiteY101" fmla="*/ 1304102 h 1357700"/>
              <a:gd name="connsiteX102" fmla="*/ 4398292 w 10678681"/>
              <a:gd name="connsiteY102" fmla="*/ 1278410 h 1357700"/>
              <a:gd name="connsiteX103" fmla="*/ 4278026 w 10678681"/>
              <a:gd name="connsiteY103" fmla="*/ 1259803 h 1357700"/>
              <a:gd name="connsiteX104" fmla="*/ 4188995 w 10678681"/>
              <a:gd name="connsiteY104" fmla="*/ 1296718 h 1357700"/>
              <a:gd name="connsiteX105" fmla="*/ 4181483 w 10678681"/>
              <a:gd name="connsiteY105" fmla="*/ 1287686 h 1357700"/>
              <a:gd name="connsiteX106" fmla="*/ 4120739 w 10678681"/>
              <a:gd name="connsiteY106" fmla="*/ 1288549 h 1357700"/>
              <a:gd name="connsiteX107" fmla="*/ 3906561 w 10678681"/>
              <a:gd name="connsiteY107" fmla="*/ 1352435 h 1357700"/>
              <a:gd name="connsiteX108" fmla="*/ 3787890 w 10678681"/>
              <a:gd name="connsiteY108" fmla="*/ 1352442 h 1357700"/>
              <a:gd name="connsiteX109" fmla="*/ 3745993 w 10678681"/>
              <a:gd name="connsiteY109" fmla="*/ 1342630 h 1357700"/>
              <a:gd name="connsiteX110" fmla="*/ 3675785 w 10678681"/>
              <a:gd name="connsiteY110" fmla="*/ 1326802 h 1357700"/>
              <a:gd name="connsiteX111" fmla="*/ 3623856 w 10678681"/>
              <a:gd name="connsiteY111" fmla="*/ 1290804 h 1357700"/>
              <a:gd name="connsiteX112" fmla="*/ 3564933 w 10678681"/>
              <a:gd name="connsiteY112" fmla="*/ 1287147 h 1357700"/>
              <a:gd name="connsiteX113" fmla="*/ 3550537 w 10678681"/>
              <a:gd name="connsiteY113" fmla="*/ 1317552 h 1357700"/>
              <a:gd name="connsiteX114" fmla="*/ 3487736 w 10678681"/>
              <a:gd name="connsiteY114" fmla="*/ 1303493 h 1357700"/>
              <a:gd name="connsiteX115" fmla="*/ 3392548 w 10678681"/>
              <a:gd name="connsiteY115" fmla="*/ 1278741 h 1357700"/>
              <a:gd name="connsiteX116" fmla="*/ 3337466 w 10678681"/>
              <a:gd name="connsiteY116" fmla="*/ 1272537 h 1357700"/>
              <a:gd name="connsiteX117" fmla="*/ 3187206 w 10678681"/>
              <a:gd name="connsiteY117" fmla="*/ 1246821 h 1357700"/>
              <a:gd name="connsiteX118" fmla="*/ 3036856 w 10678681"/>
              <a:gd name="connsiteY118" fmla="*/ 1214383 h 1357700"/>
              <a:gd name="connsiteX119" fmla="*/ 2948654 w 10678681"/>
              <a:gd name="connsiteY119" fmla="*/ 1157455 h 1357700"/>
              <a:gd name="connsiteX120" fmla="*/ 2824973 w 10678681"/>
              <a:gd name="connsiteY120" fmla="*/ 1134864 h 1357700"/>
              <a:gd name="connsiteX121" fmla="*/ 2804398 w 10678681"/>
              <a:gd name="connsiteY121" fmla="*/ 1125556 h 1357700"/>
              <a:gd name="connsiteX122" fmla="*/ 2775396 w 10678681"/>
              <a:gd name="connsiteY122" fmla="*/ 1130148 h 1357700"/>
              <a:gd name="connsiteX123" fmla="*/ 2659096 w 10678681"/>
              <a:gd name="connsiteY123" fmla="*/ 1150294 h 1357700"/>
              <a:gd name="connsiteX124" fmla="*/ 2567088 w 10678681"/>
              <a:gd name="connsiteY124" fmla="*/ 1181781 h 1357700"/>
              <a:gd name="connsiteX125" fmla="*/ 2454501 w 10678681"/>
              <a:gd name="connsiteY125" fmla="*/ 1155455 h 1357700"/>
              <a:gd name="connsiteX126" fmla="*/ 2385161 w 10678681"/>
              <a:gd name="connsiteY126" fmla="*/ 1161312 h 1357700"/>
              <a:gd name="connsiteX127" fmla="*/ 2270528 w 10678681"/>
              <a:gd name="connsiteY127" fmla="*/ 1204338 h 1357700"/>
              <a:gd name="connsiteX128" fmla="*/ 2121820 w 10678681"/>
              <a:gd name="connsiteY128" fmla="*/ 1187078 h 1357700"/>
              <a:gd name="connsiteX129" fmla="*/ 2092716 w 10678681"/>
              <a:gd name="connsiteY129" fmla="*/ 1139224 h 1357700"/>
              <a:gd name="connsiteX130" fmla="*/ 2052449 w 10678681"/>
              <a:gd name="connsiteY130" fmla="*/ 1109687 h 1357700"/>
              <a:gd name="connsiteX131" fmla="*/ 2032607 w 10678681"/>
              <a:gd name="connsiteY131" fmla="*/ 1175477 h 1357700"/>
              <a:gd name="connsiteX132" fmla="*/ 1901837 w 10678681"/>
              <a:gd name="connsiteY132" fmla="*/ 1221762 h 1357700"/>
              <a:gd name="connsiteX133" fmla="*/ 1836762 w 10678681"/>
              <a:gd name="connsiteY133" fmla="*/ 1237387 h 1357700"/>
              <a:gd name="connsiteX134" fmla="*/ 1735877 w 10678681"/>
              <a:gd name="connsiteY134" fmla="*/ 1246527 h 1357700"/>
              <a:gd name="connsiteX135" fmla="*/ 1705069 w 10678681"/>
              <a:gd name="connsiteY135" fmla="*/ 1251989 h 1357700"/>
              <a:gd name="connsiteX136" fmla="*/ 1397689 w 10678681"/>
              <a:gd name="connsiteY136" fmla="*/ 1336144 h 1357700"/>
              <a:gd name="connsiteX137" fmla="*/ 1220734 w 10678681"/>
              <a:gd name="connsiteY137" fmla="*/ 1257811 h 1357700"/>
              <a:gd name="connsiteX138" fmla="*/ 1021737 w 10678681"/>
              <a:gd name="connsiteY138" fmla="*/ 1238739 h 1357700"/>
              <a:gd name="connsiteX139" fmla="*/ 959820 w 10678681"/>
              <a:gd name="connsiteY139" fmla="*/ 1275863 h 1357700"/>
              <a:gd name="connsiteX140" fmla="*/ 929137 w 10678681"/>
              <a:gd name="connsiteY140" fmla="*/ 1273957 h 1357700"/>
              <a:gd name="connsiteX141" fmla="*/ 878849 w 10678681"/>
              <a:gd name="connsiteY141" fmla="*/ 1266740 h 1357700"/>
              <a:gd name="connsiteX142" fmla="*/ 800667 w 10678681"/>
              <a:gd name="connsiteY142" fmla="*/ 1282041 h 1357700"/>
              <a:gd name="connsiteX143" fmla="*/ 644906 w 10678681"/>
              <a:gd name="connsiteY143" fmla="*/ 1273685 h 1357700"/>
              <a:gd name="connsiteX144" fmla="*/ 379869 w 10678681"/>
              <a:gd name="connsiteY144" fmla="*/ 1339165 h 1357700"/>
              <a:gd name="connsiteX145" fmla="*/ 137696 w 10678681"/>
              <a:gd name="connsiteY145" fmla="*/ 1319217 h 1357700"/>
              <a:gd name="connsiteX146" fmla="*/ 54250 w 10678681"/>
              <a:gd name="connsiteY146" fmla="*/ 1315838 h 1357700"/>
              <a:gd name="connsiteX147" fmla="*/ 28042 w 10678681"/>
              <a:gd name="connsiteY147" fmla="*/ 1297822 h 1357700"/>
              <a:gd name="connsiteX148" fmla="*/ 0 w 10678681"/>
              <a:gd name="connsiteY148" fmla="*/ 1294612 h 1357700"/>
              <a:gd name="connsiteX149" fmla="*/ 0 w 10678681"/>
              <a:gd name="connsiteY149"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98313 w 10678681"/>
              <a:gd name="connsiteY65" fmla="*/ 1063249 h 1357700"/>
              <a:gd name="connsiteX66" fmla="*/ 6550218 w 10678681"/>
              <a:gd name="connsiteY66" fmla="*/ 1026825 h 1357700"/>
              <a:gd name="connsiteX67" fmla="*/ 6437450 w 10678681"/>
              <a:gd name="connsiteY67" fmla="*/ 1101075 h 1357700"/>
              <a:gd name="connsiteX68" fmla="*/ 6327795 w 10678681"/>
              <a:gd name="connsiteY68" fmla="*/ 1088142 h 1357700"/>
              <a:gd name="connsiteX69" fmla="*/ 6136549 w 10678681"/>
              <a:gd name="connsiteY69" fmla="*/ 1100268 h 1357700"/>
              <a:gd name="connsiteX70" fmla="*/ 6004655 w 10678681"/>
              <a:gd name="connsiteY70" fmla="*/ 1114946 h 1357700"/>
              <a:gd name="connsiteX71" fmla="*/ 5936643 w 10678681"/>
              <a:gd name="connsiteY71" fmla="*/ 1095428 h 1357700"/>
              <a:gd name="connsiteX72" fmla="*/ 5912484 w 10678681"/>
              <a:gd name="connsiteY72" fmla="*/ 1112624 h 1357700"/>
              <a:gd name="connsiteX73" fmla="*/ 5908387 w 10678681"/>
              <a:gd name="connsiteY73" fmla="*/ 1116018 h 1357700"/>
              <a:gd name="connsiteX74" fmla="*/ 5890495 w 10678681"/>
              <a:gd name="connsiteY74" fmla="*/ 1120268 h 1357700"/>
              <a:gd name="connsiteX75" fmla="*/ 5887318 w 10678681"/>
              <a:gd name="connsiteY75" fmla="*/ 1133134 h 1357700"/>
              <a:gd name="connsiteX76" fmla="*/ 5861726 w 10678681"/>
              <a:gd name="connsiteY76" fmla="*/ 1147891 h 1357700"/>
              <a:gd name="connsiteX77" fmla="*/ 5805823 w 10678681"/>
              <a:gd name="connsiteY77" fmla="*/ 1152457 h 1357700"/>
              <a:gd name="connsiteX78" fmla="*/ 5689841 w 10678681"/>
              <a:gd name="connsiteY78" fmla="*/ 1176232 h 1357700"/>
              <a:gd name="connsiteX79" fmla="*/ 5605119 w 10678681"/>
              <a:gd name="connsiteY79" fmla="*/ 1190202 h 1357700"/>
              <a:gd name="connsiteX80" fmla="*/ 5488513 w 10678681"/>
              <a:gd name="connsiteY80" fmla="*/ 1205367 h 1357700"/>
              <a:gd name="connsiteX81" fmla="*/ 5402905 w 10678681"/>
              <a:gd name="connsiteY81" fmla="*/ 1241191 h 1357700"/>
              <a:gd name="connsiteX82" fmla="*/ 5285593 w 10678681"/>
              <a:gd name="connsiteY82" fmla="*/ 1273569 h 1357700"/>
              <a:gd name="connsiteX83" fmla="*/ 5192893 w 10678681"/>
              <a:gd name="connsiteY83" fmla="*/ 1247188 h 1357700"/>
              <a:gd name="connsiteX84" fmla="*/ 5186475 w 10678681"/>
              <a:gd name="connsiteY84" fmla="*/ 1257028 h 1357700"/>
              <a:gd name="connsiteX85" fmla="*/ 5126038 w 10678681"/>
              <a:gd name="connsiteY85" fmla="*/ 1263189 h 1357700"/>
              <a:gd name="connsiteX86" fmla="*/ 4894688 w 10678681"/>
              <a:gd name="connsiteY86" fmla="*/ 1247184 h 1357700"/>
              <a:gd name="connsiteX87" fmla="*/ 4788036 w 10678681"/>
              <a:gd name="connsiteY87" fmla="*/ 1238182 h 1357700"/>
              <a:gd name="connsiteX88" fmla="*/ 4747555 w 10678681"/>
              <a:gd name="connsiteY88" fmla="*/ 1252768 h 1357700"/>
              <a:gd name="connsiteX89" fmla="*/ 4679644 w 10678681"/>
              <a:gd name="connsiteY89" fmla="*/ 1276603 h 1357700"/>
              <a:gd name="connsiteX90" fmla="*/ 4632222 w 10678681"/>
              <a:gd name="connsiteY90" fmla="*/ 1318360 h 1357700"/>
              <a:gd name="connsiteX91" fmla="*/ 4617358 w 10678681"/>
              <a:gd name="connsiteY91" fmla="*/ 1327690 h 1357700"/>
              <a:gd name="connsiteX92" fmla="*/ 4589102 w 10678681"/>
              <a:gd name="connsiteY92" fmla="*/ 1321223 h 1357700"/>
              <a:gd name="connsiteX93" fmla="*/ 4578184 w 10678681"/>
              <a:gd name="connsiteY93" fmla="*/ 1326745 h 1357700"/>
              <a:gd name="connsiteX94" fmla="*/ 4574270 w 10678681"/>
              <a:gd name="connsiteY94" fmla="*/ 1325878 h 1357700"/>
              <a:gd name="connsiteX95" fmla="*/ 4564919 w 10678681"/>
              <a:gd name="connsiteY95" fmla="*/ 1325507 h 1357700"/>
              <a:gd name="connsiteX96" fmla="*/ 4566586 w 10678681"/>
              <a:gd name="connsiteY96" fmla="*/ 1316963 h 1357700"/>
              <a:gd name="connsiteX97" fmla="*/ 4556303 w 10678681"/>
              <a:gd name="connsiteY97" fmla="*/ 1300262 h 1357700"/>
              <a:gd name="connsiteX98" fmla="*/ 4502358 w 10678681"/>
              <a:gd name="connsiteY98" fmla="*/ 1302558 h 1357700"/>
              <a:gd name="connsiteX99" fmla="*/ 4498919 w 10678681"/>
              <a:gd name="connsiteY99" fmla="*/ 1312115 h 1357700"/>
              <a:gd name="connsiteX100" fmla="*/ 4492075 w 10678681"/>
              <a:gd name="connsiteY100" fmla="*/ 1313357 h 1357700"/>
              <a:gd name="connsiteX101" fmla="*/ 4487466 w 10678681"/>
              <a:gd name="connsiteY101" fmla="*/ 1304102 h 1357700"/>
              <a:gd name="connsiteX102" fmla="*/ 4398292 w 10678681"/>
              <a:gd name="connsiteY102" fmla="*/ 1278410 h 1357700"/>
              <a:gd name="connsiteX103" fmla="*/ 4306088 w 10678681"/>
              <a:gd name="connsiteY103" fmla="*/ 1282512 h 1357700"/>
              <a:gd name="connsiteX104" fmla="*/ 4188995 w 10678681"/>
              <a:gd name="connsiteY104" fmla="*/ 1296718 h 1357700"/>
              <a:gd name="connsiteX105" fmla="*/ 4181483 w 10678681"/>
              <a:gd name="connsiteY105" fmla="*/ 1287686 h 1357700"/>
              <a:gd name="connsiteX106" fmla="*/ 4120739 w 10678681"/>
              <a:gd name="connsiteY106" fmla="*/ 1288549 h 1357700"/>
              <a:gd name="connsiteX107" fmla="*/ 3906561 w 10678681"/>
              <a:gd name="connsiteY107" fmla="*/ 1352435 h 1357700"/>
              <a:gd name="connsiteX108" fmla="*/ 3787890 w 10678681"/>
              <a:gd name="connsiteY108" fmla="*/ 1352442 h 1357700"/>
              <a:gd name="connsiteX109" fmla="*/ 3745993 w 10678681"/>
              <a:gd name="connsiteY109" fmla="*/ 1342630 h 1357700"/>
              <a:gd name="connsiteX110" fmla="*/ 3675785 w 10678681"/>
              <a:gd name="connsiteY110" fmla="*/ 1326802 h 1357700"/>
              <a:gd name="connsiteX111" fmla="*/ 3623856 w 10678681"/>
              <a:gd name="connsiteY111" fmla="*/ 1290804 h 1357700"/>
              <a:gd name="connsiteX112" fmla="*/ 3564933 w 10678681"/>
              <a:gd name="connsiteY112" fmla="*/ 1287147 h 1357700"/>
              <a:gd name="connsiteX113" fmla="*/ 3550537 w 10678681"/>
              <a:gd name="connsiteY113" fmla="*/ 1317552 h 1357700"/>
              <a:gd name="connsiteX114" fmla="*/ 3487736 w 10678681"/>
              <a:gd name="connsiteY114" fmla="*/ 1303493 h 1357700"/>
              <a:gd name="connsiteX115" fmla="*/ 3392548 w 10678681"/>
              <a:gd name="connsiteY115" fmla="*/ 1278741 h 1357700"/>
              <a:gd name="connsiteX116" fmla="*/ 3337466 w 10678681"/>
              <a:gd name="connsiteY116" fmla="*/ 1272537 h 1357700"/>
              <a:gd name="connsiteX117" fmla="*/ 3187206 w 10678681"/>
              <a:gd name="connsiteY117" fmla="*/ 1246821 h 1357700"/>
              <a:gd name="connsiteX118" fmla="*/ 3036856 w 10678681"/>
              <a:gd name="connsiteY118" fmla="*/ 1214383 h 1357700"/>
              <a:gd name="connsiteX119" fmla="*/ 2948654 w 10678681"/>
              <a:gd name="connsiteY119" fmla="*/ 1157455 h 1357700"/>
              <a:gd name="connsiteX120" fmla="*/ 2824973 w 10678681"/>
              <a:gd name="connsiteY120" fmla="*/ 1134864 h 1357700"/>
              <a:gd name="connsiteX121" fmla="*/ 2804398 w 10678681"/>
              <a:gd name="connsiteY121" fmla="*/ 1125556 h 1357700"/>
              <a:gd name="connsiteX122" fmla="*/ 2775396 w 10678681"/>
              <a:gd name="connsiteY122" fmla="*/ 1130148 h 1357700"/>
              <a:gd name="connsiteX123" fmla="*/ 2659096 w 10678681"/>
              <a:gd name="connsiteY123" fmla="*/ 1150294 h 1357700"/>
              <a:gd name="connsiteX124" fmla="*/ 2567088 w 10678681"/>
              <a:gd name="connsiteY124" fmla="*/ 1181781 h 1357700"/>
              <a:gd name="connsiteX125" fmla="*/ 2454501 w 10678681"/>
              <a:gd name="connsiteY125" fmla="*/ 1155455 h 1357700"/>
              <a:gd name="connsiteX126" fmla="*/ 2385161 w 10678681"/>
              <a:gd name="connsiteY126" fmla="*/ 1161312 h 1357700"/>
              <a:gd name="connsiteX127" fmla="*/ 2270528 w 10678681"/>
              <a:gd name="connsiteY127" fmla="*/ 1204338 h 1357700"/>
              <a:gd name="connsiteX128" fmla="*/ 2121820 w 10678681"/>
              <a:gd name="connsiteY128" fmla="*/ 1187078 h 1357700"/>
              <a:gd name="connsiteX129" fmla="*/ 2092716 w 10678681"/>
              <a:gd name="connsiteY129" fmla="*/ 1139224 h 1357700"/>
              <a:gd name="connsiteX130" fmla="*/ 2052449 w 10678681"/>
              <a:gd name="connsiteY130" fmla="*/ 1109687 h 1357700"/>
              <a:gd name="connsiteX131" fmla="*/ 2032607 w 10678681"/>
              <a:gd name="connsiteY131" fmla="*/ 1175477 h 1357700"/>
              <a:gd name="connsiteX132" fmla="*/ 1901837 w 10678681"/>
              <a:gd name="connsiteY132" fmla="*/ 1221762 h 1357700"/>
              <a:gd name="connsiteX133" fmla="*/ 1836762 w 10678681"/>
              <a:gd name="connsiteY133" fmla="*/ 1237387 h 1357700"/>
              <a:gd name="connsiteX134" fmla="*/ 1735877 w 10678681"/>
              <a:gd name="connsiteY134" fmla="*/ 1246527 h 1357700"/>
              <a:gd name="connsiteX135" fmla="*/ 1705069 w 10678681"/>
              <a:gd name="connsiteY135" fmla="*/ 1251989 h 1357700"/>
              <a:gd name="connsiteX136" fmla="*/ 1397689 w 10678681"/>
              <a:gd name="connsiteY136" fmla="*/ 1336144 h 1357700"/>
              <a:gd name="connsiteX137" fmla="*/ 1220734 w 10678681"/>
              <a:gd name="connsiteY137" fmla="*/ 1257811 h 1357700"/>
              <a:gd name="connsiteX138" fmla="*/ 1021737 w 10678681"/>
              <a:gd name="connsiteY138" fmla="*/ 1238739 h 1357700"/>
              <a:gd name="connsiteX139" fmla="*/ 959820 w 10678681"/>
              <a:gd name="connsiteY139" fmla="*/ 1275863 h 1357700"/>
              <a:gd name="connsiteX140" fmla="*/ 929137 w 10678681"/>
              <a:gd name="connsiteY140" fmla="*/ 1273957 h 1357700"/>
              <a:gd name="connsiteX141" fmla="*/ 878849 w 10678681"/>
              <a:gd name="connsiteY141" fmla="*/ 1266740 h 1357700"/>
              <a:gd name="connsiteX142" fmla="*/ 800667 w 10678681"/>
              <a:gd name="connsiteY142" fmla="*/ 1282041 h 1357700"/>
              <a:gd name="connsiteX143" fmla="*/ 644906 w 10678681"/>
              <a:gd name="connsiteY143" fmla="*/ 1273685 h 1357700"/>
              <a:gd name="connsiteX144" fmla="*/ 379869 w 10678681"/>
              <a:gd name="connsiteY144" fmla="*/ 1339165 h 1357700"/>
              <a:gd name="connsiteX145" fmla="*/ 137696 w 10678681"/>
              <a:gd name="connsiteY145" fmla="*/ 1319217 h 1357700"/>
              <a:gd name="connsiteX146" fmla="*/ 54250 w 10678681"/>
              <a:gd name="connsiteY146" fmla="*/ 1315838 h 1357700"/>
              <a:gd name="connsiteX147" fmla="*/ 28042 w 10678681"/>
              <a:gd name="connsiteY147" fmla="*/ 1297822 h 1357700"/>
              <a:gd name="connsiteX148" fmla="*/ 0 w 10678681"/>
              <a:gd name="connsiteY148" fmla="*/ 1294612 h 1357700"/>
              <a:gd name="connsiteX149" fmla="*/ 0 w 10678681"/>
              <a:gd name="connsiteY149"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98313 w 10678681"/>
              <a:gd name="connsiteY65" fmla="*/ 1063249 h 1357700"/>
              <a:gd name="connsiteX66" fmla="*/ 6550218 w 10678681"/>
              <a:gd name="connsiteY66" fmla="*/ 1026825 h 1357700"/>
              <a:gd name="connsiteX67" fmla="*/ 6437450 w 10678681"/>
              <a:gd name="connsiteY67" fmla="*/ 1101075 h 1357700"/>
              <a:gd name="connsiteX68" fmla="*/ 6327795 w 10678681"/>
              <a:gd name="connsiteY68" fmla="*/ 1088142 h 1357700"/>
              <a:gd name="connsiteX69" fmla="*/ 6136549 w 10678681"/>
              <a:gd name="connsiteY69" fmla="*/ 1100268 h 1357700"/>
              <a:gd name="connsiteX70" fmla="*/ 6004655 w 10678681"/>
              <a:gd name="connsiteY70" fmla="*/ 1114946 h 1357700"/>
              <a:gd name="connsiteX71" fmla="*/ 5936643 w 10678681"/>
              <a:gd name="connsiteY71" fmla="*/ 1095428 h 1357700"/>
              <a:gd name="connsiteX72" fmla="*/ 5912484 w 10678681"/>
              <a:gd name="connsiteY72" fmla="*/ 1112624 h 1357700"/>
              <a:gd name="connsiteX73" fmla="*/ 5908387 w 10678681"/>
              <a:gd name="connsiteY73" fmla="*/ 1116018 h 1357700"/>
              <a:gd name="connsiteX74" fmla="*/ 5890495 w 10678681"/>
              <a:gd name="connsiteY74" fmla="*/ 1120268 h 1357700"/>
              <a:gd name="connsiteX75" fmla="*/ 5887318 w 10678681"/>
              <a:gd name="connsiteY75" fmla="*/ 1133134 h 1357700"/>
              <a:gd name="connsiteX76" fmla="*/ 5861726 w 10678681"/>
              <a:gd name="connsiteY76" fmla="*/ 1147891 h 1357700"/>
              <a:gd name="connsiteX77" fmla="*/ 5805823 w 10678681"/>
              <a:gd name="connsiteY77" fmla="*/ 1152457 h 1357700"/>
              <a:gd name="connsiteX78" fmla="*/ 5689841 w 10678681"/>
              <a:gd name="connsiteY78" fmla="*/ 1176232 h 1357700"/>
              <a:gd name="connsiteX79" fmla="*/ 5605119 w 10678681"/>
              <a:gd name="connsiteY79" fmla="*/ 1190202 h 1357700"/>
              <a:gd name="connsiteX80" fmla="*/ 5488513 w 10678681"/>
              <a:gd name="connsiteY80" fmla="*/ 1205367 h 1357700"/>
              <a:gd name="connsiteX81" fmla="*/ 5402905 w 10678681"/>
              <a:gd name="connsiteY81" fmla="*/ 1241191 h 1357700"/>
              <a:gd name="connsiteX82" fmla="*/ 5285593 w 10678681"/>
              <a:gd name="connsiteY82" fmla="*/ 1273569 h 1357700"/>
              <a:gd name="connsiteX83" fmla="*/ 5192893 w 10678681"/>
              <a:gd name="connsiteY83" fmla="*/ 1247188 h 1357700"/>
              <a:gd name="connsiteX84" fmla="*/ 5186475 w 10678681"/>
              <a:gd name="connsiteY84" fmla="*/ 1257028 h 1357700"/>
              <a:gd name="connsiteX85" fmla="*/ 5126038 w 10678681"/>
              <a:gd name="connsiteY85" fmla="*/ 1263189 h 1357700"/>
              <a:gd name="connsiteX86" fmla="*/ 4894688 w 10678681"/>
              <a:gd name="connsiteY86" fmla="*/ 1247184 h 1357700"/>
              <a:gd name="connsiteX87" fmla="*/ 4788036 w 10678681"/>
              <a:gd name="connsiteY87" fmla="*/ 1238182 h 1357700"/>
              <a:gd name="connsiteX88" fmla="*/ 4747555 w 10678681"/>
              <a:gd name="connsiteY88" fmla="*/ 1252768 h 1357700"/>
              <a:gd name="connsiteX89" fmla="*/ 4679644 w 10678681"/>
              <a:gd name="connsiteY89" fmla="*/ 1276603 h 1357700"/>
              <a:gd name="connsiteX90" fmla="*/ 4632222 w 10678681"/>
              <a:gd name="connsiteY90" fmla="*/ 1318360 h 1357700"/>
              <a:gd name="connsiteX91" fmla="*/ 4617358 w 10678681"/>
              <a:gd name="connsiteY91" fmla="*/ 1327690 h 1357700"/>
              <a:gd name="connsiteX92" fmla="*/ 4589102 w 10678681"/>
              <a:gd name="connsiteY92" fmla="*/ 1321223 h 1357700"/>
              <a:gd name="connsiteX93" fmla="*/ 4578184 w 10678681"/>
              <a:gd name="connsiteY93" fmla="*/ 1326745 h 1357700"/>
              <a:gd name="connsiteX94" fmla="*/ 4574270 w 10678681"/>
              <a:gd name="connsiteY94" fmla="*/ 1325878 h 1357700"/>
              <a:gd name="connsiteX95" fmla="*/ 4564919 w 10678681"/>
              <a:gd name="connsiteY95" fmla="*/ 1325507 h 1357700"/>
              <a:gd name="connsiteX96" fmla="*/ 4566586 w 10678681"/>
              <a:gd name="connsiteY96" fmla="*/ 1316963 h 1357700"/>
              <a:gd name="connsiteX97" fmla="*/ 4556303 w 10678681"/>
              <a:gd name="connsiteY97" fmla="*/ 1300262 h 1357700"/>
              <a:gd name="connsiteX98" fmla="*/ 4502358 w 10678681"/>
              <a:gd name="connsiteY98" fmla="*/ 1302558 h 1357700"/>
              <a:gd name="connsiteX99" fmla="*/ 4498919 w 10678681"/>
              <a:gd name="connsiteY99" fmla="*/ 1312115 h 1357700"/>
              <a:gd name="connsiteX100" fmla="*/ 4492075 w 10678681"/>
              <a:gd name="connsiteY100" fmla="*/ 1313357 h 1357700"/>
              <a:gd name="connsiteX101" fmla="*/ 4487466 w 10678681"/>
              <a:gd name="connsiteY101" fmla="*/ 1304102 h 1357700"/>
              <a:gd name="connsiteX102" fmla="*/ 4398292 w 10678681"/>
              <a:gd name="connsiteY102" fmla="*/ 1278410 h 1357700"/>
              <a:gd name="connsiteX103" fmla="*/ 4306088 w 10678681"/>
              <a:gd name="connsiteY103" fmla="*/ 1282512 h 1357700"/>
              <a:gd name="connsiteX104" fmla="*/ 4188995 w 10678681"/>
              <a:gd name="connsiteY104" fmla="*/ 1296718 h 1357700"/>
              <a:gd name="connsiteX105" fmla="*/ 4181483 w 10678681"/>
              <a:gd name="connsiteY105" fmla="*/ 1287686 h 1357700"/>
              <a:gd name="connsiteX106" fmla="*/ 4064614 w 10678681"/>
              <a:gd name="connsiteY106" fmla="*/ 1296118 h 1357700"/>
              <a:gd name="connsiteX107" fmla="*/ 3906561 w 10678681"/>
              <a:gd name="connsiteY107" fmla="*/ 1352435 h 1357700"/>
              <a:gd name="connsiteX108" fmla="*/ 3787890 w 10678681"/>
              <a:gd name="connsiteY108" fmla="*/ 1352442 h 1357700"/>
              <a:gd name="connsiteX109" fmla="*/ 3745993 w 10678681"/>
              <a:gd name="connsiteY109" fmla="*/ 1342630 h 1357700"/>
              <a:gd name="connsiteX110" fmla="*/ 3675785 w 10678681"/>
              <a:gd name="connsiteY110" fmla="*/ 1326802 h 1357700"/>
              <a:gd name="connsiteX111" fmla="*/ 3623856 w 10678681"/>
              <a:gd name="connsiteY111" fmla="*/ 1290804 h 1357700"/>
              <a:gd name="connsiteX112" fmla="*/ 3564933 w 10678681"/>
              <a:gd name="connsiteY112" fmla="*/ 1287147 h 1357700"/>
              <a:gd name="connsiteX113" fmla="*/ 3550537 w 10678681"/>
              <a:gd name="connsiteY113" fmla="*/ 1317552 h 1357700"/>
              <a:gd name="connsiteX114" fmla="*/ 3487736 w 10678681"/>
              <a:gd name="connsiteY114" fmla="*/ 1303493 h 1357700"/>
              <a:gd name="connsiteX115" fmla="*/ 3392548 w 10678681"/>
              <a:gd name="connsiteY115" fmla="*/ 1278741 h 1357700"/>
              <a:gd name="connsiteX116" fmla="*/ 3337466 w 10678681"/>
              <a:gd name="connsiteY116" fmla="*/ 1272537 h 1357700"/>
              <a:gd name="connsiteX117" fmla="*/ 3187206 w 10678681"/>
              <a:gd name="connsiteY117" fmla="*/ 1246821 h 1357700"/>
              <a:gd name="connsiteX118" fmla="*/ 3036856 w 10678681"/>
              <a:gd name="connsiteY118" fmla="*/ 1214383 h 1357700"/>
              <a:gd name="connsiteX119" fmla="*/ 2948654 w 10678681"/>
              <a:gd name="connsiteY119" fmla="*/ 1157455 h 1357700"/>
              <a:gd name="connsiteX120" fmla="*/ 2824973 w 10678681"/>
              <a:gd name="connsiteY120" fmla="*/ 1134864 h 1357700"/>
              <a:gd name="connsiteX121" fmla="*/ 2804398 w 10678681"/>
              <a:gd name="connsiteY121" fmla="*/ 1125556 h 1357700"/>
              <a:gd name="connsiteX122" fmla="*/ 2775396 w 10678681"/>
              <a:gd name="connsiteY122" fmla="*/ 1130148 h 1357700"/>
              <a:gd name="connsiteX123" fmla="*/ 2659096 w 10678681"/>
              <a:gd name="connsiteY123" fmla="*/ 1150294 h 1357700"/>
              <a:gd name="connsiteX124" fmla="*/ 2567088 w 10678681"/>
              <a:gd name="connsiteY124" fmla="*/ 1181781 h 1357700"/>
              <a:gd name="connsiteX125" fmla="*/ 2454501 w 10678681"/>
              <a:gd name="connsiteY125" fmla="*/ 1155455 h 1357700"/>
              <a:gd name="connsiteX126" fmla="*/ 2385161 w 10678681"/>
              <a:gd name="connsiteY126" fmla="*/ 1161312 h 1357700"/>
              <a:gd name="connsiteX127" fmla="*/ 2270528 w 10678681"/>
              <a:gd name="connsiteY127" fmla="*/ 1204338 h 1357700"/>
              <a:gd name="connsiteX128" fmla="*/ 2121820 w 10678681"/>
              <a:gd name="connsiteY128" fmla="*/ 1187078 h 1357700"/>
              <a:gd name="connsiteX129" fmla="*/ 2092716 w 10678681"/>
              <a:gd name="connsiteY129" fmla="*/ 1139224 h 1357700"/>
              <a:gd name="connsiteX130" fmla="*/ 2052449 w 10678681"/>
              <a:gd name="connsiteY130" fmla="*/ 1109687 h 1357700"/>
              <a:gd name="connsiteX131" fmla="*/ 2032607 w 10678681"/>
              <a:gd name="connsiteY131" fmla="*/ 1175477 h 1357700"/>
              <a:gd name="connsiteX132" fmla="*/ 1901837 w 10678681"/>
              <a:gd name="connsiteY132" fmla="*/ 1221762 h 1357700"/>
              <a:gd name="connsiteX133" fmla="*/ 1836762 w 10678681"/>
              <a:gd name="connsiteY133" fmla="*/ 1237387 h 1357700"/>
              <a:gd name="connsiteX134" fmla="*/ 1735877 w 10678681"/>
              <a:gd name="connsiteY134" fmla="*/ 1246527 h 1357700"/>
              <a:gd name="connsiteX135" fmla="*/ 1705069 w 10678681"/>
              <a:gd name="connsiteY135" fmla="*/ 1251989 h 1357700"/>
              <a:gd name="connsiteX136" fmla="*/ 1397689 w 10678681"/>
              <a:gd name="connsiteY136" fmla="*/ 1336144 h 1357700"/>
              <a:gd name="connsiteX137" fmla="*/ 1220734 w 10678681"/>
              <a:gd name="connsiteY137" fmla="*/ 1257811 h 1357700"/>
              <a:gd name="connsiteX138" fmla="*/ 1021737 w 10678681"/>
              <a:gd name="connsiteY138" fmla="*/ 1238739 h 1357700"/>
              <a:gd name="connsiteX139" fmla="*/ 959820 w 10678681"/>
              <a:gd name="connsiteY139" fmla="*/ 1275863 h 1357700"/>
              <a:gd name="connsiteX140" fmla="*/ 929137 w 10678681"/>
              <a:gd name="connsiteY140" fmla="*/ 1273957 h 1357700"/>
              <a:gd name="connsiteX141" fmla="*/ 878849 w 10678681"/>
              <a:gd name="connsiteY141" fmla="*/ 1266740 h 1357700"/>
              <a:gd name="connsiteX142" fmla="*/ 800667 w 10678681"/>
              <a:gd name="connsiteY142" fmla="*/ 1282041 h 1357700"/>
              <a:gd name="connsiteX143" fmla="*/ 644906 w 10678681"/>
              <a:gd name="connsiteY143" fmla="*/ 1273685 h 1357700"/>
              <a:gd name="connsiteX144" fmla="*/ 379869 w 10678681"/>
              <a:gd name="connsiteY144" fmla="*/ 1339165 h 1357700"/>
              <a:gd name="connsiteX145" fmla="*/ 137696 w 10678681"/>
              <a:gd name="connsiteY145" fmla="*/ 1319217 h 1357700"/>
              <a:gd name="connsiteX146" fmla="*/ 54250 w 10678681"/>
              <a:gd name="connsiteY146" fmla="*/ 1315838 h 1357700"/>
              <a:gd name="connsiteX147" fmla="*/ 28042 w 10678681"/>
              <a:gd name="connsiteY147" fmla="*/ 1297822 h 1357700"/>
              <a:gd name="connsiteX148" fmla="*/ 0 w 10678681"/>
              <a:gd name="connsiteY148" fmla="*/ 1294612 h 1357700"/>
              <a:gd name="connsiteX149" fmla="*/ 0 w 10678681"/>
              <a:gd name="connsiteY149"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98313 w 10678681"/>
              <a:gd name="connsiteY65" fmla="*/ 1063249 h 1357700"/>
              <a:gd name="connsiteX66" fmla="*/ 6550218 w 10678681"/>
              <a:gd name="connsiteY66" fmla="*/ 1026825 h 1357700"/>
              <a:gd name="connsiteX67" fmla="*/ 6437450 w 10678681"/>
              <a:gd name="connsiteY67" fmla="*/ 1101075 h 1357700"/>
              <a:gd name="connsiteX68" fmla="*/ 6327795 w 10678681"/>
              <a:gd name="connsiteY68" fmla="*/ 1088142 h 1357700"/>
              <a:gd name="connsiteX69" fmla="*/ 6136549 w 10678681"/>
              <a:gd name="connsiteY69" fmla="*/ 1100268 h 1357700"/>
              <a:gd name="connsiteX70" fmla="*/ 6004655 w 10678681"/>
              <a:gd name="connsiteY70" fmla="*/ 1114946 h 1357700"/>
              <a:gd name="connsiteX71" fmla="*/ 5936643 w 10678681"/>
              <a:gd name="connsiteY71" fmla="*/ 1095428 h 1357700"/>
              <a:gd name="connsiteX72" fmla="*/ 5912484 w 10678681"/>
              <a:gd name="connsiteY72" fmla="*/ 1112624 h 1357700"/>
              <a:gd name="connsiteX73" fmla="*/ 5908387 w 10678681"/>
              <a:gd name="connsiteY73" fmla="*/ 1116018 h 1357700"/>
              <a:gd name="connsiteX74" fmla="*/ 5890495 w 10678681"/>
              <a:gd name="connsiteY74" fmla="*/ 1120268 h 1357700"/>
              <a:gd name="connsiteX75" fmla="*/ 5887318 w 10678681"/>
              <a:gd name="connsiteY75" fmla="*/ 1133134 h 1357700"/>
              <a:gd name="connsiteX76" fmla="*/ 5861726 w 10678681"/>
              <a:gd name="connsiteY76" fmla="*/ 1147891 h 1357700"/>
              <a:gd name="connsiteX77" fmla="*/ 5805823 w 10678681"/>
              <a:gd name="connsiteY77" fmla="*/ 1152457 h 1357700"/>
              <a:gd name="connsiteX78" fmla="*/ 5689841 w 10678681"/>
              <a:gd name="connsiteY78" fmla="*/ 1176232 h 1357700"/>
              <a:gd name="connsiteX79" fmla="*/ 5605119 w 10678681"/>
              <a:gd name="connsiteY79" fmla="*/ 1190202 h 1357700"/>
              <a:gd name="connsiteX80" fmla="*/ 5488513 w 10678681"/>
              <a:gd name="connsiteY80" fmla="*/ 1205367 h 1357700"/>
              <a:gd name="connsiteX81" fmla="*/ 5402905 w 10678681"/>
              <a:gd name="connsiteY81" fmla="*/ 1241191 h 1357700"/>
              <a:gd name="connsiteX82" fmla="*/ 5285593 w 10678681"/>
              <a:gd name="connsiteY82" fmla="*/ 1273569 h 1357700"/>
              <a:gd name="connsiteX83" fmla="*/ 5192893 w 10678681"/>
              <a:gd name="connsiteY83" fmla="*/ 1247188 h 1357700"/>
              <a:gd name="connsiteX84" fmla="*/ 5186475 w 10678681"/>
              <a:gd name="connsiteY84" fmla="*/ 1257028 h 1357700"/>
              <a:gd name="connsiteX85" fmla="*/ 5126038 w 10678681"/>
              <a:gd name="connsiteY85" fmla="*/ 1263189 h 1357700"/>
              <a:gd name="connsiteX86" fmla="*/ 4894688 w 10678681"/>
              <a:gd name="connsiteY86" fmla="*/ 1247184 h 1357700"/>
              <a:gd name="connsiteX87" fmla="*/ 4788036 w 10678681"/>
              <a:gd name="connsiteY87" fmla="*/ 1238182 h 1357700"/>
              <a:gd name="connsiteX88" fmla="*/ 4747555 w 10678681"/>
              <a:gd name="connsiteY88" fmla="*/ 1252768 h 1357700"/>
              <a:gd name="connsiteX89" fmla="*/ 4679644 w 10678681"/>
              <a:gd name="connsiteY89" fmla="*/ 1276603 h 1357700"/>
              <a:gd name="connsiteX90" fmla="*/ 4632222 w 10678681"/>
              <a:gd name="connsiteY90" fmla="*/ 1318360 h 1357700"/>
              <a:gd name="connsiteX91" fmla="*/ 4617358 w 10678681"/>
              <a:gd name="connsiteY91" fmla="*/ 1327690 h 1357700"/>
              <a:gd name="connsiteX92" fmla="*/ 4589102 w 10678681"/>
              <a:gd name="connsiteY92" fmla="*/ 1321223 h 1357700"/>
              <a:gd name="connsiteX93" fmla="*/ 4578184 w 10678681"/>
              <a:gd name="connsiteY93" fmla="*/ 1326745 h 1357700"/>
              <a:gd name="connsiteX94" fmla="*/ 4574270 w 10678681"/>
              <a:gd name="connsiteY94" fmla="*/ 1325878 h 1357700"/>
              <a:gd name="connsiteX95" fmla="*/ 4564919 w 10678681"/>
              <a:gd name="connsiteY95" fmla="*/ 1325507 h 1357700"/>
              <a:gd name="connsiteX96" fmla="*/ 4566586 w 10678681"/>
              <a:gd name="connsiteY96" fmla="*/ 1316963 h 1357700"/>
              <a:gd name="connsiteX97" fmla="*/ 4556303 w 10678681"/>
              <a:gd name="connsiteY97" fmla="*/ 1300262 h 1357700"/>
              <a:gd name="connsiteX98" fmla="*/ 4502358 w 10678681"/>
              <a:gd name="connsiteY98" fmla="*/ 1302558 h 1357700"/>
              <a:gd name="connsiteX99" fmla="*/ 4498919 w 10678681"/>
              <a:gd name="connsiteY99" fmla="*/ 1312115 h 1357700"/>
              <a:gd name="connsiteX100" fmla="*/ 4492075 w 10678681"/>
              <a:gd name="connsiteY100" fmla="*/ 1313357 h 1357700"/>
              <a:gd name="connsiteX101" fmla="*/ 4487466 w 10678681"/>
              <a:gd name="connsiteY101" fmla="*/ 1304102 h 1357700"/>
              <a:gd name="connsiteX102" fmla="*/ 4398292 w 10678681"/>
              <a:gd name="connsiteY102" fmla="*/ 1278410 h 1357700"/>
              <a:gd name="connsiteX103" fmla="*/ 4306088 w 10678681"/>
              <a:gd name="connsiteY103" fmla="*/ 1282512 h 1357700"/>
              <a:gd name="connsiteX104" fmla="*/ 4188995 w 10678681"/>
              <a:gd name="connsiteY104" fmla="*/ 1296718 h 1357700"/>
              <a:gd name="connsiteX105" fmla="*/ 4136582 w 10678681"/>
              <a:gd name="connsiteY105" fmla="*/ 1287687 h 1357700"/>
              <a:gd name="connsiteX106" fmla="*/ 4064614 w 10678681"/>
              <a:gd name="connsiteY106" fmla="*/ 1296118 h 1357700"/>
              <a:gd name="connsiteX107" fmla="*/ 3906561 w 10678681"/>
              <a:gd name="connsiteY107" fmla="*/ 1352435 h 1357700"/>
              <a:gd name="connsiteX108" fmla="*/ 3787890 w 10678681"/>
              <a:gd name="connsiteY108" fmla="*/ 1352442 h 1357700"/>
              <a:gd name="connsiteX109" fmla="*/ 3745993 w 10678681"/>
              <a:gd name="connsiteY109" fmla="*/ 1342630 h 1357700"/>
              <a:gd name="connsiteX110" fmla="*/ 3675785 w 10678681"/>
              <a:gd name="connsiteY110" fmla="*/ 1326802 h 1357700"/>
              <a:gd name="connsiteX111" fmla="*/ 3623856 w 10678681"/>
              <a:gd name="connsiteY111" fmla="*/ 1290804 h 1357700"/>
              <a:gd name="connsiteX112" fmla="*/ 3564933 w 10678681"/>
              <a:gd name="connsiteY112" fmla="*/ 1287147 h 1357700"/>
              <a:gd name="connsiteX113" fmla="*/ 3550537 w 10678681"/>
              <a:gd name="connsiteY113" fmla="*/ 1317552 h 1357700"/>
              <a:gd name="connsiteX114" fmla="*/ 3487736 w 10678681"/>
              <a:gd name="connsiteY114" fmla="*/ 1303493 h 1357700"/>
              <a:gd name="connsiteX115" fmla="*/ 3392548 w 10678681"/>
              <a:gd name="connsiteY115" fmla="*/ 1278741 h 1357700"/>
              <a:gd name="connsiteX116" fmla="*/ 3337466 w 10678681"/>
              <a:gd name="connsiteY116" fmla="*/ 1272537 h 1357700"/>
              <a:gd name="connsiteX117" fmla="*/ 3187206 w 10678681"/>
              <a:gd name="connsiteY117" fmla="*/ 1246821 h 1357700"/>
              <a:gd name="connsiteX118" fmla="*/ 3036856 w 10678681"/>
              <a:gd name="connsiteY118" fmla="*/ 1214383 h 1357700"/>
              <a:gd name="connsiteX119" fmla="*/ 2948654 w 10678681"/>
              <a:gd name="connsiteY119" fmla="*/ 1157455 h 1357700"/>
              <a:gd name="connsiteX120" fmla="*/ 2824973 w 10678681"/>
              <a:gd name="connsiteY120" fmla="*/ 1134864 h 1357700"/>
              <a:gd name="connsiteX121" fmla="*/ 2804398 w 10678681"/>
              <a:gd name="connsiteY121" fmla="*/ 1125556 h 1357700"/>
              <a:gd name="connsiteX122" fmla="*/ 2775396 w 10678681"/>
              <a:gd name="connsiteY122" fmla="*/ 1130148 h 1357700"/>
              <a:gd name="connsiteX123" fmla="*/ 2659096 w 10678681"/>
              <a:gd name="connsiteY123" fmla="*/ 1150294 h 1357700"/>
              <a:gd name="connsiteX124" fmla="*/ 2567088 w 10678681"/>
              <a:gd name="connsiteY124" fmla="*/ 1181781 h 1357700"/>
              <a:gd name="connsiteX125" fmla="*/ 2454501 w 10678681"/>
              <a:gd name="connsiteY125" fmla="*/ 1155455 h 1357700"/>
              <a:gd name="connsiteX126" fmla="*/ 2385161 w 10678681"/>
              <a:gd name="connsiteY126" fmla="*/ 1161312 h 1357700"/>
              <a:gd name="connsiteX127" fmla="*/ 2270528 w 10678681"/>
              <a:gd name="connsiteY127" fmla="*/ 1204338 h 1357700"/>
              <a:gd name="connsiteX128" fmla="*/ 2121820 w 10678681"/>
              <a:gd name="connsiteY128" fmla="*/ 1187078 h 1357700"/>
              <a:gd name="connsiteX129" fmla="*/ 2092716 w 10678681"/>
              <a:gd name="connsiteY129" fmla="*/ 1139224 h 1357700"/>
              <a:gd name="connsiteX130" fmla="*/ 2052449 w 10678681"/>
              <a:gd name="connsiteY130" fmla="*/ 1109687 h 1357700"/>
              <a:gd name="connsiteX131" fmla="*/ 2032607 w 10678681"/>
              <a:gd name="connsiteY131" fmla="*/ 1175477 h 1357700"/>
              <a:gd name="connsiteX132" fmla="*/ 1901837 w 10678681"/>
              <a:gd name="connsiteY132" fmla="*/ 1221762 h 1357700"/>
              <a:gd name="connsiteX133" fmla="*/ 1836762 w 10678681"/>
              <a:gd name="connsiteY133" fmla="*/ 1237387 h 1357700"/>
              <a:gd name="connsiteX134" fmla="*/ 1735877 w 10678681"/>
              <a:gd name="connsiteY134" fmla="*/ 1246527 h 1357700"/>
              <a:gd name="connsiteX135" fmla="*/ 1705069 w 10678681"/>
              <a:gd name="connsiteY135" fmla="*/ 1251989 h 1357700"/>
              <a:gd name="connsiteX136" fmla="*/ 1397689 w 10678681"/>
              <a:gd name="connsiteY136" fmla="*/ 1336144 h 1357700"/>
              <a:gd name="connsiteX137" fmla="*/ 1220734 w 10678681"/>
              <a:gd name="connsiteY137" fmla="*/ 1257811 h 1357700"/>
              <a:gd name="connsiteX138" fmla="*/ 1021737 w 10678681"/>
              <a:gd name="connsiteY138" fmla="*/ 1238739 h 1357700"/>
              <a:gd name="connsiteX139" fmla="*/ 959820 w 10678681"/>
              <a:gd name="connsiteY139" fmla="*/ 1275863 h 1357700"/>
              <a:gd name="connsiteX140" fmla="*/ 929137 w 10678681"/>
              <a:gd name="connsiteY140" fmla="*/ 1273957 h 1357700"/>
              <a:gd name="connsiteX141" fmla="*/ 878849 w 10678681"/>
              <a:gd name="connsiteY141" fmla="*/ 1266740 h 1357700"/>
              <a:gd name="connsiteX142" fmla="*/ 800667 w 10678681"/>
              <a:gd name="connsiteY142" fmla="*/ 1282041 h 1357700"/>
              <a:gd name="connsiteX143" fmla="*/ 644906 w 10678681"/>
              <a:gd name="connsiteY143" fmla="*/ 1273685 h 1357700"/>
              <a:gd name="connsiteX144" fmla="*/ 379869 w 10678681"/>
              <a:gd name="connsiteY144" fmla="*/ 1339165 h 1357700"/>
              <a:gd name="connsiteX145" fmla="*/ 137696 w 10678681"/>
              <a:gd name="connsiteY145" fmla="*/ 1319217 h 1357700"/>
              <a:gd name="connsiteX146" fmla="*/ 54250 w 10678681"/>
              <a:gd name="connsiteY146" fmla="*/ 1315838 h 1357700"/>
              <a:gd name="connsiteX147" fmla="*/ 28042 w 10678681"/>
              <a:gd name="connsiteY147" fmla="*/ 1297822 h 1357700"/>
              <a:gd name="connsiteX148" fmla="*/ 0 w 10678681"/>
              <a:gd name="connsiteY148" fmla="*/ 1294612 h 1357700"/>
              <a:gd name="connsiteX149" fmla="*/ 0 w 10678681"/>
              <a:gd name="connsiteY149"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98313 w 10678681"/>
              <a:gd name="connsiteY65" fmla="*/ 1063249 h 1357700"/>
              <a:gd name="connsiteX66" fmla="*/ 6437450 w 10678681"/>
              <a:gd name="connsiteY66" fmla="*/ 1101075 h 1357700"/>
              <a:gd name="connsiteX67" fmla="*/ 6327795 w 10678681"/>
              <a:gd name="connsiteY67" fmla="*/ 1088142 h 1357700"/>
              <a:gd name="connsiteX68" fmla="*/ 6136549 w 10678681"/>
              <a:gd name="connsiteY68" fmla="*/ 1100268 h 1357700"/>
              <a:gd name="connsiteX69" fmla="*/ 6004655 w 10678681"/>
              <a:gd name="connsiteY69" fmla="*/ 1114946 h 1357700"/>
              <a:gd name="connsiteX70" fmla="*/ 5936643 w 10678681"/>
              <a:gd name="connsiteY70" fmla="*/ 1095428 h 1357700"/>
              <a:gd name="connsiteX71" fmla="*/ 5912484 w 10678681"/>
              <a:gd name="connsiteY71" fmla="*/ 1112624 h 1357700"/>
              <a:gd name="connsiteX72" fmla="*/ 5908387 w 10678681"/>
              <a:gd name="connsiteY72" fmla="*/ 1116018 h 1357700"/>
              <a:gd name="connsiteX73" fmla="*/ 5890495 w 10678681"/>
              <a:gd name="connsiteY73" fmla="*/ 1120268 h 1357700"/>
              <a:gd name="connsiteX74" fmla="*/ 5887318 w 10678681"/>
              <a:gd name="connsiteY74" fmla="*/ 1133134 h 1357700"/>
              <a:gd name="connsiteX75" fmla="*/ 5861726 w 10678681"/>
              <a:gd name="connsiteY75" fmla="*/ 1147891 h 1357700"/>
              <a:gd name="connsiteX76" fmla="*/ 5805823 w 10678681"/>
              <a:gd name="connsiteY76" fmla="*/ 1152457 h 1357700"/>
              <a:gd name="connsiteX77" fmla="*/ 5689841 w 10678681"/>
              <a:gd name="connsiteY77" fmla="*/ 1176232 h 1357700"/>
              <a:gd name="connsiteX78" fmla="*/ 5605119 w 10678681"/>
              <a:gd name="connsiteY78" fmla="*/ 1190202 h 1357700"/>
              <a:gd name="connsiteX79" fmla="*/ 5488513 w 10678681"/>
              <a:gd name="connsiteY79" fmla="*/ 1205367 h 1357700"/>
              <a:gd name="connsiteX80" fmla="*/ 5402905 w 10678681"/>
              <a:gd name="connsiteY80" fmla="*/ 1241191 h 1357700"/>
              <a:gd name="connsiteX81" fmla="*/ 5285593 w 10678681"/>
              <a:gd name="connsiteY81" fmla="*/ 1273569 h 1357700"/>
              <a:gd name="connsiteX82" fmla="*/ 5192893 w 10678681"/>
              <a:gd name="connsiteY82" fmla="*/ 1247188 h 1357700"/>
              <a:gd name="connsiteX83" fmla="*/ 5186475 w 10678681"/>
              <a:gd name="connsiteY83" fmla="*/ 1257028 h 1357700"/>
              <a:gd name="connsiteX84" fmla="*/ 5126038 w 10678681"/>
              <a:gd name="connsiteY84" fmla="*/ 1263189 h 1357700"/>
              <a:gd name="connsiteX85" fmla="*/ 4894688 w 10678681"/>
              <a:gd name="connsiteY85" fmla="*/ 1247184 h 1357700"/>
              <a:gd name="connsiteX86" fmla="*/ 4788036 w 10678681"/>
              <a:gd name="connsiteY86" fmla="*/ 1238182 h 1357700"/>
              <a:gd name="connsiteX87" fmla="*/ 4747555 w 10678681"/>
              <a:gd name="connsiteY87" fmla="*/ 1252768 h 1357700"/>
              <a:gd name="connsiteX88" fmla="*/ 4679644 w 10678681"/>
              <a:gd name="connsiteY88" fmla="*/ 1276603 h 1357700"/>
              <a:gd name="connsiteX89" fmla="*/ 4632222 w 10678681"/>
              <a:gd name="connsiteY89" fmla="*/ 1318360 h 1357700"/>
              <a:gd name="connsiteX90" fmla="*/ 4617358 w 10678681"/>
              <a:gd name="connsiteY90" fmla="*/ 1327690 h 1357700"/>
              <a:gd name="connsiteX91" fmla="*/ 4589102 w 10678681"/>
              <a:gd name="connsiteY91" fmla="*/ 1321223 h 1357700"/>
              <a:gd name="connsiteX92" fmla="*/ 4578184 w 10678681"/>
              <a:gd name="connsiteY92" fmla="*/ 1326745 h 1357700"/>
              <a:gd name="connsiteX93" fmla="*/ 4574270 w 10678681"/>
              <a:gd name="connsiteY93" fmla="*/ 1325878 h 1357700"/>
              <a:gd name="connsiteX94" fmla="*/ 4564919 w 10678681"/>
              <a:gd name="connsiteY94" fmla="*/ 1325507 h 1357700"/>
              <a:gd name="connsiteX95" fmla="*/ 4566586 w 10678681"/>
              <a:gd name="connsiteY95" fmla="*/ 1316963 h 1357700"/>
              <a:gd name="connsiteX96" fmla="*/ 4556303 w 10678681"/>
              <a:gd name="connsiteY96" fmla="*/ 1300262 h 1357700"/>
              <a:gd name="connsiteX97" fmla="*/ 4502358 w 10678681"/>
              <a:gd name="connsiteY97" fmla="*/ 1302558 h 1357700"/>
              <a:gd name="connsiteX98" fmla="*/ 4498919 w 10678681"/>
              <a:gd name="connsiteY98" fmla="*/ 1312115 h 1357700"/>
              <a:gd name="connsiteX99" fmla="*/ 4492075 w 10678681"/>
              <a:gd name="connsiteY99" fmla="*/ 1313357 h 1357700"/>
              <a:gd name="connsiteX100" fmla="*/ 4487466 w 10678681"/>
              <a:gd name="connsiteY100" fmla="*/ 1304102 h 1357700"/>
              <a:gd name="connsiteX101" fmla="*/ 4398292 w 10678681"/>
              <a:gd name="connsiteY101" fmla="*/ 1278410 h 1357700"/>
              <a:gd name="connsiteX102" fmla="*/ 4306088 w 10678681"/>
              <a:gd name="connsiteY102" fmla="*/ 1282512 h 1357700"/>
              <a:gd name="connsiteX103" fmla="*/ 4188995 w 10678681"/>
              <a:gd name="connsiteY103" fmla="*/ 1296718 h 1357700"/>
              <a:gd name="connsiteX104" fmla="*/ 4136582 w 10678681"/>
              <a:gd name="connsiteY104" fmla="*/ 1287687 h 1357700"/>
              <a:gd name="connsiteX105" fmla="*/ 4064614 w 10678681"/>
              <a:gd name="connsiteY105" fmla="*/ 1296118 h 1357700"/>
              <a:gd name="connsiteX106" fmla="*/ 3906561 w 10678681"/>
              <a:gd name="connsiteY106" fmla="*/ 1352435 h 1357700"/>
              <a:gd name="connsiteX107" fmla="*/ 3787890 w 10678681"/>
              <a:gd name="connsiteY107" fmla="*/ 1352442 h 1357700"/>
              <a:gd name="connsiteX108" fmla="*/ 3745993 w 10678681"/>
              <a:gd name="connsiteY108" fmla="*/ 1342630 h 1357700"/>
              <a:gd name="connsiteX109" fmla="*/ 3675785 w 10678681"/>
              <a:gd name="connsiteY109" fmla="*/ 1326802 h 1357700"/>
              <a:gd name="connsiteX110" fmla="*/ 3623856 w 10678681"/>
              <a:gd name="connsiteY110" fmla="*/ 1290804 h 1357700"/>
              <a:gd name="connsiteX111" fmla="*/ 3564933 w 10678681"/>
              <a:gd name="connsiteY111" fmla="*/ 1287147 h 1357700"/>
              <a:gd name="connsiteX112" fmla="*/ 3550537 w 10678681"/>
              <a:gd name="connsiteY112" fmla="*/ 1317552 h 1357700"/>
              <a:gd name="connsiteX113" fmla="*/ 3487736 w 10678681"/>
              <a:gd name="connsiteY113" fmla="*/ 1303493 h 1357700"/>
              <a:gd name="connsiteX114" fmla="*/ 3392548 w 10678681"/>
              <a:gd name="connsiteY114" fmla="*/ 1278741 h 1357700"/>
              <a:gd name="connsiteX115" fmla="*/ 3337466 w 10678681"/>
              <a:gd name="connsiteY115" fmla="*/ 1272537 h 1357700"/>
              <a:gd name="connsiteX116" fmla="*/ 3187206 w 10678681"/>
              <a:gd name="connsiteY116" fmla="*/ 1246821 h 1357700"/>
              <a:gd name="connsiteX117" fmla="*/ 3036856 w 10678681"/>
              <a:gd name="connsiteY117" fmla="*/ 1214383 h 1357700"/>
              <a:gd name="connsiteX118" fmla="*/ 2948654 w 10678681"/>
              <a:gd name="connsiteY118" fmla="*/ 1157455 h 1357700"/>
              <a:gd name="connsiteX119" fmla="*/ 2824973 w 10678681"/>
              <a:gd name="connsiteY119" fmla="*/ 1134864 h 1357700"/>
              <a:gd name="connsiteX120" fmla="*/ 2804398 w 10678681"/>
              <a:gd name="connsiteY120" fmla="*/ 1125556 h 1357700"/>
              <a:gd name="connsiteX121" fmla="*/ 2775396 w 10678681"/>
              <a:gd name="connsiteY121" fmla="*/ 1130148 h 1357700"/>
              <a:gd name="connsiteX122" fmla="*/ 2659096 w 10678681"/>
              <a:gd name="connsiteY122" fmla="*/ 1150294 h 1357700"/>
              <a:gd name="connsiteX123" fmla="*/ 2567088 w 10678681"/>
              <a:gd name="connsiteY123" fmla="*/ 1181781 h 1357700"/>
              <a:gd name="connsiteX124" fmla="*/ 2454501 w 10678681"/>
              <a:gd name="connsiteY124" fmla="*/ 1155455 h 1357700"/>
              <a:gd name="connsiteX125" fmla="*/ 2385161 w 10678681"/>
              <a:gd name="connsiteY125" fmla="*/ 1161312 h 1357700"/>
              <a:gd name="connsiteX126" fmla="*/ 2270528 w 10678681"/>
              <a:gd name="connsiteY126" fmla="*/ 1204338 h 1357700"/>
              <a:gd name="connsiteX127" fmla="*/ 2121820 w 10678681"/>
              <a:gd name="connsiteY127" fmla="*/ 1187078 h 1357700"/>
              <a:gd name="connsiteX128" fmla="*/ 2092716 w 10678681"/>
              <a:gd name="connsiteY128" fmla="*/ 1139224 h 1357700"/>
              <a:gd name="connsiteX129" fmla="*/ 2052449 w 10678681"/>
              <a:gd name="connsiteY129" fmla="*/ 1109687 h 1357700"/>
              <a:gd name="connsiteX130" fmla="*/ 2032607 w 10678681"/>
              <a:gd name="connsiteY130" fmla="*/ 1175477 h 1357700"/>
              <a:gd name="connsiteX131" fmla="*/ 1901837 w 10678681"/>
              <a:gd name="connsiteY131" fmla="*/ 1221762 h 1357700"/>
              <a:gd name="connsiteX132" fmla="*/ 1836762 w 10678681"/>
              <a:gd name="connsiteY132" fmla="*/ 1237387 h 1357700"/>
              <a:gd name="connsiteX133" fmla="*/ 1735877 w 10678681"/>
              <a:gd name="connsiteY133" fmla="*/ 1246527 h 1357700"/>
              <a:gd name="connsiteX134" fmla="*/ 1705069 w 10678681"/>
              <a:gd name="connsiteY134" fmla="*/ 1251989 h 1357700"/>
              <a:gd name="connsiteX135" fmla="*/ 1397689 w 10678681"/>
              <a:gd name="connsiteY135" fmla="*/ 1336144 h 1357700"/>
              <a:gd name="connsiteX136" fmla="*/ 1220734 w 10678681"/>
              <a:gd name="connsiteY136" fmla="*/ 1257811 h 1357700"/>
              <a:gd name="connsiteX137" fmla="*/ 1021737 w 10678681"/>
              <a:gd name="connsiteY137" fmla="*/ 1238739 h 1357700"/>
              <a:gd name="connsiteX138" fmla="*/ 959820 w 10678681"/>
              <a:gd name="connsiteY138" fmla="*/ 1275863 h 1357700"/>
              <a:gd name="connsiteX139" fmla="*/ 929137 w 10678681"/>
              <a:gd name="connsiteY139" fmla="*/ 1273957 h 1357700"/>
              <a:gd name="connsiteX140" fmla="*/ 878849 w 10678681"/>
              <a:gd name="connsiteY140" fmla="*/ 1266740 h 1357700"/>
              <a:gd name="connsiteX141" fmla="*/ 800667 w 10678681"/>
              <a:gd name="connsiteY141" fmla="*/ 1282041 h 1357700"/>
              <a:gd name="connsiteX142" fmla="*/ 644906 w 10678681"/>
              <a:gd name="connsiteY142" fmla="*/ 1273685 h 1357700"/>
              <a:gd name="connsiteX143" fmla="*/ 379869 w 10678681"/>
              <a:gd name="connsiteY143" fmla="*/ 1339165 h 1357700"/>
              <a:gd name="connsiteX144" fmla="*/ 137696 w 10678681"/>
              <a:gd name="connsiteY144" fmla="*/ 1319217 h 1357700"/>
              <a:gd name="connsiteX145" fmla="*/ 54250 w 10678681"/>
              <a:gd name="connsiteY145" fmla="*/ 1315838 h 1357700"/>
              <a:gd name="connsiteX146" fmla="*/ 28042 w 10678681"/>
              <a:gd name="connsiteY146" fmla="*/ 1297822 h 1357700"/>
              <a:gd name="connsiteX147" fmla="*/ 0 w 10678681"/>
              <a:gd name="connsiteY147" fmla="*/ 1294612 h 1357700"/>
              <a:gd name="connsiteX148" fmla="*/ 0 w 10678681"/>
              <a:gd name="connsiteY148"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64639 w 10678681"/>
              <a:gd name="connsiteY65" fmla="*/ 1017831 h 1357700"/>
              <a:gd name="connsiteX66" fmla="*/ 6437450 w 10678681"/>
              <a:gd name="connsiteY66" fmla="*/ 1101075 h 1357700"/>
              <a:gd name="connsiteX67" fmla="*/ 6327795 w 10678681"/>
              <a:gd name="connsiteY67" fmla="*/ 1088142 h 1357700"/>
              <a:gd name="connsiteX68" fmla="*/ 6136549 w 10678681"/>
              <a:gd name="connsiteY68" fmla="*/ 1100268 h 1357700"/>
              <a:gd name="connsiteX69" fmla="*/ 6004655 w 10678681"/>
              <a:gd name="connsiteY69" fmla="*/ 1114946 h 1357700"/>
              <a:gd name="connsiteX70" fmla="*/ 5936643 w 10678681"/>
              <a:gd name="connsiteY70" fmla="*/ 1095428 h 1357700"/>
              <a:gd name="connsiteX71" fmla="*/ 5912484 w 10678681"/>
              <a:gd name="connsiteY71" fmla="*/ 1112624 h 1357700"/>
              <a:gd name="connsiteX72" fmla="*/ 5908387 w 10678681"/>
              <a:gd name="connsiteY72" fmla="*/ 1116018 h 1357700"/>
              <a:gd name="connsiteX73" fmla="*/ 5890495 w 10678681"/>
              <a:gd name="connsiteY73" fmla="*/ 1120268 h 1357700"/>
              <a:gd name="connsiteX74" fmla="*/ 5887318 w 10678681"/>
              <a:gd name="connsiteY74" fmla="*/ 1133134 h 1357700"/>
              <a:gd name="connsiteX75" fmla="*/ 5861726 w 10678681"/>
              <a:gd name="connsiteY75" fmla="*/ 1147891 h 1357700"/>
              <a:gd name="connsiteX76" fmla="*/ 5805823 w 10678681"/>
              <a:gd name="connsiteY76" fmla="*/ 1152457 h 1357700"/>
              <a:gd name="connsiteX77" fmla="*/ 5689841 w 10678681"/>
              <a:gd name="connsiteY77" fmla="*/ 1176232 h 1357700"/>
              <a:gd name="connsiteX78" fmla="*/ 5605119 w 10678681"/>
              <a:gd name="connsiteY78" fmla="*/ 1190202 h 1357700"/>
              <a:gd name="connsiteX79" fmla="*/ 5488513 w 10678681"/>
              <a:gd name="connsiteY79" fmla="*/ 1205367 h 1357700"/>
              <a:gd name="connsiteX80" fmla="*/ 5402905 w 10678681"/>
              <a:gd name="connsiteY80" fmla="*/ 1241191 h 1357700"/>
              <a:gd name="connsiteX81" fmla="*/ 5285593 w 10678681"/>
              <a:gd name="connsiteY81" fmla="*/ 1273569 h 1357700"/>
              <a:gd name="connsiteX82" fmla="*/ 5192893 w 10678681"/>
              <a:gd name="connsiteY82" fmla="*/ 1247188 h 1357700"/>
              <a:gd name="connsiteX83" fmla="*/ 5186475 w 10678681"/>
              <a:gd name="connsiteY83" fmla="*/ 1257028 h 1357700"/>
              <a:gd name="connsiteX84" fmla="*/ 5126038 w 10678681"/>
              <a:gd name="connsiteY84" fmla="*/ 1263189 h 1357700"/>
              <a:gd name="connsiteX85" fmla="*/ 4894688 w 10678681"/>
              <a:gd name="connsiteY85" fmla="*/ 1247184 h 1357700"/>
              <a:gd name="connsiteX86" fmla="*/ 4788036 w 10678681"/>
              <a:gd name="connsiteY86" fmla="*/ 1238182 h 1357700"/>
              <a:gd name="connsiteX87" fmla="*/ 4747555 w 10678681"/>
              <a:gd name="connsiteY87" fmla="*/ 1252768 h 1357700"/>
              <a:gd name="connsiteX88" fmla="*/ 4679644 w 10678681"/>
              <a:gd name="connsiteY88" fmla="*/ 1276603 h 1357700"/>
              <a:gd name="connsiteX89" fmla="*/ 4632222 w 10678681"/>
              <a:gd name="connsiteY89" fmla="*/ 1318360 h 1357700"/>
              <a:gd name="connsiteX90" fmla="*/ 4617358 w 10678681"/>
              <a:gd name="connsiteY90" fmla="*/ 1327690 h 1357700"/>
              <a:gd name="connsiteX91" fmla="*/ 4589102 w 10678681"/>
              <a:gd name="connsiteY91" fmla="*/ 1321223 h 1357700"/>
              <a:gd name="connsiteX92" fmla="*/ 4578184 w 10678681"/>
              <a:gd name="connsiteY92" fmla="*/ 1326745 h 1357700"/>
              <a:gd name="connsiteX93" fmla="*/ 4574270 w 10678681"/>
              <a:gd name="connsiteY93" fmla="*/ 1325878 h 1357700"/>
              <a:gd name="connsiteX94" fmla="*/ 4564919 w 10678681"/>
              <a:gd name="connsiteY94" fmla="*/ 1325507 h 1357700"/>
              <a:gd name="connsiteX95" fmla="*/ 4566586 w 10678681"/>
              <a:gd name="connsiteY95" fmla="*/ 1316963 h 1357700"/>
              <a:gd name="connsiteX96" fmla="*/ 4556303 w 10678681"/>
              <a:gd name="connsiteY96" fmla="*/ 1300262 h 1357700"/>
              <a:gd name="connsiteX97" fmla="*/ 4502358 w 10678681"/>
              <a:gd name="connsiteY97" fmla="*/ 1302558 h 1357700"/>
              <a:gd name="connsiteX98" fmla="*/ 4498919 w 10678681"/>
              <a:gd name="connsiteY98" fmla="*/ 1312115 h 1357700"/>
              <a:gd name="connsiteX99" fmla="*/ 4492075 w 10678681"/>
              <a:gd name="connsiteY99" fmla="*/ 1313357 h 1357700"/>
              <a:gd name="connsiteX100" fmla="*/ 4487466 w 10678681"/>
              <a:gd name="connsiteY100" fmla="*/ 1304102 h 1357700"/>
              <a:gd name="connsiteX101" fmla="*/ 4398292 w 10678681"/>
              <a:gd name="connsiteY101" fmla="*/ 1278410 h 1357700"/>
              <a:gd name="connsiteX102" fmla="*/ 4306088 w 10678681"/>
              <a:gd name="connsiteY102" fmla="*/ 1282512 h 1357700"/>
              <a:gd name="connsiteX103" fmla="*/ 4188995 w 10678681"/>
              <a:gd name="connsiteY103" fmla="*/ 1296718 h 1357700"/>
              <a:gd name="connsiteX104" fmla="*/ 4136582 w 10678681"/>
              <a:gd name="connsiteY104" fmla="*/ 1287687 h 1357700"/>
              <a:gd name="connsiteX105" fmla="*/ 4064614 w 10678681"/>
              <a:gd name="connsiteY105" fmla="*/ 1296118 h 1357700"/>
              <a:gd name="connsiteX106" fmla="*/ 3906561 w 10678681"/>
              <a:gd name="connsiteY106" fmla="*/ 1352435 h 1357700"/>
              <a:gd name="connsiteX107" fmla="*/ 3787890 w 10678681"/>
              <a:gd name="connsiteY107" fmla="*/ 1352442 h 1357700"/>
              <a:gd name="connsiteX108" fmla="*/ 3745993 w 10678681"/>
              <a:gd name="connsiteY108" fmla="*/ 1342630 h 1357700"/>
              <a:gd name="connsiteX109" fmla="*/ 3675785 w 10678681"/>
              <a:gd name="connsiteY109" fmla="*/ 1326802 h 1357700"/>
              <a:gd name="connsiteX110" fmla="*/ 3623856 w 10678681"/>
              <a:gd name="connsiteY110" fmla="*/ 1290804 h 1357700"/>
              <a:gd name="connsiteX111" fmla="*/ 3564933 w 10678681"/>
              <a:gd name="connsiteY111" fmla="*/ 1287147 h 1357700"/>
              <a:gd name="connsiteX112" fmla="*/ 3550537 w 10678681"/>
              <a:gd name="connsiteY112" fmla="*/ 1317552 h 1357700"/>
              <a:gd name="connsiteX113" fmla="*/ 3487736 w 10678681"/>
              <a:gd name="connsiteY113" fmla="*/ 1303493 h 1357700"/>
              <a:gd name="connsiteX114" fmla="*/ 3392548 w 10678681"/>
              <a:gd name="connsiteY114" fmla="*/ 1278741 h 1357700"/>
              <a:gd name="connsiteX115" fmla="*/ 3337466 w 10678681"/>
              <a:gd name="connsiteY115" fmla="*/ 1272537 h 1357700"/>
              <a:gd name="connsiteX116" fmla="*/ 3187206 w 10678681"/>
              <a:gd name="connsiteY116" fmla="*/ 1246821 h 1357700"/>
              <a:gd name="connsiteX117" fmla="*/ 3036856 w 10678681"/>
              <a:gd name="connsiteY117" fmla="*/ 1214383 h 1357700"/>
              <a:gd name="connsiteX118" fmla="*/ 2948654 w 10678681"/>
              <a:gd name="connsiteY118" fmla="*/ 1157455 h 1357700"/>
              <a:gd name="connsiteX119" fmla="*/ 2824973 w 10678681"/>
              <a:gd name="connsiteY119" fmla="*/ 1134864 h 1357700"/>
              <a:gd name="connsiteX120" fmla="*/ 2804398 w 10678681"/>
              <a:gd name="connsiteY120" fmla="*/ 1125556 h 1357700"/>
              <a:gd name="connsiteX121" fmla="*/ 2775396 w 10678681"/>
              <a:gd name="connsiteY121" fmla="*/ 1130148 h 1357700"/>
              <a:gd name="connsiteX122" fmla="*/ 2659096 w 10678681"/>
              <a:gd name="connsiteY122" fmla="*/ 1150294 h 1357700"/>
              <a:gd name="connsiteX123" fmla="*/ 2567088 w 10678681"/>
              <a:gd name="connsiteY123" fmla="*/ 1181781 h 1357700"/>
              <a:gd name="connsiteX124" fmla="*/ 2454501 w 10678681"/>
              <a:gd name="connsiteY124" fmla="*/ 1155455 h 1357700"/>
              <a:gd name="connsiteX125" fmla="*/ 2385161 w 10678681"/>
              <a:gd name="connsiteY125" fmla="*/ 1161312 h 1357700"/>
              <a:gd name="connsiteX126" fmla="*/ 2270528 w 10678681"/>
              <a:gd name="connsiteY126" fmla="*/ 1204338 h 1357700"/>
              <a:gd name="connsiteX127" fmla="*/ 2121820 w 10678681"/>
              <a:gd name="connsiteY127" fmla="*/ 1187078 h 1357700"/>
              <a:gd name="connsiteX128" fmla="*/ 2092716 w 10678681"/>
              <a:gd name="connsiteY128" fmla="*/ 1139224 h 1357700"/>
              <a:gd name="connsiteX129" fmla="*/ 2052449 w 10678681"/>
              <a:gd name="connsiteY129" fmla="*/ 1109687 h 1357700"/>
              <a:gd name="connsiteX130" fmla="*/ 2032607 w 10678681"/>
              <a:gd name="connsiteY130" fmla="*/ 1175477 h 1357700"/>
              <a:gd name="connsiteX131" fmla="*/ 1901837 w 10678681"/>
              <a:gd name="connsiteY131" fmla="*/ 1221762 h 1357700"/>
              <a:gd name="connsiteX132" fmla="*/ 1836762 w 10678681"/>
              <a:gd name="connsiteY132" fmla="*/ 1237387 h 1357700"/>
              <a:gd name="connsiteX133" fmla="*/ 1735877 w 10678681"/>
              <a:gd name="connsiteY133" fmla="*/ 1246527 h 1357700"/>
              <a:gd name="connsiteX134" fmla="*/ 1705069 w 10678681"/>
              <a:gd name="connsiteY134" fmla="*/ 1251989 h 1357700"/>
              <a:gd name="connsiteX135" fmla="*/ 1397689 w 10678681"/>
              <a:gd name="connsiteY135" fmla="*/ 1336144 h 1357700"/>
              <a:gd name="connsiteX136" fmla="*/ 1220734 w 10678681"/>
              <a:gd name="connsiteY136" fmla="*/ 1257811 h 1357700"/>
              <a:gd name="connsiteX137" fmla="*/ 1021737 w 10678681"/>
              <a:gd name="connsiteY137" fmla="*/ 1238739 h 1357700"/>
              <a:gd name="connsiteX138" fmla="*/ 959820 w 10678681"/>
              <a:gd name="connsiteY138" fmla="*/ 1275863 h 1357700"/>
              <a:gd name="connsiteX139" fmla="*/ 929137 w 10678681"/>
              <a:gd name="connsiteY139" fmla="*/ 1273957 h 1357700"/>
              <a:gd name="connsiteX140" fmla="*/ 878849 w 10678681"/>
              <a:gd name="connsiteY140" fmla="*/ 1266740 h 1357700"/>
              <a:gd name="connsiteX141" fmla="*/ 800667 w 10678681"/>
              <a:gd name="connsiteY141" fmla="*/ 1282041 h 1357700"/>
              <a:gd name="connsiteX142" fmla="*/ 644906 w 10678681"/>
              <a:gd name="connsiteY142" fmla="*/ 1273685 h 1357700"/>
              <a:gd name="connsiteX143" fmla="*/ 379869 w 10678681"/>
              <a:gd name="connsiteY143" fmla="*/ 1339165 h 1357700"/>
              <a:gd name="connsiteX144" fmla="*/ 137696 w 10678681"/>
              <a:gd name="connsiteY144" fmla="*/ 1319217 h 1357700"/>
              <a:gd name="connsiteX145" fmla="*/ 54250 w 10678681"/>
              <a:gd name="connsiteY145" fmla="*/ 1315838 h 1357700"/>
              <a:gd name="connsiteX146" fmla="*/ 28042 w 10678681"/>
              <a:gd name="connsiteY146" fmla="*/ 1297822 h 1357700"/>
              <a:gd name="connsiteX147" fmla="*/ 0 w 10678681"/>
              <a:gd name="connsiteY147" fmla="*/ 1294612 h 1357700"/>
              <a:gd name="connsiteX148" fmla="*/ 0 w 10678681"/>
              <a:gd name="connsiteY148"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64639 w 10678681"/>
              <a:gd name="connsiteY65" fmla="*/ 1017831 h 1357700"/>
              <a:gd name="connsiteX66" fmla="*/ 6437450 w 10678681"/>
              <a:gd name="connsiteY66" fmla="*/ 1101075 h 1357700"/>
              <a:gd name="connsiteX67" fmla="*/ 6327795 w 10678681"/>
              <a:gd name="connsiteY67" fmla="*/ 1088142 h 1357700"/>
              <a:gd name="connsiteX68" fmla="*/ 6136549 w 10678681"/>
              <a:gd name="connsiteY68" fmla="*/ 1100268 h 1357700"/>
              <a:gd name="connsiteX69" fmla="*/ 6004655 w 10678681"/>
              <a:gd name="connsiteY69" fmla="*/ 1114946 h 1357700"/>
              <a:gd name="connsiteX70" fmla="*/ 5936643 w 10678681"/>
              <a:gd name="connsiteY70" fmla="*/ 1095428 h 1357700"/>
              <a:gd name="connsiteX71" fmla="*/ 5912484 w 10678681"/>
              <a:gd name="connsiteY71" fmla="*/ 1112624 h 1357700"/>
              <a:gd name="connsiteX72" fmla="*/ 5908387 w 10678681"/>
              <a:gd name="connsiteY72" fmla="*/ 1116018 h 1357700"/>
              <a:gd name="connsiteX73" fmla="*/ 5890495 w 10678681"/>
              <a:gd name="connsiteY73" fmla="*/ 1120268 h 1357700"/>
              <a:gd name="connsiteX74" fmla="*/ 5887318 w 10678681"/>
              <a:gd name="connsiteY74" fmla="*/ 1133134 h 1357700"/>
              <a:gd name="connsiteX75" fmla="*/ 5861726 w 10678681"/>
              <a:gd name="connsiteY75" fmla="*/ 1147891 h 1357700"/>
              <a:gd name="connsiteX76" fmla="*/ 5805823 w 10678681"/>
              <a:gd name="connsiteY76" fmla="*/ 1152457 h 1357700"/>
              <a:gd name="connsiteX77" fmla="*/ 5689841 w 10678681"/>
              <a:gd name="connsiteY77" fmla="*/ 1176232 h 1357700"/>
              <a:gd name="connsiteX78" fmla="*/ 5605119 w 10678681"/>
              <a:gd name="connsiteY78" fmla="*/ 1190202 h 1357700"/>
              <a:gd name="connsiteX79" fmla="*/ 5488513 w 10678681"/>
              <a:gd name="connsiteY79" fmla="*/ 1205367 h 1357700"/>
              <a:gd name="connsiteX80" fmla="*/ 5402905 w 10678681"/>
              <a:gd name="connsiteY80" fmla="*/ 1241191 h 1357700"/>
              <a:gd name="connsiteX81" fmla="*/ 5285593 w 10678681"/>
              <a:gd name="connsiteY81" fmla="*/ 1273569 h 1357700"/>
              <a:gd name="connsiteX82" fmla="*/ 5192893 w 10678681"/>
              <a:gd name="connsiteY82" fmla="*/ 1247188 h 1357700"/>
              <a:gd name="connsiteX83" fmla="*/ 5186475 w 10678681"/>
              <a:gd name="connsiteY83" fmla="*/ 1257028 h 1357700"/>
              <a:gd name="connsiteX84" fmla="*/ 5126038 w 10678681"/>
              <a:gd name="connsiteY84" fmla="*/ 1263189 h 1357700"/>
              <a:gd name="connsiteX85" fmla="*/ 4894688 w 10678681"/>
              <a:gd name="connsiteY85" fmla="*/ 1247184 h 1357700"/>
              <a:gd name="connsiteX86" fmla="*/ 4788036 w 10678681"/>
              <a:gd name="connsiteY86" fmla="*/ 1238182 h 1357700"/>
              <a:gd name="connsiteX87" fmla="*/ 4747555 w 10678681"/>
              <a:gd name="connsiteY87" fmla="*/ 1252768 h 1357700"/>
              <a:gd name="connsiteX88" fmla="*/ 4679644 w 10678681"/>
              <a:gd name="connsiteY88" fmla="*/ 1276603 h 1357700"/>
              <a:gd name="connsiteX89" fmla="*/ 4632222 w 10678681"/>
              <a:gd name="connsiteY89" fmla="*/ 1318360 h 1357700"/>
              <a:gd name="connsiteX90" fmla="*/ 4617358 w 10678681"/>
              <a:gd name="connsiteY90" fmla="*/ 1327690 h 1357700"/>
              <a:gd name="connsiteX91" fmla="*/ 4589102 w 10678681"/>
              <a:gd name="connsiteY91" fmla="*/ 1321223 h 1357700"/>
              <a:gd name="connsiteX92" fmla="*/ 4578184 w 10678681"/>
              <a:gd name="connsiteY92" fmla="*/ 1326745 h 1357700"/>
              <a:gd name="connsiteX93" fmla="*/ 4574270 w 10678681"/>
              <a:gd name="connsiteY93" fmla="*/ 1325878 h 1357700"/>
              <a:gd name="connsiteX94" fmla="*/ 4564919 w 10678681"/>
              <a:gd name="connsiteY94" fmla="*/ 1325507 h 1357700"/>
              <a:gd name="connsiteX95" fmla="*/ 4566586 w 10678681"/>
              <a:gd name="connsiteY95" fmla="*/ 1316963 h 1357700"/>
              <a:gd name="connsiteX96" fmla="*/ 4556303 w 10678681"/>
              <a:gd name="connsiteY96" fmla="*/ 1300262 h 1357700"/>
              <a:gd name="connsiteX97" fmla="*/ 4502358 w 10678681"/>
              <a:gd name="connsiteY97" fmla="*/ 1302558 h 1357700"/>
              <a:gd name="connsiteX98" fmla="*/ 4498919 w 10678681"/>
              <a:gd name="connsiteY98" fmla="*/ 1312115 h 1357700"/>
              <a:gd name="connsiteX99" fmla="*/ 4492075 w 10678681"/>
              <a:gd name="connsiteY99" fmla="*/ 1313357 h 1357700"/>
              <a:gd name="connsiteX100" fmla="*/ 4487466 w 10678681"/>
              <a:gd name="connsiteY100" fmla="*/ 1304102 h 1357700"/>
              <a:gd name="connsiteX101" fmla="*/ 4398292 w 10678681"/>
              <a:gd name="connsiteY101" fmla="*/ 1278410 h 1357700"/>
              <a:gd name="connsiteX102" fmla="*/ 4306088 w 10678681"/>
              <a:gd name="connsiteY102" fmla="*/ 1282512 h 1357700"/>
              <a:gd name="connsiteX103" fmla="*/ 4188995 w 10678681"/>
              <a:gd name="connsiteY103" fmla="*/ 1296718 h 1357700"/>
              <a:gd name="connsiteX104" fmla="*/ 4136582 w 10678681"/>
              <a:gd name="connsiteY104" fmla="*/ 1287687 h 1357700"/>
              <a:gd name="connsiteX105" fmla="*/ 4064614 w 10678681"/>
              <a:gd name="connsiteY105" fmla="*/ 1296118 h 1357700"/>
              <a:gd name="connsiteX106" fmla="*/ 3906561 w 10678681"/>
              <a:gd name="connsiteY106" fmla="*/ 1352435 h 1357700"/>
              <a:gd name="connsiteX107" fmla="*/ 3787890 w 10678681"/>
              <a:gd name="connsiteY107" fmla="*/ 1352442 h 1357700"/>
              <a:gd name="connsiteX108" fmla="*/ 3745993 w 10678681"/>
              <a:gd name="connsiteY108" fmla="*/ 1342630 h 1357700"/>
              <a:gd name="connsiteX109" fmla="*/ 3675785 w 10678681"/>
              <a:gd name="connsiteY109" fmla="*/ 1326802 h 1357700"/>
              <a:gd name="connsiteX110" fmla="*/ 3623856 w 10678681"/>
              <a:gd name="connsiteY110" fmla="*/ 1290804 h 1357700"/>
              <a:gd name="connsiteX111" fmla="*/ 3564933 w 10678681"/>
              <a:gd name="connsiteY111" fmla="*/ 1287147 h 1357700"/>
              <a:gd name="connsiteX112" fmla="*/ 3550537 w 10678681"/>
              <a:gd name="connsiteY112" fmla="*/ 1317552 h 1357700"/>
              <a:gd name="connsiteX113" fmla="*/ 3487736 w 10678681"/>
              <a:gd name="connsiteY113" fmla="*/ 1303493 h 1357700"/>
              <a:gd name="connsiteX114" fmla="*/ 3392548 w 10678681"/>
              <a:gd name="connsiteY114" fmla="*/ 1278741 h 1357700"/>
              <a:gd name="connsiteX115" fmla="*/ 3337466 w 10678681"/>
              <a:gd name="connsiteY115" fmla="*/ 1272537 h 1357700"/>
              <a:gd name="connsiteX116" fmla="*/ 3187206 w 10678681"/>
              <a:gd name="connsiteY116" fmla="*/ 1246821 h 1357700"/>
              <a:gd name="connsiteX117" fmla="*/ 3036856 w 10678681"/>
              <a:gd name="connsiteY117" fmla="*/ 1214383 h 1357700"/>
              <a:gd name="connsiteX118" fmla="*/ 2948654 w 10678681"/>
              <a:gd name="connsiteY118" fmla="*/ 1157455 h 1357700"/>
              <a:gd name="connsiteX119" fmla="*/ 2824973 w 10678681"/>
              <a:gd name="connsiteY119" fmla="*/ 1134864 h 1357700"/>
              <a:gd name="connsiteX120" fmla="*/ 2804398 w 10678681"/>
              <a:gd name="connsiteY120" fmla="*/ 1125556 h 1357700"/>
              <a:gd name="connsiteX121" fmla="*/ 2775396 w 10678681"/>
              <a:gd name="connsiteY121" fmla="*/ 1130148 h 1357700"/>
              <a:gd name="connsiteX122" fmla="*/ 2659096 w 10678681"/>
              <a:gd name="connsiteY122" fmla="*/ 1150294 h 1357700"/>
              <a:gd name="connsiteX123" fmla="*/ 2567088 w 10678681"/>
              <a:gd name="connsiteY123" fmla="*/ 1181781 h 1357700"/>
              <a:gd name="connsiteX124" fmla="*/ 2454501 w 10678681"/>
              <a:gd name="connsiteY124" fmla="*/ 1155455 h 1357700"/>
              <a:gd name="connsiteX125" fmla="*/ 2385161 w 10678681"/>
              <a:gd name="connsiteY125" fmla="*/ 1161312 h 1357700"/>
              <a:gd name="connsiteX126" fmla="*/ 2270528 w 10678681"/>
              <a:gd name="connsiteY126" fmla="*/ 1204338 h 1357700"/>
              <a:gd name="connsiteX127" fmla="*/ 2121820 w 10678681"/>
              <a:gd name="connsiteY127" fmla="*/ 1187078 h 1357700"/>
              <a:gd name="connsiteX128" fmla="*/ 2092716 w 10678681"/>
              <a:gd name="connsiteY128" fmla="*/ 1139224 h 1357700"/>
              <a:gd name="connsiteX129" fmla="*/ 2052449 w 10678681"/>
              <a:gd name="connsiteY129" fmla="*/ 1109687 h 1357700"/>
              <a:gd name="connsiteX130" fmla="*/ 2032607 w 10678681"/>
              <a:gd name="connsiteY130" fmla="*/ 1175477 h 1357700"/>
              <a:gd name="connsiteX131" fmla="*/ 1901837 w 10678681"/>
              <a:gd name="connsiteY131" fmla="*/ 1221762 h 1357700"/>
              <a:gd name="connsiteX132" fmla="*/ 1836762 w 10678681"/>
              <a:gd name="connsiteY132" fmla="*/ 1237387 h 1357700"/>
              <a:gd name="connsiteX133" fmla="*/ 1735877 w 10678681"/>
              <a:gd name="connsiteY133" fmla="*/ 1246527 h 1357700"/>
              <a:gd name="connsiteX134" fmla="*/ 1705069 w 10678681"/>
              <a:gd name="connsiteY134" fmla="*/ 1251989 h 1357700"/>
              <a:gd name="connsiteX135" fmla="*/ 1397689 w 10678681"/>
              <a:gd name="connsiteY135" fmla="*/ 1336144 h 1357700"/>
              <a:gd name="connsiteX136" fmla="*/ 1220734 w 10678681"/>
              <a:gd name="connsiteY136" fmla="*/ 1257811 h 1357700"/>
              <a:gd name="connsiteX137" fmla="*/ 1021737 w 10678681"/>
              <a:gd name="connsiteY137" fmla="*/ 1238739 h 1357700"/>
              <a:gd name="connsiteX138" fmla="*/ 959820 w 10678681"/>
              <a:gd name="connsiteY138" fmla="*/ 1275863 h 1357700"/>
              <a:gd name="connsiteX139" fmla="*/ 929137 w 10678681"/>
              <a:gd name="connsiteY139" fmla="*/ 1273957 h 1357700"/>
              <a:gd name="connsiteX140" fmla="*/ 878849 w 10678681"/>
              <a:gd name="connsiteY140" fmla="*/ 1266740 h 1357700"/>
              <a:gd name="connsiteX141" fmla="*/ 800667 w 10678681"/>
              <a:gd name="connsiteY141" fmla="*/ 1282041 h 1357700"/>
              <a:gd name="connsiteX142" fmla="*/ 644906 w 10678681"/>
              <a:gd name="connsiteY142" fmla="*/ 1273685 h 1357700"/>
              <a:gd name="connsiteX143" fmla="*/ 379869 w 10678681"/>
              <a:gd name="connsiteY143" fmla="*/ 1339165 h 1357700"/>
              <a:gd name="connsiteX144" fmla="*/ 137696 w 10678681"/>
              <a:gd name="connsiteY144" fmla="*/ 1319217 h 1357700"/>
              <a:gd name="connsiteX145" fmla="*/ 54250 w 10678681"/>
              <a:gd name="connsiteY145" fmla="*/ 1315838 h 1357700"/>
              <a:gd name="connsiteX146" fmla="*/ 28042 w 10678681"/>
              <a:gd name="connsiteY146" fmla="*/ 1297822 h 1357700"/>
              <a:gd name="connsiteX147" fmla="*/ 0 w 10678681"/>
              <a:gd name="connsiteY147" fmla="*/ 1294612 h 1357700"/>
              <a:gd name="connsiteX148" fmla="*/ 0 w 10678681"/>
              <a:gd name="connsiteY148"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87090 w 10678681"/>
              <a:gd name="connsiteY65" fmla="*/ 1063250 h 1357700"/>
              <a:gd name="connsiteX66" fmla="*/ 6437450 w 10678681"/>
              <a:gd name="connsiteY66" fmla="*/ 1101075 h 1357700"/>
              <a:gd name="connsiteX67" fmla="*/ 6327795 w 10678681"/>
              <a:gd name="connsiteY67" fmla="*/ 1088142 h 1357700"/>
              <a:gd name="connsiteX68" fmla="*/ 6136549 w 10678681"/>
              <a:gd name="connsiteY68" fmla="*/ 1100268 h 1357700"/>
              <a:gd name="connsiteX69" fmla="*/ 6004655 w 10678681"/>
              <a:gd name="connsiteY69" fmla="*/ 1114946 h 1357700"/>
              <a:gd name="connsiteX70" fmla="*/ 5936643 w 10678681"/>
              <a:gd name="connsiteY70" fmla="*/ 1095428 h 1357700"/>
              <a:gd name="connsiteX71" fmla="*/ 5912484 w 10678681"/>
              <a:gd name="connsiteY71" fmla="*/ 1112624 h 1357700"/>
              <a:gd name="connsiteX72" fmla="*/ 5908387 w 10678681"/>
              <a:gd name="connsiteY72" fmla="*/ 1116018 h 1357700"/>
              <a:gd name="connsiteX73" fmla="*/ 5890495 w 10678681"/>
              <a:gd name="connsiteY73" fmla="*/ 1120268 h 1357700"/>
              <a:gd name="connsiteX74" fmla="*/ 5887318 w 10678681"/>
              <a:gd name="connsiteY74" fmla="*/ 1133134 h 1357700"/>
              <a:gd name="connsiteX75" fmla="*/ 5861726 w 10678681"/>
              <a:gd name="connsiteY75" fmla="*/ 1147891 h 1357700"/>
              <a:gd name="connsiteX76" fmla="*/ 5805823 w 10678681"/>
              <a:gd name="connsiteY76" fmla="*/ 1152457 h 1357700"/>
              <a:gd name="connsiteX77" fmla="*/ 5689841 w 10678681"/>
              <a:gd name="connsiteY77" fmla="*/ 1176232 h 1357700"/>
              <a:gd name="connsiteX78" fmla="*/ 5605119 w 10678681"/>
              <a:gd name="connsiteY78" fmla="*/ 1190202 h 1357700"/>
              <a:gd name="connsiteX79" fmla="*/ 5488513 w 10678681"/>
              <a:gd name="connsiteY79" fmla="*/ 1205367 h 1357700"/>
              <a:gd name="connsiteX80" fmla="*/ 5402905 w 10678681"/>
              <a:gd name="connsiteY80" fmla="*/ 1241191 h 1357700"/>
              <a:gd name="connsiteX81" fmla="*/ 5285593 w 10678681"/>
              <a:gd name="connsiteY81" fmla="*/ 1273569 h 1357700"/>
              <a:gd name="connsiteX82" fmla="*/ 5192893 w 10678681"/>
              <a:gd name="connsiteY82" fmla="*/ 1247188 h 1357700"/>
              <a:gd name="connsiteX83" fmla="*/ 5186475 w 10678681"/>
              <a:gd name="connsiteY83" fmla="*/ 1257028 h 1357700"/>
              <a:gd name="connsiteX84" fmla="*/ 5126038 w 10678681"/>
              <a:gd name="connsiteY84" fmla="*/ 1263189 h 1357700"/>
              <a:gd name="connsiteX85" fmla="*/ 4894688 w 10678681"/>
              <a:gd name="connsiteY85" fmla="*/ 1247184 h 1357700"/>
              <a:gd name="connsiteX86" fmla="*/ 4788036 w 10678681"/>
              <a:gd name="connsiteY86" fmla="*/ 1238182 h 1357700"/>
              <a:gd name="connsiteX87" fmla="*/ 4747555 w 10678681"/>
              <a:gd name="connsiteY87" fmla="*/ 1252768 h 1357700"/>
              <a:gd name="connsiteX88" fmla="*/ 4679644 w 10678681"/>
              <a:gd name="connsiteY88" fmla="*/ 1276603 h 1357700"/>
              <a:gd name="connsiteX89" fmla="*/ 4632222 w 10678681"/>
              <a:gd name="connsiteY89" fmla="*/ 1318360 h 1357700"/>
              <a:gd name="connsiteX90" fmla="*/ 4617358 w 10678681"/>
              <a:gd name="connsiteY90" fmla="*/ 1327690 h 1357700"/>
              <a:gd name="connsiteX91" fmla="*/ 4589102 w 10678681"/>
              <a:gd name="connsiteY91" fmla="*/ 1321223 h 1357700"/>
              <a:gd name="connsiteX92" fmla="*/ 4578184 w 10678681"/>
              <a:gd name="connsiteY92" fmla="*/ 1326745 h 1357700"/>
              <a:gd name="connsiteX93" fmla="*/ 4574270 w 10678681"/>
              <a:gd name="connsiteY93" fmla="*/ 1325878 h 1357700"/>
              <a:gd name="connsiteX94" fmla="*/ 4564919 w 10678681"/>
              <a:gd name="connsiteY94" fmla="*/ 1325507 h 1357700"/>
              <a:gd name="connsiteX95" fmla="*/ 4566586 w 10678681"/>
              <a:gd name="connsiteY95" fmla="*/ 1316963 h 1357700"/>
              <a:gd name="connsiteX96" fmla="*/ 4556303 w 10678681"/>
              <a:gd name="connsiteY96" fmla="*/ 1300262 h 1357700"/>
              <a:gd name="connsiteX97" fmla="*/ 4502358 w 10678681"/>
              <a:gd name="connsiteY97" fmla="*/ 1302558 h 1357700"/>
              <a:gd name="connsiteX98" fmla="*/ 4498919 w 10678681"/>
              <a:gd name="connsiteY98" fmla="*/ 1312115 h 1357700"/>
              <a:gd name="connsiteX99" fmla="*/ 4492075 w 10678681"/>
              <a:gd name="connsiteY99" fmla="*/ 1313357 h 1357700"/>
              <a:gd name="connsiteX100" fmla="*/ 4487466 w 10678681"/>
              <a:gd name="connsiteY100" fmla="*/ 1304102 h 1357700"/>
              <a:gd name="connsiteX101" fmla="*/ 4398292 w 10678681"/>
              <a:gd name="connsiteY101" fmla="*/ 1278410 h 1357700"/>
              <a:gd name="connsiteX102" fmla="*/ 4306088 w 10678681"/>
              <a:gd name="connsiteY102" fmla="*/ 1282512 h 1357700"/>
              <a:gd name="connsiteX103" fmla="*/ 4188995 w 10678681"/>
              <a:gd name="connsiteY103" fmla="*/ 1296718 h 1357700"/>
              <a:gd name="connsiteX104" fmla="*/ 4136582 w 10678681"/>
              <a:gd name="connsiteY104" fmla="*/ 1287687 h 1357700"/>
              <a:gd name="connsiteX105" fmla="*/ 4064614 w 10678681"/>
              <a:gd name="connsiteY105" fmla="*/ 1296118 h 1357700"/>
              <a:gd name="connsiteX106" fmla="*/ 3906561 w 10678681"/>
              <a:gd name="connsiteY106" fmla="*/ 1352435 h 1357700"/>
              <a:gd name="connsiteX107" fmla="*/ 3787890 w 10678681"/>
              <a:gd name="connsiteY107" fmla="*/ 1352442 h 1357700"/>
              <a:gd name="connsiteX108" fmla="*/ 3745993 w 10678681"/>
              <a:gd name="connsiteY108" fmla="*/ 1342630 h 1357700"/>
              <a:gd name="connsiteX109" fmla="*/ 3675785 w 10678681"/>
              <a:gd name="connsiteY109" fmla="*/ 1326802 h 1357700"/>
              <a:gd name="connsiteX110" fmla="*/ 3623856 w 10678681"/>
              <a:gd name="connsiteY110" fmla="*/ 1290804 h 1357700"/>
              <a:gd name="connsiteX111" fmla="*/ 3564933 w 10678681"/>
              <a:gd name="connsiteY111" fmla="*/ 1287147 h 1357700"/>
              <a:gd name="connsiteX112" fmla="*/ 3550537 w 10678681"/>
              <a:gd name="connsiteY112" fmla="*/ 1317552 h 1357700"/>
              <a:gd name="connsiteX113" fmla="*/ 3487736 w 10678681"/>
              <a:gd name="connsiteY113" fmla="*/ 1303493 h 1357700"/>
              <a:gd name="connsiteX114" fmla="*/ 3392548 w 10678681"/>
              <a:gd name="connsiteY114" fmla="*/ 1278741 h 1357700"/>
              <a:gd name="connsiteX115" fmla="*/ 3337466 w 10678681"/>
              <a:gd name="connsiteY115" fmla="*/ 1272537 h 1357700"/>
              <a:gd name="connsiteX116" fmla="*/ 3187206 w 10678681"/>
              <a:gd name="connsiteY116" fmla="*/ 1246821 h 1357700"/>
              <a:gd name="connsiteX117" fmla="*/ 3036856 w 10678681"/>
              <a:gd name="connsiteY117" fmla="*/ 1214383 h 1357700"/>
              <a:gd name="connsiteX118" fmla="*/ 2948654 w 10678681"/>
              <a:gd name="connsiteY118" fmla="*/ 1157455 h 1357700"/>
              <a:gd name="connsiteX119" fmla="*/ 2824973 w 10678681"/>
              <a:gd name="connsiteY119" fmla="*/ 1134864 h 1357700"/>
              <a:gd name="connsiteX120" fmla="*/ 2804398 w 10678681"/>
              <a:gd name="connsiteY120" fmla="*/ 1125556 h 1357700"/>
              <a:gd name="connsiteX121" fmla="*/ 2775396 w 10678681"/>
              <a:gd name="connsiteY121" fmla="*/ 1130148 h 1357700"/>
              <a:gd name="connsiteX122" fmla="*/ 2659096 w 10678681"/>
              <a:gd name="connsiteY122" fmla="*/ 1150294 h 1357700"/>
              <a:gd name="connsiteX123" fmla="*/ 2567088 w 10678681"/>
              <a:gd name="connsiteY123" fmla="*/ 1181781 h 1357700"/>
              <a:gd name="connsiteX124" fmla="*/ 2454501 w 10678681"/>
              <a:gd name="connsiteY124" fmla="*/ 1155455 h 1357700"/>
              <a:gd name="connsiteX125" fmla="*/ 2385161 w 10678681"/>
              <a:gd name="connsiteY125" fmla="*/ 1161312 h 1357700"/>
              <a:gd name="connsiteX126" fmla="*/ 2270528 w 10678681"/>
              <a:gd name="connsiteY126" fmla="*/ 1204338 h 1357700"/>
              <a:gd name="connsiteX127" fmla="*/ 2121820 w 10678681"/>
              <a:gd name="connsiteY127" fmla="*/ 1187078 h 1357700"/>
              <a:gd name="connsiteX128" fmla="*/ 2092716 w 10678681"/>
              <a:gd name="connsiteY128" fmla="*/ 1139224 h 1357700"/>
              <a:gd name="connsiteX129" fmla="*/ 2052449 w 10678681"/>
              <a:gd name="connsiteY129" fmla="*/ 1109687 h 1357700"/>
              <a:gd name="connsiteX130" fmla="*/ 2032607 w 10678681"/>
              <a:gd name="connsiteY130" fmla="*/ 1175477 h 1357700"/>
              <a:gd name="connsiteX131" fmla="*/ 1901837 w 10678681"/>
              <a:gd name="connsiteY131" fmla="*/ 1221762 h 1357700"/>
              <a:gd name="connsiteX132" fmla="*/ 1836762 w 10678681"/>
              <a:gd name="connsiteY132" fmla="*/ 1237387 h 1357700"/>
              <a:gd name="connsiteX133" fmla="*/ 1735877 w 10678681"/>
              <a:gd name="connsiteY133" fmla="*/ 1246527 h 1357700"/>
              <a:gd name="connsiteX134" fmla="*/ 1705069 w 10678681"/>
              <a:gd name="connsiteY134" fmla="*/ 1251989 h 1357700"/>
              <a:gd name="connsiteX135" fmla="*/ 1397689 w 10678681"/>
              <a:gd name="connsiteY135" fmla="*/ 1336144 h 1357700"/>
              <a:gd name="connsiteX136" fmla="*/ 1220734 w 10678681"/>
              <a:gd name="connsiteY136" fmla="*/ 1257811 h 1357700"/>
              <a:gd name="connsiteX137" fmla="*/ 1021737 w 10678681"/>
              <a:gd name="connsiteY137" fmla="*/ 1238739 h 1357700"/>
              <a:gd name="connsiteX138" fmla="*/ 959820 w 10678681"/>
              <a:gd name="connsiteY138" fmla="*/ 1275863 h 1357700"/>
              <a:gd name="connsiteX139" fmla="*/ 929137 w 10678681"/>
              <a:gd name="connsiteY139" fmla="*/ 1273957 h 1357700"/>
              <a:gd name="connsiteX140" fmla="*/ 878849 w 10678681"/>
              <a:gd name="connsiteY140" fmla="*/ 1266740 h 1357700"/>
              <a:gd name="connsiteX141" fmla="*/ 800667 w 10678681"/>
              <a:gd name="connsiteY141" fmla="*/ 1282041 h 1357700"/>
              <a:gd name="connsiteX142" fmla="*/ 644906 w 10678681"/>
              <a:gd name="connsiteY142" fmla="*/ 1273685 h 1357700"/>
              <a:gd name="connsiteX143" fmla="*/ 379869 w 10678681"/>
              <a:gd name="connsiteY143" fmla="*/ 1339165 h 1357700"/>
              <a:gd name="connsiteX144" fmla="*/ 137696 w 10678681"/>
              <a:gd name="connsiteY144" fmla="*/ 1319217 h 1357700"/>
              <a:gd name="connsiteX145" fmla="*/ 54250 w 10678681"/>
              <a:gd name="connsiteY145" fmla="*/ 1315838 h 1357700"/>
              <a:gd name="connsiteX146" fmla="*/ 28042 w 10678681"/>
              <a:gd name="connsiteY146" fmla="*/ 1297822 h 1357700"/>
              <a:gd name="connsiteX147" fmla="*/ 0 w 10678681"/>
              <a:gd name="connsiteY147" fmla="*/ 1294612 h 1357700"/>
              <a:gd name="connsiteX148" fmla="*/ 0 w 10678681"/>
              <a:gd name="connsiteY148"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30518 w 10678681"/>
              <a:gd name="connsiteY38" fmla="*/ 739526 h 1357700"/>
              <a:gd name="connsiteX39" fmla="*/ 7652907 w 10678681"/>
              <a:gd name="connsiteY39" fmla="*/ 783273 h 1357700"/>
              <a:gd name="connsiteX40" fmla="*/ 7606008 w 10678681"/>
              <a:gd name="connsiteY40" fmla="*/ 800717 h 1357700"/>
              <a:gd name="connsiteX41" fmla="*/ 7480223 w 10678681"/>
              <a:gd name="connsiteY41" fmla="*/ 856821 h 1357700"/>
              <a:gd name="connsiteX42" fmla="*/ 7356005 w 10678681"/>
              <a:gd name="connsiteY42" fmla="*/ 919462 h 1357700"/>
              <a:gd name="connsiteX43" fmla="*/ 7305396 w 10678681"/>
              <a:gd name="connsiteY43" fmla="*/ 986228 h 1357700"/>
              <a:gd name="connsiteX44" fmla="*/ 7298314 w 10678681"/>
              <a:gd name="connsiteY44" fmla="*/ 989899 h 1357700"/>
              <a:gd name="connsiteX45" fmla="*/ 7277477 w 10678681"/>
              <a:gd name="connsiteY45" fmla="*/ 990571 h 1357700"/>
              <a:gd name="connsiteX46" fmla="*/ 7269396 w 10678681"/>
              <a:gd name="connsiteY46" fmla="*/ 989282 h 1357700"/>
              <a:gd name="connsiteX47" fmla="*/ 7258094 w 10678681"/>
              <a:gd name="connsiteY47" fmla="*/ 990679 h 1357700"/>
              <a:gd name="connsiteX48" fmla="*/ 7257893 w 10678681"/>
              <a:gd name="connsiteY48" fmla="*/ 991204 h 1357700"/>
              <a:gd name="connsiteX49" fmla="*/ 7247153 w 10678681"/>
              <a:gd name="connsiteY49" fmla="*/ 991550 h 1357700"/>
              <a:gd name="connsiteX50" fmla="*/ 7193612 w 10678681"/>
              <a:gd name="connsiteY50" fmla="*/ 987042 h 1357700"/>
              <a:gd name="connsiteX51" fmla="*/ 7132632 w 10678681"/>
              <a:gd name="connsiteY51" fmla="*/ 1042036 h 1357700"/>
              <a:gd name="connsiteX52" fmla="*/ 7105610 w 10678681"/>
              <a:gd name="connsiteY52" fmla="*/ 1053537 h 1357700"/>
              <a:gd name="connsiteX53" fmla="*/ 7091599 w 10678681"/>
              <a:gd name="connsiteY53" fmla="*/ 1062302 h 1357700"/>
              <a:gd name="connsiteX54" fmla="*/ 7090998 w 10678681"/>
              <a:gd name="connsiteY54" fmla="*/ 1064540 h 1357700"/>
              <a:gd name="connsiteX55" fmla="*/ 7039634 w 10678681"/>
              <a:gd name="connsiteY55" fmla="*/ 1059971 h 1357700"/>
              <a:gd name="connsiteX56" fmla="*/ 7033445 w 10678681"/>
              <a:gd name="connsiteY56" fmla="*/ 1063314 h 1357700"/>
              <a:gd name="connsiteX57" fmla="*/ 6999157 w 10678681"/>
              <a:gd name="connsiteY57" fmla="*/ 1055282 h 1357700"/>
              <a:gd name="connsiteX58" fmla="*/ 6981874 w 10678681"/>
              <a:gd name="connsiteY58" fmla="*/ 1053827 h 1357700"/>
              <a:gd name="connsiteX59" fmla="*/ 6976102 w 10678681"/>
              <a:gd name="connsiteY59" fmla="*/ 1047854 h 1357700"/>
              <a:gd name="connsiteX60" fmla="*/ 6951040 w 10678681"/>
              <a:gd name="connsiteY60" fmla="*/ 1048531 h 1357700"/>
              <a:gd name="connsiteX61" fmla="*/ 6948497 w 10678681"/>
              <a:gd name="connsiteY61" fmla="*/ 1050706 h 1357700"/>
              <a:gd name="connsiteX62" fmla="*/ 6926582 w 10678681"/>
              <a:gd name="connsiteY62" fmla="*/ 1043462 h 1357700"/>
              <a:gd name="connsiteX63" fmla="*/ 6833743 w 10678681"/>
              <a:gd name="connsiteY63" fmla="*/ 1027960 h 1357700"/>
              <a:gd name="connsiteX64" fmla="*/ 6687090 w 10678681"/>
              <a:gd name="connsiteY64" fmla="*/ 1063250 h 1357700"/>
              <a:gd name="connsiteX65" fmla="*/ 6437450 w 10678681"/>
              <a:gd name="connsiteY65" fmla="*/ 1101075 h 1357700"/>
              <a:gd name="connsiteX66" fmla="*/ 6327795 w 10678681"/>
              <a:gd name="connsiteY66" fmla="*/ 1088142 h 1357700"/>
              <a:gd name="connsiteX67" fmla="*/ 6136549 w 10678681"/>
              <a:gd name="connsiteY67" fmla="*/ 1100268 h 1357700"/>
              <a:gd name="connsiteX68" fmla="*/ 6004655 w 10678681"/>
              <a:gd name="connsiteY68" fmla="*/ 1114946 h 1357700"/>
              <a:gd name="connsiteX69" fmla="*/ 5936643 w 10678681"/>
              <a:gd name="connsiteY69" fmla="*/ 1095428 h 1357700"/>
              <a:gd name="connsiteX70" fmla="*/ 5912484 w 10678681"/>
              <a:gd name="connsiteY70" fmla="*/ 1112624 h 1357700"/>
              <a:gd name="connsiteX71" fmla="*/ 5908387 w 10678681"/>
              <a:gd name="connsiteY71" fmla="*/ 1116018 h 1357700"/>
              <a:gd name="connsiteX72" fmla="*/ 5890495 w 10678681"/>
              <a:gd name="connsiteY72" fmla="*/ 1120268 h 1357700"/>
              <a:gd name="connsiteX73" fmla="*/ 5887318 w 10678681"/>
              <a:gd name="connsiteY73" fmla="*/ 1133134 h 1357700"/>
              <a:gd name="connsiteX74" fmla="*/ 5861726 w 10678681"/>
              <a:gd name="connsiteY74" fmla="*/ 1147891 h 1357700"/>
              <a:gd name="connsiteX75" fmla="*/ 5805823 w 10678681"/>
              <a:gd name="connsiteY75" fmla="*/ 1152457 h 1357700"/>
              <a:gd name="connsiteX76" fmla="*/ 5689841 w 10678681"/>
              <a:gd name="connsiteY76" fmla="*/ 1176232 h 1357700"/>
              <a:gd name="connsiteX77" fmla="*/ 5605119 w 10678681"/>
              <a:gd name="connsiteY77" fmla="*/ 1190202 h 1357700"/>
              <a:gd name="connsiteX78" fmla="*/ 5488513 w 10678681"/>
              <a:gd name="connsiteY78" fmla="*/ 1205367 h 1357700"/>
              <a:gd name="connsiteX79" fmla="*/ 5402905 w 10678681"/>
              <a:gd name="connsiteY79" fmla="*/ 1241191 h 1357700"/>
              <a:gd name="connsiteX80" fmla="*/ 5285593 w 10678681"/>
              <a:gd name="connsiteY80" fmla="*/ 1273569 h 1357700"/>
              <a:gd name="connsiteX81" fmla="*/ 5192893 w 10678681"/>
              <a:gd name="connsiteY81" fmla="*/ 1247188 h 1357700"/>
              <a:gd name="connsiteX82" fmla="*/ 5186475 w 10678681"/>
              <a:gd name="connsiteY82" fmla="*/ 1257028 h 1357700"/>
              <a:gd name="connsiteX83" fmla="*/ 5126038 w 10678681"/>
              <a:gd name="connsiteY83" fmla="*/ 1263189 h 1357700"/>
              <a:gd name="connsiteX84" fmla="*/ 4894688 w 10678681"/>
              <a:gd name="connsiteY84" fmla="*/ 1247184 h 1357700"/>
              <a:gd name="connsiteX85" fmla="*/ 4788036 w 10678681"/>
              <a:gd name="connsiteY85" fmla="*/ 1238182 h 1357700"/>
              <a:gd name="connsiteX86" fmla="*/ 4747555 w 10678681"/>
              <a:gd name="connsiteY86" fmla="*/ 1252768 h 1357700"/>
              <a:gd name="connsiteX87" fmla="*/ 4679644 w 10678681"/>
              <a:gd name="connsiteY87" fmla="*/ 1276603 h 1357700"/>
              <a:gd name="connsiteX88" fmla="*/ 4632222 w 10678681"/>
              <a:gd name="connsiteY88" fmla="*/ 1318360 h 1357700"/>
              <a:gd name="connsiteX89" fmla="*/ 4617358 w 10678681"/>
              <a:gd name="connsiteY89" fmla="*/ 1327690 h 1357700"/>
              <a:gd name="connsiteX90" fmla="*/ 4589102 w 10678681"/>
              <a:gd name="connsiteY90" fmla="*/ 1321223 h 1357700"/>
              <a:gd name="connsiteX91" fmla="*/ 4578184 w 10678681"/>
              <a:gd name="connsiteY91" fmla="*/ 1326745 h 1357700"/>
              <a:gd name="connsiteX92" fmla="*/ 4574270 w 10678681"/>
              <a:gd name="connsiteY92" fmla="*/ 1325878 h 1357700"/>
              <a:gd name="connsiteX93" fmla="*/ 4564919 w 10678681"/>
              <a:gd name="connsiteY93" fmla="*/ 1325507 h 1357700"/>
              <a:gd name="connsiteX94" fmla="*/ 4566586 w 10678681"/>
              <a:gd name="connsiteY94" fmla="*/ 1316963 h 1357700"/>
              <a:gd name="connsiteX95" fmla="*/ 4556303 w 10678681"/>
              <a:gd name="connsiteY95" fmla="*/ 1300262 h 1357700"/>
              <a:gd name="connsiteX96" fmla="*/ 4502358 w 10678681"/>
              <a:gd name="connsiteY96" fmla="*/ 1302558 h 1357700"/>
              <a:gd name="connsiteX97" fmla="*/ 4498919 w 10678681"/>
              <a:gd name="connsiteY97" fmla="*/ 1312115 h 1357700"/>
              <a:gd name="connsiteX98" fmla="*/ 4492075 w 10678681"/>
              <a:gd name="connsiteY98" fmla="*/ 1313357 h 1357700"/>
              <a:gd name="connsiteX99" fmla="*/ 4487466 w 10678681"/>
              <a:gd name="connsiteY99" fmla="*/ 1304102 h 1357700"/>
              <a:gd name="connsiteX100" fmla="*/ 4398292 w 10678681"/>
              <a:gd name="connsiteY100" fmla="*/ 1278410 h 1357700"/>
              <a:gd name="connsiteX101" fmla="*/ 4306088 w 10678681"/>
              <a:gd name="connsiteY101" fmla="*/ 1282512 h 1357700"/>
              <a:gd name="connsiteX102" fmla="*/ 4188995 w 10678681"/>
              <a:gd name="connsiteY102" fmla="*/ 1296718 h 1357700"/>
              <a:gd name="connsiteX103" fmla="*/ 4136582 w 10678681"/>
              <a:gd name="connsiteY103" fmla="*/ 1287687 h 1357700"/>
              <a:gd name="connsiteX104" fmla="*/ 4064614 w 10678681"/>
              <a:gd name="connsiteY104" fmla="*/ 1296118 h 1357700"/>
              <a:gd name="connsiteX105" fmla="*/ 3906561 w 10678681"/>
              <a:gd name="connsiteY105" fmla="*/ 1352435 h 1357700"/>
              <a:gd name="connsiteX106" fmla="*/ 3787890 w 10678681"/>
              <a:gd name="connsiteY106" fmla="*/ 1352442 h 1357700"/>
              <a:gd name="connsiteX107" fmla="*/ 3745993 w 10678681"/>
              <a:gd name="connsiteY107" fmla="*/ 1342630 h 1357700"/>
              <a:gd name="connsiteX108" fmla="*/ 3675785 w 10678681"/>
              <a:gd name="connsiteY108" fmla="*/ 1326802 h 1357700"/>
              <a:gd name="connsiteX109" fmla="*/ 3623856 w 10678681"/>
              <a:gd name="connsiteY109" fmla="*/ 1290804 h 1357700"/>
              <a:gd name="connsiteX110" fmla="*/ 3564933 w 10678681"/>
              <a:gd name="connsiteY110" fmla="*/ 1287147 h 1357700"/>
              <a:gd name="connsiteX111" fmla="*/ 3550537 w 10678681"/>
              <a:gd name="connsiteY111" fmla="*/ 1317552 h 1357700"/>
              <a:gd name="connsiteX112" fmla="*/ 3487736 w 10678681"/>
              <a:gd name="connsiteY112" fmla="*/ 1303493 h 1357700"/>
              <a:gd name="connsiteX113" fmla="*/ 3392548 w 10678681"/>
              <a:gd name="connsiteY113" fmla="*/ 1278741 h 1357700"/>
              <a:gd name="connsiteX114" fmla="*/ 3337466 w 10678681"/>
              <a:gd name="connsiteY114" fmla="*/ 1272537 h 1357700"/>
              <a:gd name="connsiteX115" fmla="*/ 3187206 w 10678681"/>
              <a:gd name="connsiteY115" fmla="*/ 1246821 h 1357700"/>
              <a:gd name="connsiteX116" fmla="*/ 3036856 w 10678681"/>
              <a:gd name="connsiteY116" fmla="*/ 1214383 h 1357700"/>
              <a:gd name="connsiteX117" fmla="*/ 2948654 w 10678681"/>
              <a:gd name="connsiteY117" fmla="*/ 1157455 h 1357700"/>
              <a:gd name="connsiteX118" fmla="*/ 2824973 w 10678681"/>
              <a:gd name="connsiteY118" fmla="*/ 1134864 h 1357700"/>
              <a:gd name="connsiteX119" fmla="*/ 2804398 w 10678681"/>
              <a:gd name="connsiteY119" fmla="*/ 1125556 h 1357700"/>
              <a:gd name="connsiteX120" fmla="*/ 2775396 w 10678681"/>
              <a:gd name="connsiteY120" fmla="*/ 1130148 h 1357700"/>
              <a:gd name="connsiteX121" fmla="*/ 2659096 w 10678681"/>
              <a:gd name="connsiteY121" fmla="*/ 1150294 h 1357700"/>
              <a:gd name="connsiteX122" fmla="*/ 2567088 w 10678681"/>
              <a:gd name="connsiteY122" fmla="*/ 1181781 h 1357700"/>
              <a:gd name="connsiteX123" fmla="*/ 2454501 w 10678681"/>
              <a:gd name="connsiteY123" fmla="*/ 1155455 h 1357700"/>
              <a:gd name="connsiteX124" fmla="*/ 2385161 w 10678681"/>
              <a:gd name="connsiteY124" fmla="*/ 1161312 h 1357700"/>
              <a:gd name="connsiteX125" fmla="*/ 2270528 w 10678681"/>
              <a:gd name="connsiteY125" fmla="*/ 1204338 h 1357700"/>
              <a:gd name="connsiteX126" fmla="*/ 2121820 w 10678681"/>
              <a:gd name="connsiteY126" fmla="*/ 1187078 h 1357700"/>
              <a:gd name="connsiteX127" fmla="*/ 2092716 w 10678681"/>
              <a:gd name="connsiteY127" fmla="*/ 1139224 h 1357700"/>
              <a:gd name="connsiteX128" fmla="*/ 2052449 w 10678681"/>
              <a:gd name="connsiteY128" fmla="*/ 1109687 h 1357700"/>
              <a:gd name="connsiteX129" fmla="*/ 2032607 w 10678681"/>
              <a:gd name="connsiteY129" fmla="*/ 1175477 h 1357700"/>
              <a:gd name="connsiteX130" fmla="*/ 1901837 w 10678681"/>
              <a:gd name="connsiteY130" fmla="*/ 1221762 h 1357700"/>
              <a:gd name="connsiteX131" fmla="*/ 1836762 w 10678681"/>
              <a:gd name="connsiteY131" fmla="*/ 1237387 h 1357700"/>
              <a:gd name="connsiteX132" fmla="*/ 1735877 w 10678681"/>
              <a:gd name="connsiteY132" fmla="*/ 1246527 h 1357700"/>
              <a:gd name="connsiteX133" fmla="*/ 1705069 w 10678681"/>
              <a:gd name="connsiteY133" fmla="*/ 1251989 h 1357700"/>
              <a:gd name="connsiteX134" fmla="*/ 1397689 w 10678681"/>
              <a:gd name="connsiteY134" fmla="*/ 1336144 h 1357700"/>
              <a:gd name="connsiteX135" fmla="*/ 1220734 w 10678681"/>
              <a:gd name="connsiteY135" fmla="*/ 1257811 h 1357700"/>
              <a:gd name="connsiteX136" fmla="*/ 1021737 w 10678681"/>
              <a:gd name="connsiteY136" fmla="*/ 1238739 h 1357700"/>
              <a:gd name="connsiteX137" fmla="*/ 959820 w 10678681"/>
              <a:gd name="connsiteY137" fmla="*/ 1275863 h 1357700"/>
              <a:gd name="connsiteX138" fmla="*/ 929137 w 10678681"/>
              <a:gd name="connsiteY138" fmla="*/ 1273957 h 1357700"/>
              <a:gd name="connsiteX139" fmla="*/ 878849 w 10678681"/>
              <a:gd name="connsiteY139" fmla="*/ 1266740 h 1357700"/>
              <a:gd name="connsiteX140" fmla="*/ 800667 w 10678681"/>
              <a:gd name="connsiteY140" fmla="*/ 1282041 h 1357700"/>
              <a:gd name="connsiteX141" fmla="*/ 644906 w 10678681"/>
              <a:gd name="connsiteY141" fmla="*/ 1273685 h 1357700"/>
              <a:gd name="connsiteX142" fmla="*/ 379869 w 10678681"/>
              <a:gd name="connsiteY142" fmla="*/ 1339165 h 1357700"/>
              <a:gd name="connsiteX143" fmla="*/ 137696 w 10678681"/>
              <a:gd name="connsiteY143" fmla="*/ 1319217 h 1357700"/>
              <a:gd name="connsiteX144" fmla="*/ 54250 w 10678681"/>
              <a:gd name="connsiteY144" fmla="*/ 1315838 h 1357700"/>
              <a:gd name="connsiteX145" fmla="*/ 28042 w 10678681"/>
              <a:gd name="connsiteY145" fmla="*/ 1297822 h 1357700"/>
              <a:gd name="connsiteX146" fmla="*/ 0 w 10678681"/>
              <a:gd name="connsiteY146" fmla="*/ 1294612 h 1357700"/>
              <a:gd name="connsiteX147" fmla="*/ 0 w 10678681"/>
              <a:gd name="connsiteY147"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30518 w 10678681"/>
              <a:gd name="connsiteY38" fmla="*/ 739526 h 1357700"/>
              <a:gd name="connsiteX39" fmla="*/ 7652907 w 10678681"/>
              <a:gd name="connsiteY39" fmla="*/ 783273 h 1357700"/>
              <a:gd name="connsiteX40" fmla="*/ 7606008 w 10678681"/>
              <a:gd name="connsiteY40" fmla="*/ 800717 h 1357700"/>
              <a:gd name="connsiteX41" fmla="*/ 7480223 w 10678681"/>
              <a:gd name="connsiteY41" fmla="*/ 856821 h 1357700"/>
              <a:gd name="connsiteX42" fmla="*/ 7356005 w 10678681"/>
              <a:gd name="connsiteY42" fmla="*/ 919462 h 1357700"/>
              <a:gd name="connsiteX43" fmla="*/ 7305396 w 10678681"/>
              <a:gd name="connsiteY43" fmla="*/ 986228 h 1357700"/>
              <a:gd name="connsiteX44" fmla="*/ 7277477 w 10678681"/>
              <a:gd name="connsiteY44" fmla="*/ 990571 h 1357700"/>
              <a:gd name="connsiteX45" fmla="*/ 7269396 w 10678681"/>
              <a:gd name="connsiteY45" fmla="*/ 989282 h 1357700"/>
              <a:gd name="connsiteX46" fmla="*/ 7258094 w 10678681"/>
              <a:gd name="connsiteY46" fmla="*/ 990679 h 1357700"/>
              <a:gd name="connsiteX47" fmla="*/ 7257893 w 10678681"/>
              <a:gd name="connsiteY47" fmla="*/ 991204 h 1357700"/>
              <a:gd name="connsiteX48" fmla="*/ 7247153 w 10678681"/>
              <a:gd name="connsiteY48" fmla="*/ 991550 h 1357700"/>
              <a:gd name="connsiteX49" fmla="*/ 7193612 w 10678681"/>
              <a:gd name="connsiteY49" fmla="*/ 987042 h 1357700"/>
              <a:gd name="connsiteX50" fmla="*/ 7132632 w 10678681"/>
              <a:gd name="connsiteY50" fmla="*/ 1042036 h 1357700"/>
              <a:gd name="connsiteX51" fmla="*/ 7105610 w 10678681"/>
              <a:gd name="connsiteY51" fmla="*/ 1053537 h 1357700"/>
              <a:gd name="connsiteX52" fmla="*/ 7091599 w 10678681"/>
              <a:gd name="connsiteY52" fmla="*/ 1062302 h 1357700"/>
              <a:gd name="connsiteX53" fmla="*/ 7090998 w 10678681"/>
              <a:gd name="connsiteY53" fmla="*/ 1064540 h 1357700"/>
              <a:gd name="connsiteX54" fmla="*/ 7039634 w 10678681"/>
              <a:gd name="connsiteY54" fmla="*/ 1059971 h 1357700"/>
              <a:gd name="connsiteX55" fmla="*/ 7033445 w 10678681"/>
              <a:gd name="connsiteY55" fmla="*/ 1063314 h 1357700"/>
              <a:gd name="connsiteX56" fmla="*/ 6999157 w 10678681"/>
              <a:gd name="connsiteY56" fmla="*/ 1055282 h 1357700"/>
              <a:gd name="connsiteX57" fmla="*/ 6981874 w 10678681"/>
              <a:gd name="connsiteY57" fmla="*/ 1053827 h 1357700"/>
              <a:gd name="connsiteX58" fmla="*/ 6976102 w 10678681"/>
              <a:gd name="connsiteY58" fmla="*/ 1047854 h 1357700"/>
              <a:gd name="connsiteX59" fmla="*/ 6951040 w 10678681"/>
              <a:gd name="connsiteY59" fmla="*/ 1048531 h 1357700"/>
              <a:gd name="connsiteX60" fmla="*/ 6948497 w 10678681"/>
              <a:gd name="connsiteY60" fmla="*/ 1050706 h 1357700"/>
              <a:gd name="connsiteX61" fmla="*/ 6926582 w 10678681"/>
              <a:gd name="connsiteY61" fmla="*/ 1043462 h 1357700"/>
              <a:gd name="connsiteX62" fmla="*/ 6833743 w 10678681"/>
              <a:gd name="connsiteY62" fmla="*/ 1027960 h 1357700"/>
              <a:gd name="connsiteX63" fmla="*/ 6687090 w 10678681"/>
              <a:gd name="connsiteY63" fmla="*/ 1063250 h 1357700"/>
              <a:gd name="connsiteX64" fmla="*/ 6437450 w 10678681"/>
              <a:gd name="connsiteY64" fmla="*/ 1101075 h 1357700"/>
              <a:gd name="connsiteX65" fmla="*/ 6327795 w 10678681"/>
              <a:gd name="connsiteY65" fmla="*/ 1088142 h 1357700"/>
              <a:gd name="connsiteX66" fmla="*/ 6136549 w 10678681"/>
              <a:gd name="connsiteY66" fmla="*/ 1100268 h 1357700"/>
              <a:gd name="connsiteX67" fmla="*/ 6004655 w 10678681"/>
              <a:gd name="connsiteY67" fmla="*/ 1114946 h 1357700"/>
              <a:gd name="connsiteX68" fmla="*/ 5936643 w 10678681"/>
              <a:gd name="connsiteY68" fmla="*/ 1095428 h 1357700"/>
              <a:gd name="connsiteX69" fmla="*/ 5912484 w 10678681"/>
              <a:gd name="connsiteY69" fmla="*/ 1112624 h 1357700"/>
              <a:gd name="connsiteX70" fmla="*/ 5908387 w 10678681"/>
              <a:gd name="connsiteY70" fmla="*/ 1116018 h 1357700"/>
              <a:gd name="connsiteX71" fmla="*/ 5890495 w 10678681"/>
              <a:gd name="connsiteY71" fmla="*/ 1120268 h 1357700"/>
              <a:gd name="connsiteX72" fmla="*/ 5887318 w 10678681"/>
              <a:gd name="connsiteY72" fmla="*/ 1133134 h 1357700"/>
              <a:gd name="connsiteX73" fmla="*/ 5861726 w 10678681"/>
              <a:gd name="connsiteY73" fmla="*/ 1147891 h 1357700"/>
              <a:gd name="connsiteX74" fmla="*/ 5805823 w 10678681"/>
              <a:gd name="connsiteY74" fmla="*/ 1152457 h 1357700"/>
              <a:gd name="connsiteX75" fmla="*/ 5689841 w 10678681"/>
              <a:gd name="connsiteY75" fmla="*/ 1176232 h 1357700"/>
              <a:gd name="connsiteX76" fmla="*/ 5605119 w 10678681"/>
              <a:gd name="connsiteY76" fmla="*/ 1190202 h 1357700"/>
              <a:gd name="connsiteX77" fmla="*/ 5488513 w 10678681"/>
              <a:gd name="connsiteY77" fmla="*/ 1205367 h 1357700"/>
              <a:gd name="connsiteX78" fmla="*/ 5402905 w 10678681"/>
              <a:gd name="connsiteY78" fmla="*/ 1241191 h 1357700"/>
              <a:gd name="connsiteX79" fmla="*/ 5285593 w 10678681"/>
              <a:gd name="connsiteY79" fmla="*/ 1273569 h 1357700"/>
              <a:gd name="connsiteX80" fmla="*/ 5192893 w 10678681"/>
              <a:gd name="connsiteY80" fmla="*/ 1247188 h 1357700"/>
              <a:gd name="connsiteX81" fmla="*/ 5186475 w 10678681"/>
              <a:gd name="connsiteY81" fmla="*/ 1257028 h 1357700"/>
              <a:gd name="connsiteX82" fmla="*/ 5126038 w 10678681"/>
              <a:gd name="connsiteY82" fmla="*/ 1263189 h 1357700"/>
              <a:gd name="connsiteX83" fmla="*/ 4894688 w 10678681"/>
              <a:gd name="connsiteY83" fmla="*/ 1247184 h 1357700"/>
              <a:gd name="connsiteX84" fmla="*/ 4788036 w 10678681"/>
              <a:gd name="connsiteY84" fmla="*/ 1238182 h 1357700"/>
              <a:gd name="connsiteX85" fmla="*/ 4747555 w 10678681"/>
              <a:gd name="connsiteY85" fmla="*/ 1252768 h 1357700"/>
              <a:gd name="connsiteX86" fmla="*/ 4679644 w 10678681"/>
              <a:gd name="connsiteY86" fmla="*/ 1276603 h 1357700"/>
              <a:gd name="connsiteX87" fmla="*/ 4632222 w 10678681"/>
              <a:gd name="connsiteY87" fmla="*/ 1318360 h 1357700"/>
              <a:gd name="connsiteX88" fmla="*/ 4617358 w 10678681"/>
              <a:gd name="connsiteY88" fmla="*/ 1327690 h 1357700"/>
              <a:gd name="connsiteX89" fmla="*/ 4589102 w 10678681"/>
              <a:gd name="connsiteY89" fmla="*/ 1321223 h 1357700"/>
              <a:gd name="connsiteX90" fmla="*/ 4578184 w 10678681"/>
              <a:gd name="connsiteY90" fmla="*/ 1326745 h 1357700"/>
              <a:gd name="connsiteX91" fmla="*/ 4574270 w 10678681"/>
              <a:gd name="connsiteY91" fmla="*/ 1325878 h 1357700"/>
              <a:gd name="connsiteX92" fmla="*/ 4564919 w 10678681"/>
              <a:gd name="connsiteY92" fmla="*/ 1325507 h 1357700"/>
              <a:gd name="connsiteX93" fmla="*/ 4566586 w 10678681"/>
              <a:gd name="connsiteY93" fmla="*/ 1316963 h 1357700"/>
              <a:gd name="connsiteX94" fmla="*/ 4556303 w 10678681"/>
              <a:gd name="connsiteY94" fmla="*/ 1300262 h 1357700"/>
              <a:gd name="connsiteX95" fmla="*/ 4502358 w 10678681"/>
              <a:gd name="connsiteY95" fmla="*/ 1302558 h 1357700"/>
              <a:gd name="connsiteX96" fmla="*/ 4498919 w 10678681"/>
              <a:gd name="connsiteY96" fmla="*/ 1312115 h 1357700"/>
              <a:gd name="connsiteX97" fmla="*/ 4492075 w 10678681"/>
              <a:gd name="connsiteY97" fmla="*/ 1313357 h 1357700"/>
              <a:gd name="connsiteX98" fmla="*/ 4487466 w 10678681"/>
              <a:gd name="connsiteY98" fmla="*/ 1304102 h 1357700"/>
              <a:gd name="connsiteX99" fmla="*/ 4398292 w 10678681"/>
              <a:gd name="connsiteY99" fmla="*/ 1278410 h 1357700"/>
              <a:gd name="connsiteX100" fmla="*/ 4306088 w 10678681"/>
              <a:gd name="connsiteY100" fmla="*/ 1282512 h 1357700"/>
              <a:gd name="connsiteX101" fmla="*/ 4188995 w 10678681"/>
              <a:gd name="connsiteY101" fmla="*/ 1296718 h 1357700"/>
              <a:gd name="connsiteX102" fmla="*/ 4136582 w 10678681"/>
              <a:gd name="connsiteY102" fmla="*/ 1287687 h 1357700"/>
              <a:gd name="connsiteX103" fmla="*/ 4064614 w 10678681"/>
              <a:gd name="connsiteY103" fmla="*/ 1296118 h 1357700"/>
              <a:gd name="connsiteX104" fmla="*/ 3906561 w 10678681"/>
              <a:gd name="connsiteY104" fmla="*/ 1352435 h 1357700"/>
              <a:gd name="connsiteX105" fmla="*/ 3787890 w 10678681"/>
              <a:gd name="connsiteY105" fmla="*/ 1352442 h 1357700"/>
              <a:gd name="connsiteX106" fmla="*/ 3745993 w 10678681"/>
              <a:gd name="connsiteY106" fmla="*/ 1342630 h 1357700"/>
              <a:gd name="connsiteX107" fmla="*/ 3675785 w 10678681"/>
              <a:gd name="connsiteY107" fmla="*/ 1326802 h 1357700"/>
              <a:gd name="connsiteX108" fmla="*/ 3623856 w 10678681"/>
              <a:gd name="connsiteY108" fmla="*/ 1290804 h 1357700"/>
              <a:gd name="connsiteX109" fmla="*/ 3564933 w 10678681"/>
              <a:gd name="connsiteY109" fmla="*/ 1287147 h 1357700"/>
              <a:gd name="connsiteX110" fmla="*/ 3550537 w 10678681"/>
              <a:gd name="connsiteY110" fmla="*/ 1317552 h 1357700"/>
              <a:gd name="connsiteX111" fmla="*/ 3487736 w 10678681"/>
              <a:gd name="connsiteY111" fmla="*/ 1303493 h 1357700"/>
              <a:gd name="connsiteX112" fmla="*/ 3392548 w 10678681"/>
              <a:gd name="connsiteY112" fmla="*/ 1278741 h 1357700"/>
              <a:gd name="connsiteX113" fmla="*/ 3337466 w 10678681"/>
              <a:gd name="connsiteY113" fmla="*/ 1272537 h 1357700"/>
              <a:gd name="connsiteX114" fmla="*/ 3187206 w 10678681"/>
              <a:gd name="connsiteY114" fmla="*/ 1246821 h 1357700"/>
              <a:gd name="connsiteX115" fmla="*/ 3036856 w 10678681"/>
              <a:gd name="connsiteY115" fmla="*/ 1214383 h 1357700"/>
              <a:gd name="connsiteX116" fmla="*/ 2948654 w 10678681"/>
              <a:gd name="connsiteY116" fmla="*/ 1157455 h 1357700"/>
              <a:gd name="connsiteX117" fmla="*/ 2824973 w 10678681"/>
              <a:gd name="connsiteY117" fmla="*/ 1134864 h 1357700"/>
              <a:gd name="connsiteX118" fmla="*/ 2804398 w 10678681"/>
              <a:gd name="connsiteY118" fmla="*/ 1125556 h 1357700"/>
              <a:gd name="connsiteX119" fmla="*/ 2775396 w 10678681"/>
              <a:gd name="connsiteY119" fmla="*/ 1130148 h 1357700"/>
              <a:gd name="connsiteX120" fmla="*/ 2659096 w 10678681"/>
              <a:gd name="connsiteY120" fmla="*/ 1150294 h 1357700"/>
              <a:gd name="connsiteX121" fmla="*/ 2567088 w 10678681"/>
              <a:gd name="connsiteY121" fmla="*/ 1181781 h 1357700"/>
              <a:gd name="connsiteX122" fmla="*/ 2454501 w 10678681"/>
              <a:gd name="connsiteY122" fmla="*/ 1155455 h 1357700"/>
              <a:gd name="connsiteX123" fmla="*/ 2385161 w 10678681"/>
              <a:gd name="connsiteY123" fmla="*/ 1161312 h 1357700"/>
              <a:gd name="connsiteX124" fmla="*/ 2270528 w 10678681"/>
              <a:gd name="connsiteY124" fmla="*/ 1204338 h 1357700"/>
              <a:gd name="connsiteX125" fmla="*/ 2121820 w 10678681"/>
              <a:gd name="connsiteY125" fmla="*/ 1187078 h 1357700"/>
              <a:gd name="connsiteX126" fmla="*/ 2092716 w 10678681"/>
              <a:gd name="connsiteY126" fmla="*/ 1139224 h 1357700"/>
              <a:gd name="connsiteX127" fmla="*/ 2052449 w 10678681"/>
              <a:gd name="connsiteY127" fmla="*/ 1109687 h 1357700"/>
              <a:gd name="connsiteX128" fmla="*/ 2032607 w 10678681"/>
              <a:gd name="connsiteY128" fmla="*/ 1175477 h 1357700"/>
              <a:gd name="connsiteX129" fmla="*/ 1901837 w 10678681"/>
              <a:gd name="connsiteY129" fmla="*/ 1221762 h 1357700"/>
              <a:gd name="connsiteX130" fmla="*/ 1836762 w 10678681"/>
              <a:gd name="connsiteY130" fmla="*/ 1237387 h 1357700"/>
              <a:gd name="connsiteX131" fmla="*/ 1735877 w 10678681"/>
              <a:gd name="connsiteY131" fmla="*/ 1246527 h 1357700"/>
              <a:gd name="connsiteX132" fmla="*/ 1705069 w 10678681"/>
              <a:gd name="connsiteY132" fmla="*/ 1251989 h 1357700"/>
              <a:gd name="connsiteX133" fmla="*/ 1397689 w 10678681"/>
              <a:gd name="connsiteY133" fmla="*/ 1336144 h 1357700"/>
              <a:gd name="connsiteX134" fmla="*/ 1220734 w 10678681"/>
              <a:gd name="connsiteY134" fmla="*/ 1257811 h 1357700"/>
              <a:gd name="connsiteX135" fmla="*/ 1021737 w 10678681"/>
              <a:gd name="connsiteY135" fmla="*/ 1238739 h 1357700"/>
              <a:gd name="connsiteX136" fmla="*/ 959820 w 10678681"/>
              <a:gd name="connsiteY136" fmla="*/ 1275863 h 1357700"/>
              <a:gd name="connsiteX137" fmla="*/ 929137 w 10678681"/>
              <a:gd name="connsiteY137" fmla="*/ 1273957 h 1357700"/>
              <a:gd name="connsiteX138" fmla="*/ 878849 w 10678681"/>
              <a:gd name="connsiteY138" fmla="*/ 1266740 h 1357700"/>
              <a:gd name="connsiteX139" fmla="*/ 800667 w 10678681"/>
              <a:gd name="connsiteY139" fmla="*/ 1282041 h 1357700"/>
              <a:gd name="connsiteX140" fmla="*/ 644906 w 10678681"/>
              <a:gd name="connsiteY140" fmla="*/ 1273685 h 1357700"/>
              <a:gd name="connsiteX141" fmla="*/ 379869 w 10678681"/>
              <a:gd name="connsiteY141" fmla="*/ 1339165 h 1357700"/>
              <a:gd name="connsiteX142" fmla="*/ 137696 w 10678681"/>
              <a:gd name="connsiteY142" fmla="*/ 1319217 h 1357700"/>
              <a:gd name="connsiteX143" fmla="*/ 54250 w 10678681"/>
              <a:gd name="connsiteY143" fmla="*/ 1315838 h 1357700"/>
              <a:gd name="connsiteX144" fmla="*/ 28042 w 10678681"/>
              <a:gd name="connsiteY144" fmla="*/ 1297822 h 1357700"/>
              <a:gd name="connsiteX145" fmla="*/ 0 w 10678681"/>
              <a:gd name="connsiteY145" fmla="*/ 1294612 h 1357700"/>
              <a:gd name="connsiteX146" fmla="*/ 0 w 10678681"/>
              <a:gd name="connsiteY146"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30518 w 10678681"/>
              <a:gd name="connsiteY38" fmla="*/ 739526 h 1357700"/>
              <a:gd name="connsiteX39" fmla="*/ 7652907 w 10678681"/>
              <a:gd name="connsiteY39" fmla="*/ 783273 h 1357700"/>
              <a:gd name="connsiteX40" fmla="*/ 7606008 w 10678681"/>
              <a:gd name="connsiteY40" fmla="*/ 800717 h 1357700"/>
              <a:gd name="connsiteX41" fmla="*/ 7480223 w 10678681"/>
              <a:gd name="connsiteY41" fmla="*/ 856821 h 1357700"/>
              <a:gd name="connsiteX42" fmla="*/ 7356005 w 10678681"/>
              <a:gd name="connsiteY42" fmla="*/ 919462 h 1357700"/>
              <a:gd name="connsiteX43" fmla="*/ 7305396 w 10678681"/>
              <a:gd name="connsiteY43" fmla="*/ 986228 h 1357700"/>
              <a:gd name="connsiteX44" fmla="*/ 7277477 w 10678681"/>
              <a:gd name="connsiteY44" fmla="*/ 990571 h 1357700"/>
              <a:gd name="connsiteX45" fmla="*/ 7269396 w 10678681"/>
              <a:gd name="connsiteY45" fmla="*/ 989282 h 1357700"/>
              <a:gd name="connsiteX46" fmla="*/ 7258094 w 10678681"/>
              <a:gd name="connsiteY46" fmla="*/ 990679 h 1357700"/>
              <a:gd name="connsiteX47" fmla="*/ 7257893 w 10678681"/>
              <a:gd name="connsiteY47" fmla="*/ 991204 h 1357700"/>
              <a:gd name="connsiteX48" fmla="*/ 7247153 w 10678681"/>
              <a:gd name="connsiteY48" fmla="*/ 991550 h 1357700"/>
              <a:gd name="connsiteX49" fmla="*/ 7193612 w 10678681"/>
              <a:gd name="connsiteY49" fmla="*/ 987042 h 1357700"/>
              <a:gd name="connsiteX50" fmla="*/ 7132632 w 10678681"/>
              <a:gd name="connsiteY50" fmla="*/ 1042036 h 1357700"/>
              <a:gd name="connsiteX51" fmla="*/ 7105610 w 10678681"/>
              <a:gd name="connsiteY51" fmla="*/ 1053537 h 1357700"/>
              <a:gd name="connsiteX52" fmla="*/ 7091599 w 10678681"/>
              <a:gd name="connsiteY52" fmla="*/ 1062302 h 1357700"/>
              <a:gd name="connsiteX53" fmla="*/ 7039634 w 10678681"/>
              <a:gd name="connsiteY53" fmla="*/ 1059971 h 1357700"/>
              <a:gd name="connsiteX54" fmla="*/ 7033445 w 10678681"/>
              <a:gd name="connsiteY54" fmla="*/ 1063314 h 1357700"/>
              <a:gd name="connsiteX55" fmla="*/ 6999157 w 10678681"/>
              <a:gd name="connsiteY55" fmla="*/ 1055282 h 1357700"/>
              <a:gd name="connsiteX56" fmla="*/ 6981874 w 10678681"/>
              <a:gd name="connsiteY56" fmla="*/ 1053827 h 1357700"/>
              <a:gd name="connsiteX57" fmla="*/ 6976102 w 10678681"/>
              <a:gd name="connsiteY57" fmla="*/ 1047854 h 1357700"/>
              <a:gd name="connsiteX58" fmla="*/ 6951040 w 10678681"/>
              <a:gd name="connsiteY58" fmla="*/ 1048531 h 1357700"/>
              <a:gd name="connsiteX59" fmla="*/ 6948497 w 10678681"/>
              <a:gd name="connsiteY59" fmla="*/ 1050706 h 1357700"/>
              <a:gd name="connsiteX60" fmla="*/ 6926582 w 10678681"/>
              <a:gd name="connsiteY60" fmla="*/ 1043462 h 1357700"/>
              <a:gd name="connsiteX61" fmla="*/ 6833743 w 10678681"/>
              <a:gd name="connsiteY61" fmla="*/ 1027960 h 1357700"/>
              <a:gd name="connsiteX62" fmla="*/ 6687090 w 10678681"/>
              <a:gd name="connsiteY62" fmla="*/ 1063250 h 1357700"/>
              <a:gd name="connsiteX63" fmla="*/ 6437450 w 10678681"/>
              <a:gd name="connsiteY63" fmla="*/ 1101075 h 1357700"/>
              <a:gd name="connsiteX64" fmla="*/ 6327795 w 10678681"/>
              <a:gd name="connsiteY64" fmla="*/ 1088142 h 1357700"/>
              <a:gd name="connsiteX65" fmla="*/ 6136549 w 10678681"/>
              <a:gd name="connsiteY65" fmla="*/ 1100268 h 1357700"/>
              <a:gd name="connsiteX66" fmla="*/ 6004655 w 10678681"/>
              <a:gd name="connsiteY66" fmla="*/ 1114946 h 1357700"/>
              <a:gd name="connsiteX67" fmla="*/ 5936643 w 10678681"/>
              <a:gd name="connsiteY67" fmla="*/ 1095428 h 1357700"/>
              <a:gd name="connsiteX68" fmla="*/ 5912484 w 10678681"/>
              <a:gd name="connsiteY68" fmla="*/ 1112624 h 1357700"/>
              <a:gd name="connsiteX69" fmla="*/ 5908387 w 10678681"/>
              <a:gd name="connsiteY69" fmla="*/ 1116018 h 1357700"/>
              <a:gd name="connsiteX70" fmla="*/ 5890495 w 10678681"/>
              <a:gd name="connsiteY70" fmla="*/ 1120268 h 1357700"/>
              <a:gd name="connsiteX71" fmla="*/ 5887318 w 10678681"/>
              <a:gd name="connsiteY71" fmla="*/ 1133134 h 1357700"/>
              <a:gd name="connsiteX72" fmla="*/ 5861726 w 10678681"/>
              <a:gd name="connsiteY72" fmla="*/ 1147891 h 1357700"/>
              <a:gd name="connsiteX73" fmla="*/ 5805823 w 10678681"/>
              <a:gd name="connsiteY73" fmla="*/ 1152457 h 1357700"/>
              <a:gd name="connsiteX74" fmla="*/ 5689841 w 10678681"/>
              <a:gd name="connsiteY74" fmla="*/ 1176232 h 1357700"/>
              <a:gd name="connsiteX75" fmla="*/ 5605119 w 10678681"/>
              <a:gd name="connsiteY75" fmla="*/ 1190202 h 1357700"/>
              <a:gd name="connsiteX76" fmla="*/ 5488513 w 10678681"/>
              <a:gd name="connsiteY76" fmla="*/ 1205367 h 1357700"/>
              <a:gd name="connsiteX77" fmla="*/ 5402905 w 10678681"/>
              <a:gd name="connsiteY77" fmla="*/ 1241191 h 1357700"/>
              <a:gd name="connsiteX78" fmla="*/ 5285593 w 10678681"/>
              <a:gd name="connsiteY78" fmla="*/ 1273569 h 1357700"/>
              <a:gd name="connsiteX79" fmla="*/ 5192893 w 10678681"/>
              <a:gd name="connsiteY79" fmla="*/ 1247188 h 1357700"/>
              <a:gd name="connsiteX80" fmla="*/ 5186475 w 10678681"/>
              <a:gd name="connsiteY80" fmla="*/ 1257028 h 1357700"/>
              <a:gd name="connsiteX81" fmla="*/ 5126038 w 10678681"/>
              <a:gd name="connsiteY81" fmla="*/ 1263189 h 1357700"/>
              <a:gd name="connsiteX82" fmla="*/ 4894688 w 10678681"/>
              <a:gd name="connsiteY82" fmla="*/ 1247184 h 1357700"/>
              <a:gd name="connsiteX83" fmla="*/ 4788036 w 10678681"/>
              <a:gd name="connsiteY83" fmla="*/ 1238182 h 1357700"/>
              <a:gd name="connsiteX84" fmla="*/ 4747555 w 10678681"/>
              <a:gd name="connsiteY84" fmla="*/ 1252768 h 1357700"/>
              <a:gd name="connsiteX85" fmla="*/ 4679644 w 10678681"/>
              <a:gd name="connsiteY85" fmla="*/ 1276603 h 1357700"/>
              <a:gd name="connsiteX86" fmla="*/ 4632222 w 10678681"/>
              <a:gd name="connsiteY86" fmla="*/ 1318360 h 1357700"/>
              <a:gd name="connsiteX87" fmla="*/ 4617358 w 10678681"/>
              <a:gd name="connsiteY87" fmla="*/ 1327690 h 1357700"/>
              <a:gd name="connsiteX88" fmla="*/ 4589102 w 10678681"/>
              <a:gd name="connsiteY88" fmla="*/ 1321223 h 1357700"/>
              <a:gd name="connsiteX89" fmla="*/ 4578184 w 10678681"/>
              <a:gd name="connsiteY89" fmla="*/ 1326745 h 1357700"/>
              <a:gd name="connsiteX90" fmla="*/ 4574270 w 10678681"/>
              <a:gd name="connsiteY90" fmla="*/ 1325878 h 1357700"/>
              <a:gd name="connsiteX91" fmla="*/ 4564919 w 10678681"/>
              <a:gd name="connsiteY91" fmla="*/ 1325507 h 1357700"/>
              <a:gd name="connsiteX92" fmla="*/ 4566586 w 10678681"/>
              <a:gd name="connsiteY92" fmla="*/ 1316963 h 1357700"/>
              <a:gd name="connsiteX93" fmla="*/ 4556303 w 10678681"/>
              <a:gd name="connsiteY93" fmla="*/ 1300262 h 1357700"/>
              <a:gd name="connsiteX94" fmla="*/ 4502358 w 10678681"/>
              <a:gd name="connsiteY94" fmla="*/ 1302558 h 1357700"/>
              <a:gd name="connsiteX95" fmla="*/ 4498919 w 10678681"/>
              <a:gd name="connsiteY95" fmla="*/ 1312115 h 1357700"/>
              <a:gd name="connsiteX96" fmla="*/ 4492075 w 10678681"/>
              <a:gd name="connsiteY96" fmla="*/ 1313357 h 1357700"/>
              <a:gd name="connsiteX97" fmla="*/ 4487466 w 10678681"/>
              <a:gd name="connsiteY97" fmla="*/ 1304102 h 1357700"/>
              <a:gd name="connsiteX98" fmla="*/ 4398292 w 10678681"/>
              <a:gd name="connsiteY98" fmla="*/ 1278410 h 1357700"/>
              <a:gd name="connsiteX99" fmla="*/ 4306088 w 10678681"/>
              <a:gd name="connsiteY99" fmla="*/ 1282512 h 1357700"/>
              <a:gd name="connsiteX100" fmla="*/ 4188995 w 10678681"/>
              <a:gd name="connsiteY100" fmla="*/ 1296718 h 1357700"/>
              <a:gd name="connsiteX101" fmla="*/ 4136582 w 10678681"/>
              <a:gd name="connsiteY101" fmla="*/ 1287687 h 1357700"/>
              <a:gd name="connsiteX102" fmla="*/ 4064614 w 10678681"/>
              <a:gd name="connsiteY102" fmla="*/ 1296118 h 1357700"/>
              <a:gd name="connsiteX103" fmla="*/ 3906561 w 10678681"/>
              <a:gd name="connsiteY103" fmla="*/ 1352435 h 1357700"/>
              <a:gd name="connsiteX104" fmla="*/ 3787890 w 10678681"/>
              <a:gd name="connsiteY104" fmla="*/ 1352442 h 1357700"/>
              <a:gd name="connsiteX105" fmla="*/ 3745993 w 10678681"/>
              <a:gd name="connsiteY105" fmla="*/ 1342630 h 1357700"/>
              <a:gd name="connsiteX106" fmla="*/ 3675785 w 10678681"/>
              <a:gd name="connsiteY106" fmla="*/ 1326802 h 1357700"/>
              <a:gd name="connsiteX107" fmla="*/ 3623856 w 10678681"/>
              <a:gd name="connsiteY107" fmla="*/ 1290804 h 1357700"/>
              <a:gd name="connsiteX108" fmla="*/ 3564933 w 10678681"/>
              <a:gd name="connsiteY108" fmla="*/ 1287147 h 1357700"/>
              <a:gd name="connsiteX109" fmla="*/ 3550537 w 10678681"/>
              <a:gd name="connsiteY109" fmla="*/ 1317552 h 1357700"/>
              <a:gd name="connsiteX110" fmla="*/ 3487736 w 10678681"/>
              <a:gd name="connsiteY110" fmla="*/ 1303493 h 1357700"/>
              <a:gd name="connsiteX111" fmla="*/ 3392548 w 10678681"/>
              <a:gd name="connsiteY111" fmla="*/ 1278741 h 1357700"/>
              <a:gd name="connsiteX112" fmla="*/ 3337466 w 10678681"/>
              <a:gd name="connsiteY112" fmla="*/ 1272537 h 1357700"/>
              <a:gd name="connsiteX113" fmla="*/ 3187206 w 10678681"/>
              <a:gd name="connsiteY113" fmla="*/ 1246821 h 1357700"/>
              <a:gd name="connsiteX114" fmla="*/ 3036856 w 10678681"/>
              <a:gd name="connsiteY114" fmla="*/ 1214383 h 1357700"/>
              <a:gd name="connsiteX115" fmla="*/ 2948654 w 10678681"/>
              <a:gd name="connsiteY115" fmla="*/ 1157455 h 1357700"/>
              <a:gd name="connsiteX116" fmla="*/ 2824973 w 10678681"/>
              <a:gd name="connsiteY116" fmla="*/ 1134864 h 1357700"/>
              <a:gd name="connsiteX117" fmla="*/ 2804398 w 10678681"/>
              <a:gd name="connsiteY117" fmla="*/ 1125556 h 1357700"/>
              <a:gd name="connsiteX118" fmla="*/ 2775396 w 10678681"/>
              <a:gd name="connsiteY118" fmla="*/ 1130148 h 1357700"/>
              <a:gd name="connsiteX119" fmla="*/ 2659096 w 10678681"/>
              <a:gd name="connsiteY119" fmla="*/ 1150294 h 1357700"/>
              <a:gd name="connsiteX120" fmla="*/ 2567088 w 10678681"/>
              <a:gd name="connsiteY120" fmla="*/ 1181781 h 1357700"/>
              <a:gd name="connsiteX121" fmla="*/ 2454501 w 10678681"/>
              <a:gd name="connsiteY121" fmla="*/ 1155455 h 1357700"/>
              <a:gd name="connsiteX122" fmla="*/ 2385161 w 10678681"/>
              <a:gd name="connsiteY122" fmla="*/ 1161312 h 1357700"/>
              <a:gd name="connsiteX123" fmla="*/ 2270528 w 10678681"/>
              <a:gd name="connsiteY123" fmla="*/ 1204338 h 1357700"/>
              <a:gd name="connsiteX124" fmla="*/ 2121820 w 10678681"/>
              <a:gd name="connsiteY124" fmla="*/ 1187078 h 1357700"/>
              <a:gd name="connsiteX125" fmla="*/ 2092716 w 10678681"/>
              <a:gd name="connsiteY125" fmla="*/ 1139224 h 1357700"/>
              <a:gd name="connsiteX126" fmla="*/ 2052449 w 10678681"/>
              <a:gd name="connsiteY126" fmla="*/ 1109687 h 1357700"/>
              <a:gd name="connsiteX127" fmla="*/ 2032607 w 10678681"/>
              <a:gd name="connsiteY127" fmla="*/ 1175477 h 1357700"/>
              <a:gd name="connsiteX128" fmla="*/ 1901837 w 10678681"/>
              <a:gd name="connsiteY128" fmla="*/ 1221762 h 1357700"/>
              <a:gd name="connsiteX129" fmla="*/ 1836762 w 10678681"/>
              <a:gd name="connsiteY129" fmla="*/ 1237387 h 1357700"/>
              <a:gd name="connsiteX130" fmla="*/ 1735877 w 10678681"/>
              <a:gd name="connsiteY130" fmla="*/ 1246527 h 1357700"/>
              <a:gd name="connsiteX131" fmla="*/ 1705069 w 10678681"/>
              <a:gd name="connsiteY131" fmla="*/ 1251989 h 1357700"/>
              <a:gd name="connsiteX132" fmla="*/ 1397689 w 10678681"/>
              <a:gd name="connsiteY132" fmla="*/ 1336144 h 1357700"/>
              <a:gd name="connsiteX133" fmla="*/ 1220734 w 10678681"/>
              <a:gd name="connsiteY133" fmla="*/ 1257811 h 1357700"/>
              <a:gd name="connsiteX134" fmla="*/ 1021737 w 10678681"/>
              <a:gd name="connsiteY134" fmla="*/ 1238739 h 1357700"/>
              <a:gd name="connsiteX135" fmla="*/ 959820 w 10678681"/>
              <a:gd name="connsiteY135" fmla="*/ 1275863 h 1357700"/>
              <a:gd name="connsiteX136" fmla="*/ 929137 w 10678681"/>
              <a:gd name="connsiteY136" fmla="*/ 1273957 h 1357700"/>
              <a:gd name="connsiteX137" fmla="*/ 878849 w 10678681"/>
              <a:gd name="connsiteY137" fmla="*/ 1266740 h 1357700"/>
              <a:gd name="connsiteX138" fmla="*/ 800667 w 10678681"/>
              <a:gd name="connsiteY138" fmla="*/ 1282041 h 1357700"/>
              <a:gd name="connsiteX139" fmla="*/ 644906 w 10678681"/>
              <a:gd name="connsiteY139" fmla="*/ 1273685 h 1357700"/>
              <a:gd name="connsiteX140" fmla="*/ 379869 w 10678681"/>
              <a:gd name="connsiteY140" fmla="*/ 1339165 h 1357700"/>
              <a:gd name="connsiteX141" fmla="*/ 137696 w 10678681"/>
              <a:gd name="connsiteY141" fmla="*/ 1319217 h 1357700"/>
              <a:gd name="connsiteX142" fmla="*/ 54250 w 10678681"/>
              <a:gd name="connsiteY142" fmla="*/ 1315838 h 1357700"/>
              <a:gd name="connsiteX143" fmla="*/ 28042 w 10678681"/>
              <a:gd name="connsiteY143" fmla="*/ 1297822 h 1357700"/>
              <a:gd name="connsiteX144" fmla="*/ 0 w 10678681"/>
              <a:gd name="connsiteY144" fmla="*/ 1294612 h 1357700"/>
              <a:gd name="connsiteX145" fmla="*/ 0 w 10678681"/>
              <a:gd name="connsiteY145"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30518 w 10678681"/>
              <a:gd name="connsiteY38" fmla="*/ 739526 h 1357700"/>
              <a:gd name="connsiteX39" fmla="*/ 7652907 w 10678681"/>
              <a:gd name="connsiteY39" fmla="*/ 783273 h 1357700"/>
              <a:gd name="connsiteX40" fmla="*/ 7606008 w 10678681"/>
              <a:gd name="connsiteY40" fmla="*/ 800717 h 1357700"/>
              <a:gd name="connsiteX41" fmla="*/ 7480223 w 10678681"/>
              <a:gd name="connsiteY41" fmla="*/ 856821 h 1357700"/>
              <a:gd name="connsiteX42" fmla="*/ 7356005 w 10678681"/>
              <a:gd name="connsiteY42" fmla="*/ 919462 h 1357700"/>
              <a:gd name="connsiteX43" fmla="*/ 7305396 w 10678681"/>
              <a:gd name="connsiteY43" fmla="*/ 986228 h 1357700"/>
              <a:gd name="connsiteX44" fmla="*/ 7277477 w 10678681"/>
              <a:gd name="connsiteY44" fmla="*/ 990571 h 1357700"/>
              <a:gd name="connsiteX45" fmla="*/ 7269396 w 10678681"/>
              <a:gd name="connsiteY45" fmla="*/ 989282 h 1357700"/>
              <a:gd name="connsiteX46" fmla="*/ 7258094 w 10678681"/>
              <a:gd name="connsiteY46" fmla="*/ 990679 h 1357700"/>
              <a:gd name="connsiteX47" fmla="*/ 7257893 w 10678681"/>
              <a:gd name="connsiteY47" fmla="*/ 991204 h 1357700"/>
              <a:gd name="connsiteX48" fmla="*/ 7247153 w 10678681"/>
              <a:gd name="connsiteY48" fmla="*/ 991550 h 1357700"/>
              <a:gd name="connsiteX49" fmla="*/ 7193612 w 10678681"/>
              <a:gd name="connsiteY49" fmla="*/ 987042 h 1357700"/>
              <a:gd name="connsiteX50" fmla="*/ 7132632 w 10678681"/>
              <a:gd name="connsiteY50" fmla="*/ 1042036 h 1357700"/>
              <a:gd name="connsiteX51" fmla="*/ 7105610 w 10678681"/>
              <a:gd name="connsiteY51" fmla="*/ 1053537 h 1357700"/>
              <a:gd name="connsiteX52" fmla="*/ 7069148 w 10678681"/>
              <a:gd name="connsiteY52" fmla="*/ 1047163 h 1357700"/>
              <a:gd name="connsiteX53" fmla="*/ 7039634 w 10678681"/>
              <a:gd name="connsiteY53" fmla="*/ 1059971 h 1357700"/>
              <a:gd name="connsiteX54" fmla="*/ 7033445 w 10678681"/>
              <a:gd name="connsiteY54" fmla="*/ 1063314 h 1357700"/>
              <a:gd name="connsiteX55" fmla="*/ 6999157 w 10678681"/>
              <a:gd name="connsiteY55" fmla="*/ 1055282 h 1357700"/>
              <a:gd name="connsiteX56" fmla="*/ 6981874 w 10678681"/>
              <a:gd name="connsiteY56" fmla="*/ 1053827 h 1357700"/>
              <a:gd name="connsiteX57" fmla="*/ 6976102 w 10678681"/>
              <a:gd name="connsiteY57" fmla="*/ 1047854 h 1357700"/>
              <a:gd name="connsiteX58" fmla="*/ 6951040 w 10678681"/>
              <a:gd name="connsiteY58" fmla="*/ 1048531 h 1357700"/>
              <a:gd name="connsiteX59" fmla="*/ 6948497 w 10678681"/>
              <a:gd name="connsiteY59" fmla="*/ 1050706 h 1357700"/>
              <a:gd name="connsiteX60" fmla="*/ 6926582 w 10678681"/>
              <a:gd name="connsiteY60" fmla="*/ 1043462 h 1357700"/>
              <a:gd name="connsiteX61" fmla="*/ 6833743 w 10678681"/>
              <a:gd name="connsiteY61" fmla="*/ 1027960 h 1357700"/>
              <a:gd name="connsiteX62" fmla="*/ 6687090 w 10678681"/>
              <a:gd name="connsiteY62" fmla="*/ 1063250 h 1357700"/>
              <a:gd name="connsiteX63" fmla="*/ 6437450 w 10678681"/>
              <a:gd name="connsiteY63" fmla="*/ 1101075 h 1357700"/>
              <a:gd name="connsiteX64" fmla="*/ 6327795 w 10678681"/>
              <a:gd name="connsiteY64" fmla="*/ 1088142 h 1357700"/>
              <a:gd name="connsiteX65" fmla="*/ 6136549 w 10678681"/>
              <a:gd name="connsiteY65" fmla="*/ 1100268 h 1357700"/>
              <a:gd name="connsiteX66" fmla="*/ 6004655 w 10678681"/>
              <a:gd name="connsiteY66" fmla="*/ 1114946 h 1357700"/>
              <a:gd name="connsiteX67" fmla="*/ 5936643 w 10678681"/>
              <a:gd name="connsiteY67" fmla="*/ 1095428 h 1357700"/>
              <a:gd name="connsiteX68" fmla="*/ 5912484 w 10678681"/>
              <a:gd name="connsiteY68" fmla="*/ 1112624 h 1357700"/>
              <a:gd name="connsiteX69" fmla="*/ 5908387 w 10678681"/>
              <a:gd name="connsiteY69" fmla="*/ 1116018 h 1357700"/>
              <a:gd name="connsiteX70" fmla="*/ 5890495 w 10678681"/>
              <a:gd name="connsiteY70" fmla="*/ 1120268 h 1357700"/>
              <a:gd name="connsiteX71" fmla="*/ 5887318 w 10678681"/>
              <a:gd name="connsiteY71" fmla="*/ 1133134 h 1357700"/>
              <a:gd name="connsiteX72" fmla="*/ 5861726 w 10678681"/>
              <a:gd name="connsiteY72" fmla="*/ 1147891 h 1357700"/>
              <a:gd name="connsiteX73" fmla="*/ 5805823 w 10678681"/>
              <a:gd name="connsiteY73" fmla="*/ 1152457 h 1357700"/>
              <a:gd name="connsiteX74" fmla="*/ 5689841 w 10678681"/>
              <a:gd name="connsiteY74" fmla="*/ 1176232 h 1357700"/>
              <a:gd name="connsiteX75" fmla="*/ 5605119 w 10678681"/>
              <a:gd name="connsiteY75" fmla="*/ 1190202 h 1357700"/>
              <a:gd name="connsiteX76" fmla="*/ 5488513 w 10678681"/>
              <a:gd name="connsiteY76" fmla="*/ 1205367 h 1357700"/>
              <a:gd name="connsiteX77" fmla="*/ 5402905 w 10678681"/>
              <a:gd name="connsiteY77" fmla="*/ 1241191 h 1357700"/>
              <a:gd name="connsiteX78" fmla="*/ 5285593 w 10678681"/>
              <a:gd name="connsiteY78" fmla="*/ 1273569 h 1357700"/>
              <a:gd name="connsiteX79" fmla="*/ 5192893 w 10678681"/>
              <a:gd name="connsiteY79" fmla="*/ 1247188 h 1357700"/>
              <a:gd name="connsiteX80" fmla="*/ 5186475 w 10678681"/>
              <a:gd name="connsiteY80" fmla="*/ 1257028 h 1357700"/>
              <a:gd name="connsiteX81" fmla="*/ 5126038 w 10678681"/>
              <a:gd name="connsiteY81" fmla="*/ 1263189 h 1357700"/>
              <a:gd name="connsiteX82" fmla="*/ 4894688 w 10678681"/>
              <a:gd name="connsiteY82" fmla="*/ 1247184 h 1357700"/>
              <a:gd name="connsiteX83" fmla="*/ 4788036 w 10678681"/>
              <a:gd name="connsiteY83" fmla="*/ 1238182 h 1357700"/>
              <a:gd name="connsiteX84" fmla="*/ 4747555 w 10678681"/>
              <a:gd name="connsiteY84" fmla="*/ 1252768 h 1357700"/>
              <a:gd name="connsiteX85" fmla="*/ 4679644 w 10678681"/>
              <a:gd name="connsiteY85" fmla="*/ 1276603 h 1357700"/>
              <a:gd name="connsiteX86" fmla="*/ 4632222 w 10678681"/>
              <a:gd name="connsiteY86" fmla="*/ 1318360 h 1357700"/>
              <a:gd name="connsiteX87" fmla="*/ 4617358 w 10678681"/>
              <a:gd name="connsiteY87" fmla="*/ 1327690 h 1357700"/>
              <a:gd name="connsiteX88" fmla="*/ 4589102 w 10678681"/>
              <a:gd name="connsiteY88" fmla="*/ 1321223 h 1357700"/>
              <a:gd name="connsiteX89" fmla="*/ 4578184 w 10678681"/>
              <a:gd name="connsiteY89" fmla="*/ 1326745 h 1357700"/>
              <a:gd name="connsiteX90" fmla="*/ 4574270 w 10678681"/>
              <a:gd name="connsiteY90" fmla="*/ 1325878 h 1357700"/>
              <a:gd name="connsiteX91" fmla="*/ 4564919 w 10678681"/>
              <a:gd name="connsiteY91" fmla="*/ 1325507 h 1357700"/>
              <a:gd name="connsiteX92" fmla="*/ 4566586 w 10678681"/>
              <a:gd name="connsiteY92" fmla="*/ 1316963 h 1357700"/>
              <a:gd name="connsiteX93" fmla="*/ 4556303 w 10678681"/>
              <a:gd name="connsiteY93" fmla="*/ 1300262 h 1357700"/>
              <a:gd name="connsiteX94" fmla="*/ 4502358 w 10678681"/>
              <a:gd name="connsiteY94" fmla="*/ 1302558 h 1357700"/>
              <a:gd name="connsiteX95" fmla="*/ 4498919 w 10678681"/>
              <a:gd name="connsiteY95" fmla="*/ 1312115 h 1357700"/>
              <a:gd name="connsiteX96" fmla="*/ 4492075 w 10678681"/>
              <a:gd name="connsiteY96" fmla="*/ 1313357 h 1357700"/>
              <a:gd name="connsiteX97" fmla="*/ 4487466 w 10678681"/>
              <a:gd name="connsiteY97" fmla="*/ 1304102 h 1357700"/>
              <a:gd name="connsiteX98" fmla="*/ 4398292 w 10678681"/>
              <a:gd name="connsiteY98" fmla="*/ 1278410 h 1357700"/>
              <a:gd name="connsiteX99" fmla="*/ 4306088 w 10678681"/>
              <a:gd name="connsiteY99" fmla="*/ 1282512 h 1357700"/>
              <a:gd name="connsiteX100" fmla="*/ 4188995 w 10678681"/>
              <a:gd name="connsiteY100" fmla="*/ 1296718 h 1357700"/>
              <a:gd name="connsiteX101" fmla="*/ 4136582 w 10678681"/>
              <a:gd name="connsiteY101" fmla="*/ 1287687 h 1357700"/>
              <a:gd name="connsiteX102" fmla="*/ 4064614 w 10678681"/>
              <a:gd name="connsiteY102" fmla="*/ 1296118 h 1357700"/>
              <a:gd name="connsiteX103" fmla="*/ 3906561 w 10678681"/>
              <a:gd name="connsiteY103" fmla="*/ 1352435 h 1357700"/>
              <a:gd name="connsiteX104" fmla="*/ 3787890 w 10678681"/>
              <a:gd name="connsiteY104" fmla="*/ 1352442 h 1357700"/>
              <a:gd name="connsiteX105" fmla="*/ 3745993 w 10678681"/>
              <a:gd name="connsiteY105" fmla="*/ 1342630 h 1357700"/>
              <a:gd name="connsiteX106" fmla="*/ 3675785 w 10678681"/>
              <a:gd name="connsiteY106" fmla="*/ 1326802 h 1357700"/>
              <a:gd name="connsiteX107" fmla="*/ 3623856 w 10678681"/>
              <a:gd name="connsiteY107" fmla="*/ 1290804 h 1357700"/>
              <a:gd name="connsiteX108" fmla="*/ 3564933 w 10678681"/>
              <a:gd name="connsiteY108" fmla="*/ 1287147 h 1357700"/>
              <a:gd name="connsiteX109" fmla="*/ 3550537 w 10678681"/>
              <a:gd name="connsiteY109" fmla="*/ 1317552 h 1357700"/>
              <a:gd name="connsiteX110" fmla="*/ 3487736 w 10678681"/>
              <a:gd name="connsiteY110" fmla="*/ 1303493 h 1357700"/>
              <a:gd name="connsiteX111" fmla="*/ 3392548 w 10678681"/>
              <a:gd name="connsiteY111" fmla="*/ 1278741 h 1357700"/>
              <a:gd name="connsiteX112" fmla="*/ 3337466 w 10678681"/>
              <a:gd name="connsiteY112" fmla="*/ 1272537 h 1357700"/>
              <a:gd name="connsiteX113" fmla="*/ 3187206 w 10678681"/>
              <a:gd name="connsiteY113" fmla="*/ 1246821 h 1357700"/>
              <a:gd name="connsiteX114" fmla="*/ 3036856 w 10678681"/>
              <a:gd name="connsiteY114" fmla="*/ 1214383 h 1357700"/>
              <a:gd name="connsiteX115" fmla="*/ 2948654 w 10678681"/>
              <a:gd name="connsiteY115" fmla="*/ 1157455 h 1357700"/>
              <a:gd name="connsiteX116" fmla="*/ 2824973 w 10678681"/>
              <a:gd name="connsiteY116" fmla="*/ 1134864 h 1357700"/>
              <a:gd name="connsiteX117" fmla="*/ 2804398 w 10678681"/>
              <a:gd name="connsiteY117" fmla="*/ 1125556 h 1357700"/>
              <a:gd name="connsiteX118" fmla="*/ 2775396 w 10678681"/>
              <a:gd name="connsiteY118" fmla="*/ 1130148 h 1357700"/>
              <a:gd name="connsiteX119" fmla="*/ 2659096 w 10678681"/>
              <a:gd name="connsiteY119" fmla="*/ 1150294 h 1357700"/>
              <a:gd name="connsiteX120" fmla="*/ 2567088 w 10678681"/>
              <a:gd name="connsiteY120" fmla="*/ 1181781 h 1357700"/>
              <a:gd name="connsiteX121" fmla="*/ 2454501 w 10678681"/>
              <a:gd name="connsiteY121" fmla="*/ 1155455 h 1357700"/>
              <a:gd name="connsiteX122" fmla="*/ 2385161 w 10678681"/>
              <a:gd name="connsiteY122" fmla="*/ 1161312 h 1357700"/>
              <a:gd name="connsiteX123" fmla="*/ 2270528 w 10678681"/>
              <a:gd name="connsiteY123" fmla="*/ 1204338 h 1357700"/>
              <a:gd name="connsiteX124" fmla="*/ 2121820 w 10678681"/>
              <a:gd name="connsiteY124" fmla="*/ 1187078 h 1357700"/>
              <a:gd name="connsiteX125" fmla="*/ 2092716 w 10678681"/>
              <a:gd name="connsiteY125" fmla="*/ 1139224 h 1357700"/>
              <a:gd name="connsiteX126" fmla="*/ 2052449 w 10678681"/>
              <a:gd name="connsiteY126" fmla="*/ 1109687 h 1357700"/>
              <a:gd name="connsiteX127" fmla="*/ 2032607 w 10678681"/>
              <a:gd name="connsiteY127" fmla="*/ 1175477 h 1357700"/>
              <a:gd name="connsiteX128" fmla="*/ 1901837 w 10678681"/>
              <a:gd name="connsiteY128" fmla="*/ 1221762 h 1357700"/>
              <a:gd name="connsiteX129" fmla="*/ 1836762 w 10678681"/>
              <a:gd name="connsiteY129" fmla="*/ 1237387 h 1357700"/>
              <a:gd name="connsiteX130" fmla="*/ 1735877 w 10678681"/>
              <a:gd name="connsiteY130" fmla="*/ 1246527 h 1357700"/>
              <a:gd name="connsiteX131" fmla="*/ 1705069 w 10678681"/>
              <a:gd name="connsiteY131" fmla="*/ 1251989 h 1357700"/>
              <a:gd name="connsiteX132" fmla="*/ 1397689 w 10678681"/>
              <a:gd name="connsiteY132" fmla="*/ 1336144 h 1357700"/>
              <a:gd name="connsiteX133" fmla="*/ 1220734 w 10678681"/>
              <a:gd name="connsiteY133" fmla="*/ 1257811 h 1357700"/>
              <a:gd name="connsiteX134" fmla="*/ 1021737 w 10678681"/>
              <a:gd name="connsiteY134" fmla="*/ 1238739 h 1357700"/>
              <a:gd name="connsiteX135" fmla="*/ 959820 w 10678681"/>
              <a:gd name="connsiteY135" fmla="*/ 1275863 h 1357700"/>
              <a:gd name="connsiteX136" fmla="*/ 929137 w 10678681"/>
              <a:gd name="connsiteY136" fmla="*/ 1273957 h 1357700"/>
              <a:gd name="connsiteX137" fmla="*/ 878849 w 10678681"/>
              <a:gd name="connsiteY137" fmla="*/ 1266740 h 1357700"/>
              <a:gd name="connsiteX138" fmla="*/ 800667 w 10678681"/>
              <a:gd name="connsiteY138" fmla="*/ 1282041 h 1357700"/>
              <a:gd name="connsiteX139" fmla="*/ 644906 w 10678681"/>
              <a:gd name="connsiteY139" fmla="*/ 1273685 h 1357700"/>
              <a:gd name="connsiteX140" fmla="*/ 379869 w 10678681"/>
              <a:gd name="connsiteY140" fmla="*/ 1339165 h 1357700"/>
              <a:gd name="connsiteX141" fmla="*/ 137696 w 10678681"/>
              <a:gd name="connsiteY141" fmla="*/ 1319217 h 1357700"/>
              <a:gd name="connsiteX142" fmla="*/ 54250 w 10678681"/>
              <a:gd name="connsiteY142" fmla="*/ 1315838 h 1357700"/>
              <a:gd name="connsiteX143" fmla="*/ 28042 w 10678681"/>
              <a:gd name="connsiteY143" fmla="*/ 1297822 h 1357700"/>
              <a:gd name="connsiteX144" fmla="*/ 0 w 10678681"/>
              <a:gd name="connsiteY144" fmla="*/ 1294612 h 1357700"/>
              <a:gd name="connsiteX145" fmla="*/ 0 w 10678681"/>
              <a:gd name="connsiteY145"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30518 w 10678681"/>
              <a:gd name="connsiteY38" fmla="*/ 739526 h 1357700"/>
              <a:gd name="connsiteX39" fmla="*/ 7652907 w 10678681"/>
              <a:gd name="connsiteY39" fmla="*/ 783273 h 1357700"/>
              <a:gd name="connsiteX40" fmla="*/ 7606008 w 10678681"/>
              <a:gd name="connsiteY40" fmla="*/ 800717 h 1357700"/>
              <a:gd name="connsiteX41" fmla="*/ 7480223 w 10678681"/>
              <a:gd name="connsiteY41" fmla="*/ 856821 h 1357700"/>
              <a:gd name="connsiteX42" fmla="*/ 7356005 w 10678681"/>
              <a:gd name="connsiteY42" fmla="*/ 919462 h 1357700"/>
              <a:gd name="connsiteX43" fmla="*/ 7305396 w 10678681"/>
              <a:gd name="connsiteY43" fmla="*/ 986228 h 1357700"/>
              <a:gd name="connsiteX44" fmla="*/ 7266251 w 10678681"/>
              <a:gd name="connsiteY44" fmla="*/ 967864 h 1357700"/>
              <a:gd name="connsiteX45" fmla="*/ 7269396 w 10678681"/>
              <a:gd name="connsiteY45" fmla="*/ 989282 h 1357700"/>
              <a:gd name="connsiteX46" fmla="*/ 7258094 w 10678681"/>
              <a:gd name="connsiteY46" fmla="*/ 990679 h 1357700"/>
              <a:gd name="connsiteX47" fmla="*/ 7257893 w 10678681"/>
              <a:gd name="connsiteY47" fmla="*/ 991204 h 1357700"/>
              <a:gd name="connsiteX48" fmla="*/ 7247153 w 10678681"/>
              <a:gd name="connsiteY48" fmla="*/ 991550 h 1357700"/>
              <a:gd name="connsiteX49" fmla="*/ 7193612 w 10678681"/>
              <a:gd name="connsiteY49" fmla="*/ 987042 h 1357700"/>
              <a:gd name="connsiteX50" fmla="*/ 7132632 w 10678681"/>
              <a:gd name="connsiteY50" fmla="*/ 1042036 h 1357700"/>
              <a:gd name="connsiteX51" fmla="*/ 7105610 w 10678681"/>
              <a:gd name="connsiteY51" fmla="*/ 1053537 h 1357700"/>
              <a:gd name="connsiteX52" fmla="*/ 7069148 w 10678681"/>
              <a:gd name="connsiteY52" fmla="*/ 1047163 h 1357700"/>
              <a:gd name="connsiteX53" fmla="*/ 7039634 w 10678681"/>
              <a:gd name="connsiteY53" fmla="*/ 1059971 h 1357700"/>
              <a:gd name="connsiteX54" fmla="*/ 7033445 w 10678681"/>
              <a:gd name="connsiteY54" fmla="*/ 1063314 h 1357700"/>
              <a:gd name="connsiteX55" fmla="*/ 6999157 w 10678681"/>
              <a:gd name="connsiteY55" fmla="*/ 1055282 h 1357700"/>
              <a:gd name="connsiteX56" fmla="*/ 6981874 w 10678681"/>
              <a:gd name="connsiteY56" fmla="*/ 1053827 h 1357700"/>
              <a:gd name="connsiteX57" fmla="*/ 6976102 w 10678681"/>
              <a:gd name="connsiteY57" fmla="*/ 1047854 h 1357700"/>
              <a:gd name="connsiteX58" fmla="*/ 6951040 w 10678681"/>
              <a:gd name="connsiteY58" fmla="*/ 1048531 h 1357700"/>
              <a:gd name="connsiteX59" fmla="*/ 6948497 w 10678681"/>
              <a:gd name="connsiteY59" fmla="*/ 1050706 h 1357700"/>
              <a:gd name="connsiteX60" fmla="*/ 6926582 w 10678681"/>
              <a:gd name="connsiteY60" fmla="*/ 1043462 h 1357700"/>
              <a:gd name="connsiteX61" fmla="*/ 6833743 w 10678681"/>
              <a:gd name="connsiteY61" fmla="*/ 1027960 h 1357700"/>
              <a:gd name="connsiteX62" fmla="*/ 6687090 w 10678681"/>
              <a:gd name="connsiteY62" fmla="*/ 1063250 h 1357700"/>
              <a:gd name="connsiteX63" fmla="*/ 6437450 w 10678681"/>
              <a:gd name="connsiteY63" fmla="*/ 1101075 h 1357700"/>
              <a:gd name="connsiteX64" fmla="*/ 6327795 w 10678681"/>
              <a:gd name="connsiteY64" fmla="*/ 1088142 h 1357700"/>
              <a:gd name="connsiteX65" fmla="*/ 6136549 w 10678681"/>
              <a:gd name="connsiteY65" fmla="*/ 1100268 h 1357700"/>
              <a:gd name="connsiteX66" fmla="*/ 6004655 w 10678681"/>
              <a:gd name="connsiteY66" fmla="*/ 1114946 h 1357700"/>
              <a:gd name="connsiteX67" fmla="*/ 5936643 w 10678681"/>
              <a:gd name="connsiteY67" fmla="*/ 1095428 h 1357700"/>
              <a:gd name="connsiteX68" fmla="*/ 5912484 w 10678681"/>
              <a:gd name="connsiteY68" fmla="*/ 1112624 h 1357700"/>
              <a:gd name="connsiteX69" fmla="*/ 5908387 w 10678681"/>
              <a:gd name="connsiteY69" fmla="*/ 1116018 h 1357700"/>
              <a:gd name="connsiteX70" fmla="*/ 5890495 w 10678681"/>
              <a:gd name="connsiteY70" fmla="*/ 1120268 h 1357700"/>
              <a:gd name="connsiteX71" fmla="*/ 5887318 w 10678681"/>
              <a:gd name="connsiteY71" fmla="*/ 1133134 h 1357700"/>
              <a:gd name="connsiteX72" fmla="*/ 5861726 w 10678681"/>
              <a:gd name="connsiteY72" fmla="*/ 1147891 h 1357700"/>
              <a:gd name="connsiteX73" fmla="*/ 5805823 w 10678681"/>
              <a:gd name="connsiteY73" fmla="*/ 1152457 h 1357700"/>
              <a:gd name="connsiteX74" fmla="*/ 5689841 w 10678681"/>
              <a:gd name="connsiteY74" fmla="*/ 1176232 h 1357700"/>
              <a:gd name="connsiteX75" fmla="*/ 5605119 w 10678681"/>
              <a:gd name="connsiteY75" fmla="*/ 1190202 h 1357700"/>
              <a:gd name="connsiteX76" fmla="*/ 5488513 w 10678681"/>
              <a:gd name="connsiteY76" fmla="*/ 1205367 h 1357700"/>
              <a:gd name="connsiteX77" fmla="*/ 5402905 w 10678681"/>
              <a:gd name="connsiteY77" fmla="*/ 1241191 h 1357700"/>
              <a:gd name="connsiteX78" fmla="*/ 5285593 w 10678681"/>
              <a:gd name="connsiteY78" fmla="*/ 1273569 h 1357700"/>
              <a:gd name="connsiteX79" fmla="*/ 5192893 w 10678681"/>
              <a:gd name="connsiteY79" fmla="*/ 1247188 h 1357700"/>
              <a:gd name="connsiteX80" fmla="*/ 5186475 w 10678681"/>
              <a:gd name="connsiteY80" fmla="*/ 1257028 h 1357700"/>
              <a:gd name="connsiteX81" fmla="*/ 5126038 w 10678681"/>
              <a:gd name="connsiteY81" fmla="*/ 1263189 h 1357700"/>
              <a:gd name="connsiteX82" fmla="*/ 4894688 w 10678681"/>
              <a:gd name="connsiteY82" fmla="*/ 1247184 h 1357700"/>
              <a:gd name="connsiteX83" fmla="*/ 4788036 w 10678681"/>
              <a:gd name="connsiteY83" fmla="*/ 1238182 h 1357700"/>
              <a:gd name="connsiteX84" fmla="*/ 4747555 w 10678681"/>
              <a:gd name="connsiteY84" fmla="*/ 1252768 h 1357700"/>
              <a:gd name="connsiteX85" fmla="*/ 4679644 w 10678681"/>
              <a:gd name="connsiteY85" fmla="*/ 1276603 h 1357700"/>
              <a:gd name="connsiteX86" fmla="*/ 4632222 w 10678681"/>
              <a:gd name="connsiteY86" fmla="*/ 1318360 h 1357700"/>
              <a:gd name="connsiteX87" fmla="*/ 4617358 w 10678681"/>
              <a:gd name="connsiteY87" fmla="*/ 1327690 h 1357700"/>
              <a:gd name="connsiteX88" fmla="*/ 4589102 w 10678681"/>
              <a:gd name="connsiteY88" fmla="*/ 1321223 h 1357700"/>
              <a:gd name="connsiteX89" fmla="*/ 4578184 w 10678681"/>
              <a:gd name="connsiteY89" fmla="*/ 1326745 h 1357700"/>
              <a:gd name="connsiteX90" fmla="*/ 4574270 w 10678681"/>
              <a:gd name="connsiteY90" fmla="*/ 1325878 h 1357700"/>
              <a:gd name="connsiteX91" fmla="*/ 4564919 w 10678681"/>
              <a:gd name="connsiteY91" fmla="*/ 1325507 h 1357700"/>
              <a:gd name="connsiteX92" fmla="*/ 4566586 w 10678681"/>
              <a:gd name="connsiteY92" fmla="*/ 1316963 h 1357700"/>
              <a:gd name="connsiteX93" fmla="*/ 4556303 w 10678681"/>
              <a:gd name="connsiteY93" fmla="*/ 1300262 h 1357700"/>
              <a:gd name="connsiteX94" fmla="*/ 4502358 w 10678681"/>
              <a:gd name="connsiteY94" fmla="*/ 1302558 h 1357700"/>
              <a:gd name="connsiteX95" fmla="*/ 4498919 w 10678681"/>
              <a:gd name="connsiteY95" fmla="*/ 1312115 h 1357700"/>
              <a:gd name="connsiteX96" fmla="*/ 4492075 w 10678681"/>
              <a:gd name="connsiteY96" fmla="*/ 1313357 h 1357700"/>
              <a:gd name="connsiteX97" fmla="*/ 4487466 w 10678681"/>
              <a:gd name="connsiteY97" fmla="*/ 1304102 h 1357700"/>
              <a:gd name="connsiteX98" fmla="*/ 4398292 w 10678681"/>
              <a:gd name="connsiteY98" fmla="*/ 1278410 h 1357700"/>
              <a:gd name="connsiteX99" fmla="*/ 4306088 w 10678681"/>
              <a:gd name="connsiteY99" fmla="*/ 1282512 h 1357700"/>
              <a:gd name="connsiteX100" fmla="*/ 4188995 w 10678681"/>
              <a:gd name="connsiteY100" fmla="*/ 1296718 h 1357700"/>
              <a:gd name="connsiteX101" fmla="*/ 4136582 w 10678681"/>
              <a:gd name="connsiteY101" fmla="*/ 1287687 h 1357700"/>
              <a:gd name="connsiteX102" fmla="*/ 4064614 w 10678681"/>
              <a:gd name="connsiteY102" fmla="*/ 1296118 h 1357700"/>
              <a:gd name="connsiteX103" fmla="*/ 3906561 w 10678681"/>
              <a:gd name="connsiteY103" fmla="*/ 1352435 h 1357700"/>
              <a:gd name="connsiteX104" fmla="*/ 3787890 w 10678681"/>
              <a:gd name="connsiteY104" fmla="*/ 1352442 h 1357700"/>
              <a:gd name="connsiteX105" fmla="*/ 3745993 w 10678681"/>
              <a:gd name="connsiteY105" fmla="*/ 1342630 h 1357700"/>
              <a:gd name="connsiteX106" fmla="*/ 3675785 w 10678681"/>
              <a:gd name="connsiteY106" fmla="*/ 1326802 h 1357700"/>
              <a:gd name="connsiteX107" fmla="*/ 3623856 w 10678681"/>
              <a:gd name="connsiteY107" fmla="*/ 1290804 h 1357700"/>
              <a:gd name="connsiteX108" fmla="*/ 3564933 w 10678681"/>
              <a:gd name="connsiteY108" fmla="*/ 1287147 h 1357700"/>
              <a:gd name="connsiteX109" fmla="*/ 3550537 w 10678681"/>
              <a:gd name="connsiteY109" fmla="*/ 1317552 h 1357700"/>
              <a:gd name="connsiteX110" fmla="*/ 3487736 w 10678681"/>
              <a:gd name="connsiteY110" fmla="*/ 1303493 h 1357700"/>
              <a:gd name="connsiteX111" fmla="*/ 3392548 w 10678681"/>
              <a:gd name="connsiteY111" fmla="*/ 1278741 h 1357700"/>
              <a:gd name="connsiteX112" fmla="*/ 3337466 w 10678681"/>
              <a:gd name="connsiteY112" fmla="*/ 1272537 h 1357700"/>
              <a:gd name="connsiteX113" fmla="*/ 3187206 w 10678681"/>
              <a:gd name="connsiteY113" fmla="*/ 1246821 h 1357700"/>
              <a:gd name="connsiteX114" fmla="*/ 3036856 w 10678681"/>
              <a:gd name="connsiteY114" fmla="*/ 1214383 h 1357700"/>
              <a:gd name="connsiteX115" fmla="*/ 2948654 w 10678681"/>
              <a:gd name="connsiteY115" fmla="*/ 1157455 h 1357700"/>
              <a:gd name="connsiteX116" fmla="*/ 2824973 w 10678681"/>
              <a:gd name="connsiteY116" fmla="*/ 1134864 h 1357700"/>
              <a:gd name="connsiteX117" fmla="*/ 2804398 w 10678681"/>
              <a:gd name="connsiteY117" fmla="*/ 1125556 h 1357700"/>
              <a:gd name="connsiteX118" fmla="*/ 2775396 w 10678681"/>
              <a:gd name="connsiteY118" fmla="*/ 1130148 h 1357700"/>
              <a:gd name="connsiteX119" fmla="*/ 2659096 w 10678681"/>
              <a:gd name="connsiteY119" fmla="*/ 1150294 h 1357700"/>
              <a:gd name="connsiteX120" fmla="*/ 2567088 w 10678681"/>
              <a:gd name="connsiteY120" fmla="*/ 1181781 h 1357700"/>
              <a:gd name="connsiteX121" fmla="*/ 2454501 w 10678681"/>
              <a:gd name="connsiteY121" fmla="*/ 1155455 h 1357700"/>
              <a:gd name="connsiteX122" fmla="*/ 2385161 w 10678681"/>
              <a:gd name="connsiteY122" fmla="*/ 1161312 h 1357700"/>
              <a:gd name="connsiteX123" fmla="*/ 2270528 w 10678681"/>
              <a:gd name="connsiteY123" fmla="*/ 1204338 h 1357700"/>
              <a:gd name="connsiteX124" fmla="*/ 2121820 w 10678681"/>
              <a:gd name="connsiteY124" fmla="*/ 1187078 h 1357700"/>
              <a:gd name="connsiteX125" fmla="*/ 2092716 w 10678681"/>
              <a:gd name="connsiteY125" fmla="*/ 1139224 h 1357700"/>
              <a:gd name="connsiteX126" fmla="*/ 2052449 w 10678681"/>
              <a:gd name="connsiteY126" fmla="*/ 1109687 h 1357700"/>
              <a:gd name="connsiteX127" fmla="*/ 2032607 w 10678681"/>
              <a:gd name="connsiteY127" fmla="*/ 1175477 h 1357700"/>
              <a:gd name="connsiteX128" fmla="*/ 1901837 w 10678681"/>
              <a:gd name="connsiteY128" fmla="*/ 1221762 h 1357700"/>
              <a:gd name="connsiteX129" fmla="*/ 1836762 w 10678681"/>
              <a:gd name="connsiteY129" fmla="*/ 1237387 h 1357700"/>
              <a:gd name="connsiteX130" fmla="*/ 1735877 w 10678681"/>
              <a:gd name="connsiteY130" fmla="*/ 1246527 h 1357700"/>
              <a:gd name="connsiteX131" fmla="*/ 1705069 w 10678681"/>
              <a:gd name="connsiteY131" fmla="*/ 1251989 h 1357700"/>
              <a:gd name="connsiteX132" fmla="*/ 1397689 w 10678681"/>
              <a:gd name="connsiteY132" fmla="*/ 1336144 h 1357700"/>
              <a:gd name="connsiteX133" fmla="*/ 1220734 w 10678681"/>
              <a:gd name="connsiteY133" fmla="*/ 1257811 h 1357700"/>
              <a:gd name="connsiteX134" fmla="*/ 1021737 w 10678681"/>
              <a:gd name="connsiteY134" fmla="*/ 1238739 h 1357700"/>
              <a:gd name="connsiteX135" fmla="*/ 959820 w 10678681"/>
              <a:gd name="connsiteY135" fmla="*/ 1275863 h 1357700"/>
              <a:gd name="connsiteX136" fmla="*/ 929137 w 10678681"/>
              <a:gd name="connsiteY136" fmla="*/ 1273957 h 1357700"/>
              <a:gd name="connsiteX137" fmla="*/ 878849 w 10678681"/>
              <a:gd name="connsiteY137" fmla="*/ 1266740 h 1357700"/>
              <a:gd name="connsiteX138" fmla="*/ 800667 w 10678681"/>
              <a:gd name="connsiteY138" fmla="*/ 1282041 h 1357700"/>
              <a:gd name="connsiteX139" fmla="*/ 644906 w 10678681"/>
              <a:gd name="connsiteY139" fmla="*/ 1273685 h 1357700"/>
              <a:gd name="connsiteX140" fmla="*/ 379869 w 10678681"/>
              <a:gd name="connsiteY140" fmla="*/ 1339165 h 1357700"/>
              <a:gd name="connsiteX141" fmla="*/ 137696 w 10678681"/>
              <a:gd name="connsiteY141" fmla="*/ 1319217 h 1357700"/>
              <a:gd name="connsiteX142" fmla="*/ 54250 w 10678681"/>
              <a:gd name="connsiteY142" fmla="*/ 1315838 h 1357700"/>
              <a:gd name="connsiteX143" fmla="*/ 28042 w 10678681"/>
              <a:gd name="connsiteY143" fmla="*/ 1297822 h 1357700"/>
              <a:gd name="connsiteX144" fmla="*/ 0 w 10678681"/>
              <a:gd name="connsiteY144" fmla="*/ 1294612 h 1357700"/>
              <a:gd name="connsiteX145" fmla="*/ 0 w 10678681"/>
              <a:gd name="connsiteY145"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30518 w 10678681"/>
              <a:gd name="connsiteY38" fmla="*/ 739526 h 1357700"/>
              <a:gd name="connsiteX39" fmla="*/ 7652907 w 10678681"/>
              <a:gd name="connsiteY39" fmla="*/ 783273 h 1357700"/>
              <a:gd name="connsiteX40" fmla="*/ 7606008 w 10678681"/>
              <a:gd name="connsiteY40" fmla="*/ 800717 h 1357700"/>
              <a:gd name="connsiteX41" fmla="*/ 7480223 w 10678681"/>
              <a:gd name="connsiteY41" fmla="*/ 856821 h 1357700"/>
              <a:gd name="connsiteX42" fmla="*/ 7356005 w 10678681"/>
              <a:gd name="connsiteY42" fmla="*/ 919462 h 1357700"/>
              <a:gd name="connsiteX43" fmla="*/ 7305396 w 10678681"/>
              <a:gd name="connsiteY43" fmla="*/ 986228 h 1357700"/>
              <a:gd name="connsiteX44" fmla="*/ 7266251 w 10678681"/>
              <a:gd name="connsiteY44" fmla="*/ 967864 h 1357700"/>
              <a:gd name="connsiteX45" fmla="*/ 7269396 w 10678681"/>
              <a:gd name="connsiteY45" fmla="*/ 989282 h 1357700"/>
              <a:gd name="connsiteX46" fmla="*/ 7258094 w 10678681"/>
              <a:gd name="connsiteY46" fmla="*/ 990679 h 1357700"/>
              <a:gd name="connsiteX47" fmla="*/ 7257893 w 10678681"/>
              <a:gd name="connsiteY47" fmla="*/ 991204 h 1357700"/>
              <a:gd name="connsiteX48" fmla="*/ 7247153 w 10678681"/>
              <a:gd name="connsiteY48" fmla="*/ 991550 h 1357700"/>
              <a:gd name="connsiteX49" fmla="*/ 7193612 w 10678681"/>
              <a:gd name="connsiteY49" fmla="*/ 987042 h 1357700"/>
              <a:gd name="connsiteX50" fmla="*/ 7132632 w 10678681"/>
              <a:gd name="connsiteY50" fmla="*/ 1042036 h 1357700"/>
              <a:gd name="connsiteX51" fmla="*/ 7105610 w 10678681"/>
              <a:gd name="connsiteY51" fmla="*/ 1053537 h 1357700"/>
              <a:gd name="connsiteX52" fmla="*/ 7069148 w 10678681"/>
              <a:gd name="connsiteY52" fmla="*/ 1047163 h 1357700"/>
              <a:gd name="connsiteX53" fmla="*/ 7039634 w 10678681"/>
              <a:gd name="connsiteY53" fmla="*/ 1059971 h 1357700"/>
              <a:gd name="connsiteX54" fmla="*/ 7033445 w 10678681"/>
              <a:gd name="connsiteY54" fmla="*/ 1063314 h 1357700"/>
              <a:gd name="connsiteX55" fmla="*/ 6999157 w 10678681"/>
              <a:gd name="connsiteY55" fmla="*/ 1055282 h 1357700"/>
              <a:gd name="connsiteX56" fmla="*/ 6981874 w 10678681"/>
              <a:gd name="connsiteY56" fmla="*/ 1053827 h 1357700"/>
              <a:gd name="connsiteX57" fmla="*/ 6976102 w 10678681"/>
              <a:gd name="connsiteY57" fmla="*/ 1047854 h 1357700"/>
              <a:gd name="connsiteX58" fmla="*/ 6951040 w 10678681"/>
              <a:gd name="connsiteY58" fmla="*/ 1048531 h 1357700"/>
              <a:gd name="connsiteX59" fmla="*/ 6948497 w 10678681"/>
              <a:gd name="connsiteY59" fmla="*/ 1050706 h 1357700"/>
              <a:gd name="connsiteX60" fmla="*/ 6926582 w 10678681"/>
              <a:gd name="connsiteY60" fmla="*/ 1043462 h 1357700"/>
              <a:gd name="connsiteX61" fmla="*/ 6833743 w 10678681"/>
              <a:gd name="connsiteY61" fmla="*/ 1027960 h 1357700"/>
              <a:gd name="connsiteX62" fmla="*/ 6687090 w 10678681"/>
              <a:gd name="connsiteY62" fmla="*/ 1063250 h 1357700"/>
              <a:gd name="connsiteX63" fmla="*/ 6437450 w 10678681"/>
              <a:gd name="connsiteY63" fmla="*/ 1101075 h 1357700"/>
              <a:gd name="connsiteX64" fmla="*/ 6327795 w 10678681"/>
              <a:gd name="connsiteY64" fmla="*/ 1088142 h 1357700"/>
              <a:gd name="connsiteX65" fmla="*/ 6136549 w 10678681"/>
              <a:gd name="connsiteY65" fmla="*/ 1100268 h 1357700"/>
              <a:gd name="connsiteX66" fmla="*/ 6004655 w 10678681"/>
              <a:gd name="connsiteY66" fmla="*/ 1114946 h 1357700"/>
              <a:gd name="connsiteX67" fmla="*/ 5936643 w 10678681"/>
              <a:gd name="connsiteY67" fmla="*/ 1095428 h 1357700"/>
              <a:gd name="connsiteX68" fmla="*/ 5912484 w 10678681"/>
              <a:gd name="connsiteY68" fmla="*/ 1112624 h 1357700"/>
              <a:gd name="connsiteX69" fmla="*/ 5908387 w 10678681"/>
              <a:gd name="connsiteY69" fmla="*/ 1116018 h 1357700"/>
              <a:gd name="connsiteX70" fmla="*/ 5890495 w 10678681"/>
              <a:gd name="connsiteY70" fmla="*/ 1120268 h 1357700"/>
              <a:gd name="connsiteX71" fmla="*/ 5887318 w 10678681"/>
              <a:gd name="connsiteY71" fmla="*/ 1133134 h 1357700"/>
              <a:gd name="connsiteX72" fmla="*/ 5861726 w 10678681"/>
              <a:gd name="connsiteY72" fmla="*/ 1147891 h 1357700"/>
              <a:gd name="connsiteX73" fmla="*/ 5805823 w 10678681"/>
              <a:gd name="connsiteY73" fmla="*/ 1152457 h 1357700"/>
              <a:gd name="connsiteX74" fmla="*/ 5689841 w 10678681"/>
              <a:gd name="connsiteY74" fmla="*/ 1176232 h 1357700"/>
              <a:gd name="connsiteX75" fmla="*/ 5605119 w 10678681"/>
              <a:gd name="connsiteY75" fmla="*/ 1190202 h 1357700"/>
              <a:gd name="connsiteX76" fmla="*/ 5488513 w 10678681"/>
              <a:gd name="connsiteY76" fmla="*/ 1205367 h 1357700"/>
              <a:gd name="connsiteX77" fmla="*/ 5402905 w 10678681"/>
              <a:gd name="connsiteY77" fmla="*/ 1241191 h 1357700"/>
              <a:gd name="connsiteX78" fmla="*/ 5285593 w 10678681"/>
              <a:gd name="connsiteY78" fmla="*/ 1273569 h 1357700"/>
              <a:gd name="connsiteX79" fmla="*/ 5192893 w 10678681"/>
              <a:gd name="connsiteY79" fmla="*/ 1247188 h 1357700"/>
              <a:gd name="connsiteX80" fmla="*/ 5186475 w 10678681"/>
              <a:gd name="connsiteY80" fmla="*/ 1257028 h 1357700"/>
              <a:gd name="connsiteX81" fmla="*/ 5126038 w 10678681"/>
              <a:gd name="connsiteY81" fmla="*/ 1263189 h 1357700"/>
              <a:gd name="connsiteX82" fmla="*/ 4894688 w 10678681"/>
              <a:gd name="connsiteY82" fmla="*/ 1247184 h 1357700"/>
              <a:gd name="connsiteX83" fmla="*/ 4788036 w 10678681"/>
              <a:gd name="connsiteY83" fmla="*/ 1238182 h 1357700"/>
              <a:gd name="connsiteX84" fmla="*/ 4747555 w 10678681"/>
              <a:gd name="connsiteY84" fmla="*/ 1252768 h 1357700"/>
              <a:gd name="connsiteX85" fmla="*/ 4679644 w 10678681"/>
              <a:gd name="connsiteY85" fmla="*/ 1276603 h 1357700"/>
              <a:gd name="connsiteX86" fmla="*/ 4632222 w 10678681"/>
              <a:gd name="connsiteY86" fmla="*/ 1318360 h 1357700"/>
              <a:gd name="connsiteX87" fmla="*/ 4617358 w 10678681"/>
              <a:gd name="connsiteY87" fmla="*/ 1327690 h 1357700"/>
              <a:gd name="connsiteX88" fmla="*/ 4589102 w 10678681"/>
              <a:gd name="connsiteY88" fmla="*/ 1321223 h 1357700"/>
              <a:gd name="connsiteX89" fmla="*/ 4578184 w 10678681"/>
              <a:gd name="connsiteY89" fmla="*/ 1326745 h 1357700"/>
              <a:gd name="connsiteX90" fmla="*/ 4574270 w 10678681"/>
              <a:gd name="connsiteY90" fmla="*/ 1325878 h 1357700"/>
              <a:gd name="connsiteX91" fmla="*/ 4564919 w 10678681"/>
              <a:gd name="connsiteY91" fmla="*/ 1325507 h 1357700"/>
              <a:gd name="connsiteX92" fmla="*/ 4566586 w 10678681"/>
              <a:gd name="connsiteY92" fmla="*/ 1316963 h 1357700"/>
              <a:gd name="connsiteX93" fmla="*/ 4556303 w 10678681"/>
              <a:gd name="connsiteY93" fmla="*/ 1300262 h 1357700"/>
              <a:gd name="connsiteX94" fmla="*/ 4502358 w 10678681"/>
              <a:gd name="connsiteY94" fmla="*/ 1302558 h 1357700"/>
              <a:gd name="connsiteX95" fmla="*/ 4498919 w 10678681"/>
              <a:gd name="connsiteY95" fmla="*/ 1312115 h 1357700"/>
              <a:gd name="connsiteX96" fmla="*/ 4492075 w 10678681"/>
              <a:gd name="connsiteY96" fmla="*/ 1313357 h 1357700"/>
              <a:gd name="connsiteX97" fmla="*/ 4487466 w 10678681"/>
              <a:gd name="connsiteY97" fmla="*/ 1304102 h 1357700"/>
              <a:gd name="connsiteX98" fmla="*/ 4398292 w 10678681"/>
              <a:gd name="connsiteY98" fmla="*/ 1278410 h 1357700"/>
              <a:gd name="connsiteX99" fmla="*/ 4306088 w 10678681"/>
              <a:gd name="connsiteY99" fmla="*/ 1282512 h 1357700"/>
              <a:gd name="connsiteX100" fmla="*/ 4188995 w 10678681"/>
              <a:gd name="connsiteY100" fmla="*/ 1296718 h 1357700"/>
              <a:gd name="connsiteX101" fmla="*/ 4136582 w 10678681"/>
              <a:gd name="connsiteY101" fmla="*/ 1287687 h 1357700"/>
              <a:gd name="connsiteX102" fmla="*/ 4064614 w 10678681"/>
              <a:gd name="connsiteY102" fmla="*/ 1296118 h 1357700"/>
              <a:gd name="connsiteX103" fmla="*/ 3906561 w 10678681"/>
              <a:gd name="connsiteY103" fmla="*/ 1352435 h 1357700"/>
              <a:gd name="connsiteX104" fmla="*/ 3787890 w 10678681"/>
              <a:gd name="connsiteY104" fmla="*/ 1352442 h 1357700"/>
              <a:gd name="connsiteX105" fmla="*/ 3745993 w 10678681"/>
              <a:gd name="connsiteY105" fmla="*/ 1342630 h 1357700"/>
              <a:gd name="connsiteX106" fmla="*/ 3675785 w 10678681"/>
              <a:gd name="connsiteY106" fmla="*/ 1326802 h 1357700"/>
              <a:gd name="connsiteX107" fmla="*/ 3623856 w 10678681"/>
              <a:gd name="connsiteY107" fmla="*/ 1290804 h 1357700"/>
              <a:gd name="connsiteX108" fmla="*/ 3564933 w 10678681"/>
              <a:gd name="connsiteY108" fmla="*/ 1287147 h 1357700"/>
              <a:gd name="connsiteX109" fmla="*/ 3550537 w 10678681"/>
              <a:gd name="connsiteY109" fmla="*/ 1317552 h 1357700"/>
              <a:gd name="connsiteX110" fmla="*/ 3487736 w 10678681"/>
              <a:gd name="connsiteY110" fmla="*/ 1303493 h 1357700"/>
              <a:gd name="connsiteX111" fmla="*/ 3392548 w 10678681"/>
              <a:gd name="connsiteY111" fmla="*/ 1278741 h 1357700"/>
              <a:gd name="connsiteX112" fmla="*/ 3337466 w 10678681"/>
              <a:gd name="connsiteY112" fmla="*/ 1272537 h 1357700"/>
              <a:gd name="connsiteX113" fmla="*/ 3187206 w 10678681"/>
              <a:gd name="connsiteY113" fmla="*/ 1246821 h 1357700"/>
              <a:gd name="connsiteX114" fmla="*/ 3036856 w 10678681"/>
              <a:gd name="connsiteY114" fmla="*/ 1214383 h 1357700"/>
              <a:gd name="connsiteX115" fmla="*/ 2824973 w 10678681"/>
              <a:gd name="connsiteY115" fmla="*/ 1134864 h 1357700"/>
              <a:gd name="connsiteX116" fmla="*/ 2804398 w 10678681"/>
              <a:gd name="connsiteY116" fmla="*/ 1125556 h 1357700"/>
              <a:gd name="connsiteX117" fmla="*/ 2775396 w 10678681"/>
              <a:gd name="connsiteY117" fmla="*/ 1130148 h 1357700"/>
              <a:gd name="connsiteX118" fmla="*/ 2659096 w 10678681"/>
              <a:gd name="connsiteY118" fmla="*/ 1150294 h 1357700"/>
              <a:gd name="connsiteX119" fmla="*/ 2567088 w 10678681"/>
              <a:gd name="connsiteY119" fmla="*/ 1181781 h 1357700"/>
              <a:gd name="connsiteX120" fmla="*/ 2454501 w 10678681"/>
              <a:gd name="connsiteY120" fmla="*/ 1155455 h 1357700"/>
              <a:gd name="connsiteX121" fmla="*/ 2385161 w 10678681"/>
              <a:gd name="connsiteY121" fmla="*/ 1161312 h 1357700"/>
              <a:gd name="connsiteX122" fmla="*/ 2270528 w 10678681"/>
              <a:gd name="connsiteY122" fmla="*/ 1204338 h 1357700"/>
              <a:gd name="connsiteX123" fmla="*/ 2121820 w 10678681"/>
              <a:gd name="connsiteY123" fmla="*/ 1187078 h 1357700"/>
              <a:gd name="connsiteX124" fmla="*/ 2092716 w 10678681"/>
              <a:gd name="connsiteY124" fmla="*/ 1139224 h 1357700"/>
              <a:gd name="connsiteX125" fmla="*/ 2052449 w 10678681"/>
              <a:gd name="connsiteY125" fmla="*/ 1109687 h 1357700"/>
              <a:gd name="connsiteX126" fmla="*/ 2032607 w 10678681"/>
              <a:gd name="connsiteY126" fmla="*/ 1175477 h 1357700"/>
              <a:gd name="connsiteX127" fmla="*/ 1901837 w 10678681"/>
              <a:gd name="connsiteY127" fmla="*/ 1221762 h 1357700"/>
              <a:gd name="connsiteX128" fmla="*/ 1836762 w 10678681"/>
              <a:gd name="connsiteY128" fmla="*/ 1237387 h 1357700"/>
              <a:gd name="connsiteX129" fmla="*/ 1735877 w 10678681"/>
              <a:gd name="connsiteY129" fmla="*/ 1246527 h 1357700"/>
              <a:gd name="connsiteX130" fmla="*/ 1705069 w 10678681"/>
              <a:gd name="connsiteY130" fmla="*/ 1251989 h 1357700"/>
              <a:gd name="connsiteX131" fmla="*/ 1397689 w 10678681"/>
              <a:gd name="connsiteY131" fmla="*/ 1336144 h 1357700"/>
              <a:gd name="connsiteX132" fmla="*/ 1220734 w 10678681"/>
              <a:gd name="connsiteY132" fmla="*/ 1257811 h 1357700"/>
              <a:gd name="connsiteX133" fmla="*/ 1021737 w 10678681"/>
              <a:gd name="connsiteY133" fmla="*/ 1238739 h 1357700"/>
              <a:gd name="connsiteX134" fmla="*/ 959820 w 10678681"/>
              <a:gd name="connsiteY134" fmla="*/ 1275863 h 1357700"/>
              <a:gd name="connsiteX135" fmla="*/ 929137 w 10678681"/>
              <a:gd name="connsiteY135" fmla="*/ 1273957 h 1357700"/>
              <a:gd name="connsiteX136" fmla="*/ 878849 w 10678681"/>
              <a:gd name="connsiteY136" fmla="*/ 1266740 h 1357700"/>
              <a:gd name="connsiteX137" fmla="*/ 800667 w 10678681"/>
              <a:gd name="connsiteY137" fmla="*/ 1282041 h 1357700"/>
              <a:gd name="connsiteX138" fmla="*/ 644906 w 10678681"/>
              <a:gd name="connsiteY138" fmla="*/ 1273685 h 1357700"/>
              <a:gd name="connsiteX139" fmla="*/ 379869 w 10678681"/>
              <a:gd name="connsiteY139" fmla="*/ 1339165 h 1357700"/>
              <a:gd name="connsiteX140" fmla="*/ 137696 w 10678681"/>
              <a:gd name="connsiteY140" fmla="*/ 1319217 h 1357700"/>
              <a:gd name="connsiteX141" fmla="*/ 54250 w 10678681"/>
              <a:gd name="connsiteY141" fmla="*/ 1315838 h 1357700"/>
              <a:gd name="connsiteX142" fmla="*/ 28042 w 10678681"/>
              <a:gd name="connsiteY142" fmla="*/ 1297822 h 1357700"/>
              <a:gd name="connsiteX143" fmla="*/ 0 w 10678681"/>
              <a:gd name="connsiteY143" fmla="*/ 1294612 h 1357700"/>
              <a:gd name="connsiteX144" fmla="*/ 0 w 10678681"/>
              <a:gd name="connsiteY144"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30518 w 10678681"/>
              <a:gd name="connsiteY38" fmla="*/ 739526 h 1357700"/>
              <a:gd name="connsiteX39" fmla="*/ 7652907 w 10678681"/>
              <a:gd name="connsiteY39" fmla="*/ 783273 h 1357700"/>
              <a:gd name="connsiteX40" fmla="*/ 7606008 w 10678681"/>
              <a:gd name="connsiteY40" fmla="*/ 800717 h 1357700"/>
              <a:gd name="connsiteX41" fmla="*/ 7480223 w 10678681"/>
              <a:gd name="connsiteY41" fmla="*/ 856821 h 1357700"/>
              <a:gd name="connsiteX42" fmla="*/ 7356005 w 10678681"/>
              <a:gd name="connsiteY42" fmla="*/ 919462 h 1357700"/>
              <a:gd name="connsiteX43" fmla="*/ 7305396 w 10678681"/>
              <a:gd name="connsiteY43" fmla="*/ 986228 h 1357700"/>
              <a:gd name="connsiteX44" fmla="*/ 7266251 w 10678681"/>
              <a:gd name="connsiteY44" fmla="*/ 967864 h 1357700"/>
              <a:gd name="connsiteX45" fmla="*/ 7269396 w 10678681"/>
              <a:gd name="connsiteY45" fmla="*/ 989282 h 1357700"/>
              <a:gd name="connsiteX46" fmla="*/ 7258094 w 10678681"/>
              <a:gd name="connsiteY46" fmla="*/ 990679 h 1357700"/>
              <a:gd name="connsiteX47" fmla="*/ 7257893 w 10678681"/>
              <a:gd name="connsiteY47" fmla="*/ 991204 h 1357700"/>
              <a:gd name="connsiteX48" fmla="*/ 7247153 w 10678681"/>
              <a:gd name="connsiteY48" fmla="*/ 991550 h 1357700"/>
              <a:gd name="connsiteX49" fmla="*/ 7193612 w 10678681"/>
              <a:gd name="connsiteY49" fmla="*/ 987042 h 1357700"/>
              <a:gd name="connsiteX50" fmla="*/ 7132632 w 10678681"/>
              <a:gd name="connsiteY50" fmla="*/ 1042036 h 1357700"/>
              <a:gd name="connsiteX51" fmla="*/ 7105610 w 10678681"/>
              <a:gd name="connsiteY51" fmla="*/ 1053537 h 1357700"/>
              <a:gd name="connsiteX52" fmla="*/ 7069148 w 10678681"/>
              <a:gd name="connsiteY52" fmla="*/ 1047163 h 1357700"/>
              <a:gd name="connsiteX53" fmla="*/ 7039634 w 10678681"/>
              <a:gd name="connsiteY53" fmla="*/ 1059971 h 1357700"/>
              <a:gd name="connsiteX54" fmla="*/ 7033445 w 10678681"/>
              <a:gd name="connsiteY54" fmla="*/ 1063314 h 1357700"/>
              <a:gd name="connsiteX55" fmla="*/ 6999157 w 10678681"/>
              <a:gd name="connsiteY55" fmla="*/ 1055282 h 1357700"/>
              <a:gd name="connsiteX56" fmla="*/ 6981874 w 10678681"/>
              <a:gd name="connsiteY56" fmla="*/ 1053827 h 1357700"/>
              <a:gd name="connsiteX57" fmla="*/ 6976102 w 10678681"/>
              <a:gd name="connsiteY57" fmla="*/ 1047854 h 1357700"/>
              <a:gd name="connsiteX58" fmla="*/ 6951040 w 10678681"/>
              <a:gd name="connsiteY58" fmla="*/ 1048531 h 1357700"/>
              <a:gd name="connsiteX59" fmla="*/ 6948497 w 10678681"/>
              <a:gd name="connsiteY59" fmla="*/ 1050706 h 1357700"/>
              <a:gd name="connsiteX60" fmla="*/ 6926582 w 10678681"/>
              <a:gd name="connsiteY60" fmla="*/ 1043462 h 1357700"/>
              <a:gd name="connsiteX61" fmla="*/ 6833743 w 10678681"/>
              <a:gd name="connsiteY61" fmla="*/ 1027960 h 1357700"/>
              <a:gd name="connsiteX62" fmla="*/ 6687090 w 10678681"/>
              <a:gd name="connsiteY62" fmla="*/ 1063250 h 1357700"/>
              <a:gd name="connsiteX63" fmla="*/ 6437450 w 10678681"/>
              <a:gd name="connsiteY63" fmla="*/ 1101075 h 1357700"/>
              <a:gd name="connsiteX64" fmla="*/ 6327795 w 10678681"/>
              <a:gd name="connsiteY64" fmla="*/ 1088142 h 1357700"/>
              <a:gd name="connsiteX65" fmla="*/ 6136549 w 10678681"/>
              <a:gd name="connsiteY65" fmla="*/ 1100268 h 1357700"/>
              <a:gd name="connsiteX66" fmla="*/ 6004655 w 10678681"/>
              <a:gd name="connsiteY66" fmla="*/ 1114946 h 1357700"/>
              <a:gd name="connsiteX67" fmla="*/ 5936643 w 10678681"/>
              <a:gd name="connsiteY67" fmla="*/ 1095428 h 1357700"/>
              <a:gd name="connsiteX68" fmla="*/ 5912484 w 10678681"/>
              <a:gd name="connsiteY68" fmla="*/ 1112624 h 1357700"/>
              <a:gd name="connsiteX69" fmla="*/ 5908387 w 10678681"/>
              <a:gd name="connsiteY69" fmla="*/ 1116018 h 1357700"/>
              <a:gd name="connsiteX70" fmla="*/ 5890495 w 10678681"/>
              <a:gd name="connsiteY70" fmla="*/ 1120268 h 1357700"/>
              <a:gd name="connsiteX71" fmla="*/ 5887318 w 10678681"/>
              <a:gd name="connsiteY71" fmla="*/ 1133134 h 1357700"/>
              <a:gd name="connsiteX72" fmla="*/ 5861726 w 10678681"/>
              <a:gd name="connsiteY72" fmla="*/ 1147891 h 1357700"/>
              <a:gd name="connsiteX73" fmla="*/ 5805823 w 10678681"/>
              <a:gd name="connsiteY73" fmla="*/ 1152457 h 1357700"/>
              <a:gd name="connsiteX74" fmla="*/ 5689841 w 10678681"/>
              <a:gd name="connsiteY74" fmla="*/ 1176232 h 1357700"/>
              <a:gd name="connsiteX75" fmla="*/ 5605119 w 10678681"/>
              <a:gd name="connsiteY75" fmla="*/ 1190202 h 1357700"/>
              <a:gd name="connsiteX76" fmla="*/ 5488513 w 10678681"/>
              <a:gd name="connsiteY76" fmla="*/ 1205367 h 1357700"/>
              <a:gd name="connsiteX77" fmla="*/ 5402905 w 10678681"/>
              <a:gd name="connsiteY77" fmla="*/ 1241191 h 1357700"/>
              <a:gd name="connsiteX78" fmla="*/ 5285593 w 10678681"/>
              <a:gd name="connsiteY78" fmla="*/ 1273569 h 1357700"/>
              <a:gd name="connsiteX79" fmla="*/ 5192893 w 10678681"/>
              <a:gd name="connsiteY79" fmla="*/ 1247188 h 1357700"/>
              <a:gd name="connsiteX80" fmla="*/ 5186475 w 10678681"/>
              <a:gd name="connsiteY80" fmla="*/ 1257028 h 1357700"/>
              <a:gd name="connsiteX81" fmla="*/ 5126038 w 10678681"/>
              <a:gd name="connsiteY81" fmla="*/ 1263189 h 1357700"/>
              <a:gd name="connsiteX82" fmla="*/ 4894688 w 10678681"/>
              <a:gd name="connsiteY82" fmla="*/ 1247184 h 1357700"/>
              <a:gd name="connsiteX83" fmla="*/ 4788036 w 10678681"/>
              <a:gd name="connsiteY83" fmla="*/ 1238182 h 1357700"/>
              <a:gd name="connsiteX84" fmla="*/ 4747555 w 10678681"/>
              <a:gd name="connsiteY84" fmla="*/ 1252768 h 1357700"/>
              <a:gd name="connsiteX85" fmla="*/ 4679644 w 10678681"/>
              <a:gd name="connsiteY85" fmla="*/ 1276603 h 1357700"/>
              <a:gd name="connsiteX86" fmla="*/ 4632222 w 10678681"/>
              <a:gd name="connsiteY86" fmla="*/ 1318360 h 1357700"/>
              <a:gd name="connsiteX87" fmla="*/ 4617358 w 10678681"/>
              <a:gd name="connsiteY87" fmla="*/ 1327690 h 1357700"/>
              <a:gd name="connsiteX88" fmla="*/ 4589102 w 10678681"/>
              <a:gd name="connsiteY88" fmla="*/ 1321223 h 1357700"/>
              <a:gd name="connsiteX89" fmla="*/ 4578184 w 10678681"/>
              <a:gd name="connsiteY89" fmla="*/ 1326745 h 1357700"/>
              <a:gd name="connsiteX90" fmla="*/ 4574270 w 10678681"/>
              <a:gd name="connsiteY90" fmla="*/ 1325878 h 1357700"/>
              <a:gd name="connsiteX91" fmla="*/ 4564919 w 10678681"/>
              <a:gd name="connsiteY91" fmla="*/ 1325507 h 1357700"/>
              <a:gd name="connsiteX92" fmla="*/ 4566586 w 10678681"/>
              <a:gd name="connsiteY92" fmla="*/ 1316963 h 1357700"/>
              <a:gd name="connsiteX93" fmla="*/ 4556303 w 10678681"/>
              <a:gd name="connsiteY93" fmla="*/ 1300262 h 1357700"/>
              <a:gd name="connsiteX94" fmla="*/ 4502358 w 10678681"/>
              <a:gd name="connsiteY94" fmla="*/ 1302558 h 1357700"/>
              <a:gd name="connsiteX95" fmla="*/ 4498919 w 10678681"/>
              <a:gd name="connsiteY95" fmla="*/ 1312115 h 1357700"/>
              <a:gd name="connsiteX96" fmla="*/ 4492075 w 10678681"/>
              <a:gd name="connsiteY96" fmla="*/ 1313357 h 1357700"/>
              <a:gd name="connsiteX97" fmla="*/ 4487466 w 10678681"/>
              <a:gd name="connsiteY97" fmla="*/ 1304102 h 1357700"/>
              <a:gd name="connsiteX98" fmla="*/ 4398292 w 10678681"/>
              <a:gd name="connsiteY98" fmla="*/ 1278410 h 1357700"/>
              <a:gd name="connsiteX99" fmla="*/ 4306088 w 10678681"/>
              <a:gd name="connsiteY99" fmla="*/ 1282512 h 1357700"/>
              <a:gd name="connsiteX100" fmla="*/ 4188995 w 10678681"/>
              <a:gd name="connsiteY100" fmla="*/ 1296718 h 1357700"/>
              <a:gd name="connsiteX101" fmla="*/ 4136582 w 10678681"/>
              <a:gd name="connsiteY101" fmla="*/ 1287687 h 1357700"/>
              <a:gd name="connsiteX102" fmla="*/ 4064614 w 10678681"/>
              <a:gd name="connsiteY102" fmla="*/ 1296118 h 1357700"/>
              <a:gd name="connsiteX103" fmla="*/ 3906561 w 10678681"/>
              <a:gd name="connsiteY103" fmla="*/ 1352435 h 1357700"/>
              <a:gd name="connsiteX104" fmla="*/ 3787890 w 10678681"/>
              <a:gd name="connsiteY104" fmla="*/ 1352442 h 1357700"/>
              <a:gd name="connsiteX105" fmla="*/ 3745993 w 10678681"/>
              <a:gd name="connsiteY105" fmla="*/ 1342630 h 1357700"/>
              <a:gd name="connsiteX106" fmla="*/ 3675785 w 10678681"/>
              <a:gd name="connsiteY106" fmla="*/ 1326802 h 1357700"/>
              <a:gd name="connsiteX107" fmla="*/ 3623856 w 10678681"/>
              <a:gd name="connsiteY107" fmla="*/ 1290804 h 1357700"/>
              <a:gd name="connsiteX108" fmla="*/ 3564933 w 10678681"/>
              <a:gd name="connsiteY108" fmla="*/ 1287147 h 1357700"/>
              <a:gd name="connsiteX109" fmla="*/ 3550537 w 10678681"/>
              <a:gd name="connsiteY109" fmla="*/ 1317552 h 1357700"/>
              <a:gd name="connsiteX110" fmla="*/ 3487736 w 10678681"/>
              <a:gd name="connsiteY110" fmla="*/ 1303493 h 1357700"/>
              <a:gd name="connsiteX111" fmla="*/ 3392548 w 10678681"/>
              <a:gd name="connsiteY111" fmla="*/ 1278741 h 1357700"/>
              <a:gd name="connsiteX112" fmla="*/ 3337466 w 10678681"/>
              <a:gd name="connsiteY112" fmla="*/ 1272537 h 1357700"/>
              <a:gd name="connsiteX113" fmla="*/ 3187206 w 10678681"/>
              <a:gd name="connsiteY113" fmla="*/ 1246821 h 1357700"/>
              <a:gd name="connsiteX114" fmla="*/ 3036856 w 10678681"/>
              <a:gd name="connsiteY114" fmla="*/ 1214383 h 1357700"/>
              <a:gd name="connsiteX115" fmla="*/ 2824973 w 10678681"/>
              <a:gd name="connsiteY115" fmla="*/ 1134864 h 1357700"/>
              <a:gd name="connsiteX116" fmla="*/ 2804398 w 10678681"/>
              <a:gd name="connsiteY116" fmla="*/ 1125556 h 1357700"/>
              <a:gd name="connsiteX117" fmla="*/ 2775396 w 10678681"/>
              <a:gd name="connsiteY117" fmla="*/ 1130148 h 1357700"/>
              <a:gd name="connsiteX118" fmla="*/ 2659096 w 10678681"/>
              <a:gd name="connsiteY118" fmla="*/ 1150294 h 1357700"/>
              <a:gd name="connsiteX119" fmla="*/ 2567088 w 10678681"/>
              <a:gd name="connsiteY119" fmla="*/ 1181781 h 1357700"/>
              <a:gd name="connsiteX120" fmla="*/ 2454501 w 10678681"/>
              <a:gd name="connsiteY120" fmla="*/ 1155455 h 1357700"/>
              <a:gd name="connsiteX121" fmla="*/ 2385161 w 10678681"/>
              <a:gd name="connsiteY121" fmla="*/ 1161312 h 1357700"/>
              <a:gd name="connsiteX122" fmla="*/ 2121820 w 10678681"/>
              <a:gd name="connsiteY122" fmla="*/ 1187078 h 1357700"/>
              <a:gd name="connsiteX123" fmla="*/ 2092716 w 10678681"/>
              <a:gd name="connsiteY123" fmla="*/ 1139224 h 1357700"/>
              <a:gd name="connsiteX124" fmla="*/ 2052449 w 10678681"/>
              <a:gd name="connsiteY124" fmla="*/ 1109687 h 1357700"/>
              <a:gd name="connsiteX125" fmla="*/ 2032607 w 10678681"/>
              <a:gd name="connsiteY125" fmla="*/ 1175477 h 1357700"/>
              <a:gd name="connsiteX126" fmla="*/ 1901837 w 10678681"/>
              <a:gd name="connsiteY126" fmla="*/ 1221762 h 1357700"/>
              <a:gd name="connsiteX127" fmla="*/ 1836762 w 10678681"/>
              <a:gd name="connsiteY127" fmla="*/ 1237387 h 1357700"/>
              <a:gd name="connsiteX128" fmla="*/ 1735877 w 10678681"/>
              <a:gd name="connsiteY128" fmla="*/ 1246527 h 1357700"/>
              <a:gd name="connsiteX129" fmla="*/ 1705069 w 10678681"/>
              <a:gd name="connsiteY129" fmla="*/ 1251989 h 1357700"/>
              <a:gd name="connsiteX130" fmla="*/ 1397689 w 10678681"/>
              <a:gd name="connsiteY130" fmla="*/ 1336144 h 1357700"/>
              <a:gd name="connsiteX131" fmla="*/ 1220734 w 10678681"/>
              <a:gd name="connsiteY131" fmla="*/ 1257811 h 1357700"/>
              <a:gd name="connsiteX132" fmla="*/ 1021737 w 10678681"/>
              <a:gd name="connsiteY132" fmla="*/ 1238739 h 1357700"/>
              <a:gd name="connsiteX133" fmla="*/ 959820 w 10678681"/>
              <a:gd name="connsiteY133" fmla="*/ 1275863 h 1357700"/>
              <a:gd name="connsiteX134" fmla="*/ 929137 w 10678681"/>
              <a:gd name="connsiteY134" fmla="*/ 1273957 h 1357700"/>
              <a:gd name="connsiteX135" fmla="*/ 878849 w 10678681"/>
              <a:gd name="connsiteY135" fmla="*/ 1266740 h 1357700"/>
              <a:gd name="connsiteX136" fmla="*/ 800667 w 10678681"/>
              <a:gd name="connsiteY136" fmla="*/ 1282041 h 1357700"/>
              <a:gd name="connsiteX137" fmla="*/ 644906 w 10678681"/>
              <a:gd name="connsiteY137" fmla="*/ 1273685 h 1357700"/>
              <a:gd name="connsiteX138" fmla="*/ 379869 w 10678681"/>
              <a:gd name="connsiteY138" fmla="*/ 1339165 h 1357700"/>
              <a:gd name="connsiteX139" fmla="*/ 137696 w 10678681"/>
              <a:gd name="connsiteY139" fmla="*/ 1319217 h 1357700"/>
              <a:gd name="connsiteX140" fmla="*/ 54250 w 10678681"/>
              <a:gd name="connsiteY140" fmla="*/ 1315838 h 1357700"/>
              <a:gd name="connsiteX141" fmla="*/ 28042 w 10678681"/>
              <a:gd name="connsiteY141" fmla="*/ 1297822 h 1357700"/>
              <a:gd name="connsiteX142" fmla="*/ 0 w 10678681"/>
              <a:gd name="connsiteY142" fmla="*/ 1294612 h 1357700"/>
              <a:gd name="connsiteX143" fmla="*/ 0 w 10678681"/>
              <a:gd name="connsiteY143"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30518 w 10678681"/>
              <a:gd name="connsiteY38" fmla="*/ 739526 h 1357700"/>
              <a:gd name="connsiteX39" fmla="*/ 7652907 w 10678681"/>
              <a:gd name="connsiteY39" fmla="*/ 783273 h 1357700"/>
              <a:gd name="connsiteX40" fmla="*/ 7606008 w 10678681"/>
              <a:gd name="connsiteY40" fmla="*/ 800717 h 1357700"/>
              <a:gd name="connsiteX41" fmla="*/ 7480223 w 10678681"/>
              <a:gd name="connsiteY41" fmla="*/ 856821 h 1357700"/>
              <a:gd name="connsiteX42" fmla="*/ 7356005 w 10678681"/>
              <a:gd name="connsiteY42" fmla="*/ 919462 h 1357700"/>
              <a:gd name="connsiteX43" fmla="*/ 7305396 w 10678681"/>
              <a:gd name="connsiteY43" fmla="*/ 986228 h 1357700"/>
              <a:gd name="connsiteX44" fmla="*/ 7266251 w 10678681"/>
              <a:gd name="connsiteY44" fmla="*/ 967864 h 1357700"/>
              <a:gd name="connsiteX45" fmla="*/ 7269396 w 10678681"/>
              <a:gd name="connsiteY45" fmla="*/ 989282 h 1357700"/>
              <a:gd name="connsiteX46" fmla="*/ 7258094 w 10678681"/>
              <a:gd name="connsiteY46" fmla="*/ 990679 h 1357700"/>
              <a:gd name="connsiteX47" fmla="*/ 7257893 w 10678681"/>
              <a:gd name="connsiteY47" fmla="*/ 991204 h 1357700"/>
              <a:gd name="connsiteX48" fmla="*/ 7247153 w 10678681"/>
              <a:gd name="connsiteY48" fmla="*/ 991550 h 1357700"/>
              <a:gd name="connsiteX49" fmla="*/ 7193612 w 10678681"/>
              <a:gd name="connsiteY49" fmla="*/ 987042 h 1357700"/>
              <a:gd name="connsiteX50" fmla="*/ 7132632 w 10678681"/>
              <a:gd name="connsiteY50" fmla="*/ 1042036 h 1357700"/>
              <a:gd name="connsiteX51" fmla="*/ 7105610 w 10678681"/>
              <a:gd name="connsiteY51" fmla="*/ 1053537 h 1357700"/>
              <a:gd name="connsiteX52" fmla="*/ 7069148 w 10678681"/>
              <a:gd name="connsiteY52" fmla="*/ 1047163 h 1357700"/>
              <a:gd name="connsiteX53" fmla="*/ 7039634 w 10678681"/>
              <a:gd name="connsiteY53" fmla="*/ 1059971 h 1357700"/>
              <a:gd name="connsiteX54" fmla="*/ 7033445 w 10678681"/>
              <a:gd name="connsiteY54" fmla="*/ 1063314 h 1357700"/>
              <a:gd name="connsiteX55" fmla="*/ 6999157 w 10678681"/>
              <a:gd name="connsiteY55" fmla="*/ 1055282 h 1357700"/>
              <a:gd name="connsiteX56" fmla="*/ 6981874 w 10678681"/>
              <a:gd name="connsiteY56" fmla="*/ 1053827 h 1357700"/>
              <a:gd name="connsiteX57" fmla="*/ 6976102 w 10678681"/>
              <a:gd name="connsiteY57" fmla="*/ 1047854 h 1357700"/>
              <a:gd name="connsiteX58" fmla="*/ 6951040 w 10678681"/>
              <a:gd name="connsiteY58" fmla="*/ 1048531 h 1357700"/>
              <a:gd name="connsiteX59" fmla="*/ 6948497 w 10678681"/>
              <a:gd name="connsiteY59" fmla="*/ 1050706 h 1357700"/>
              <a:gd name="connsiteX60" fmla="*/ 6926582 w 10678681"/>
              <a:gd name="connsiteY60" fmla="*/ 1043462 h 1357700"/>
              <a:gd name="connsiteX61" fmla="*/ 6833743 w 10678681"/>
              <a:gd name="connsiteY61" fmla="*/ 1027960 h 1357700"/>
              <a:gd name="connsiteX62" fmla="*/ 6687090 w 10678681"/>
              <a:gd name="connsiteY62" fmla="*/ 1063250 h 1357700"/>
              <a:gd name="connsiteX63" fmla="*/ 6437450 w 10678681"/>
              <a:gd name="connsiteY63" fmla="*/ 1101075 h 1357700"/>
              <a:gd name="connsiteX64" fmla="*/ 6327795 w 10678681"/>
              <a:gd name="connsiteY64" fmla="*/ 1088142 h 1357700"/>
              <a:gd name="connsiteX65" fmla="*/ 6136549 w 10678681"/>
              <a:gd name="connsiteY65" fmla="*/ 1100268 h 1357700"/>
              <a:gd name="connsiteX66" fmla="*/ 6004655 w 10678681"/>
              <a:gd name="connsiteY66" fmla="*/ 1114946 h 1357700"/>
              <a:gd name="connsiteX67" fmla="*/ 5936643 w 10678681"/>
              <a:gd name="connsiteY67" fmla="*/ 1095428 h 1357700"/>
              <a:gd name="connsiteX68" fmla="*/ 5912484 w 10678681"/>
              <a:gd name="connsiteY68" fmla="*/ 1112624 h 1357700"/>
              <a:gd name="connsiteX69" fmla="*/ 5908387 w 10678681"/>
              <a:gd name="connsiteY69" fmla="*/ 1116018 h 1357700"/>
              <a:gd name="connsiteX70" fmla="*/ 5890495 w 10678681"/>
              <a:gd name="connsiteY70" fmla="*/ 1120268 h 1357700"/>
              <a:gd name="connsiteX71" fmla="*/ 5887318 w 10678681"/>
              <a:gd name="connsiteY71" fmla="*/ 1133134 h 1357700"/>
              <a:gd name="connsiteX72" fmla="*/ 5861726 w 10678681"/>
              <a:gd name="connsiteY72" fmla="*/ 1147891 h 1357700"/>
              <a:gd name="connsiteX73" fmla="*/ 5805823 w 10678681"/>
              <a:gd name="connsiteY73" fmla="*/ 1152457 h 1357700"/>
              <a:gd name="connsiteX74" fmla="*/ 5689841 w 10678681"/>
              <a:gd name="connsiteY74" fmla="*/ 1176232 h 1357700"/>
              <a:gd name="connsiteX75" fmla="*/ 5605119 w 10678681"/>
              <a:gd name="connsiteY75" fmla="*/ 1190202 h 1357700"/>
              <a:gd name="connsiteX76" fmla="*/ 5488513 w 10678681"/>
              <a:gd name="connsiteY76" fmla="*/ 1205367 h 1357700"/>
              <a:gd name="connsiteX77" fmla="*/ 5402905 w 10678681"/>
              <a:gd name="connsiteY77" fmla="*/ 1241191 h 1357700"/>
              <a:gd name="connsiteX78" fmla="*/ 5285593 w 10678681"/>
              <a:gd name="connsiteY78" fmla="*/ 1273569 h 1357700"/>
              <a:gd name="connsiteX79" fmla="*/ 5192893 w 10678681"/>
              <a:gd name="connsiteY79" fmla="*/ 1247188 h 1357700"/>
              <a:gd name="connsiteX80" fmla="*/ 5186475 w 10678681"/>
              <a:gd name="connsiteY80" fmla="*/ 1257028 h 1357700"/>
              <a:gd name="connsiteX81" fmla="*/ 5126038 w 10678681"/>
              <a:gd name="connsiteY81" fmla="*/ 1263189 h 1357700"/>
              <a:gd name="connsiteX82" fmla="*/ 4894688 w 10678681"/>
              <a:gd name="connsiteY82" fmla="*/ 1247184 h 1357700"/>
              <a:gd name="connsiteX83" fmla="*/ 4788036 w 10678681"/>
              <a:gd name="connsiteY83" fmla="*/ 1238182 h 1357700"/>
              <a:gd name="connsiteX84" fmla="*/ 4747555 w 10678681"/>
              <a:gd name="connsiteY84" fmla="*/ 1252768 h 1357700"/>
              <a:gd name="connsiteX85" fmla="*/ 4679644 w 10678681"/>
              <a:gd name="connsiteY85" fmla="*/ 1276603 h 1357700"/>
              <a:gd name="connsiteX86" fmla="*/ 4632222 w 10678681"/>
              <a:gd name="connsiteY86" fmla="*/ 1318360 h 1357700"/>
              <a:gd name="connsiteX87" fmla="*/ 4617358 w 10678681"/>
              <a:gd name="connsiteY87" fmla="*/ 1327690 h 1357700"/>
              <a:gd name="connsiteX88" fmla="*/ 4589102 w 10678681"/>
              <a:gd name="connsiteY88" fmla="*/ 1321223 h 1357700"/>
              <a:gd name="connsiteX89" fmla="*/ 4578184 w 10678681"/>
              <a:gd name="connsiteY89" fmla="*/ 1326745 h 1357700"/>
              <a:gd name="connsiteX90" fmla="*/ 4574270 w 10678681"/>
              <a:gd name="connsiteY90" fmla="*/ 1325878 h 1357700"/>
              <a:gd name="connsiteX91" fmla="*/ 4564919 w 10678681"/>
              <a:gd name="connsiteY91" fmla="*/ 1325507 h 1357700"/>
              <a:gd name="connsiteX92" fmla="*/ 4566586 w 10678681"/>
              <a:gd name="connsiteY92" fmla="*/ 1316963 h 1357700"/>
              <a:gd name="connsiteX93" fmla="*/ 4556303 w 10678681"/>
              <a:gd name="connsiteY93" fmla="*/ 1300262 h 1357700"/>
              <a:gd name="connsiteX94" fmla="*/ 4502358 w 10678681"/>
              <a:gd name="connsiteY94" fmla="*/ 1302558 h 1357700"/>
              <a:gd name="connsiteX95" fmla="*/ 4498919 w 10678681"/>
              <a:gd name="connsiteY95" fmla="*/ 1312115 h 1357700"/>
              <a:gd name="connsiteX96" fmla="*/ 4492075 w 10678681"/>
              <a:gd name="connsiteY96" fmla="*/ 1313357 h 1357700"/>
              <a:gd name="connsiteX97" fmla="*/ 4487466 w 10678681"/>
              <a:gd name="connsiteY97" fmla="*/ 1304102 h 1357700"/>
              <a:gd name="connsiteX98" fmla="*/ 4398292 w 10678681"/>
              <a:gd name="connsiteY98" fmla="*/ 1278410 h 1357700"/>
              <a:gd name="connsiteX99" fmla="*/ 4306088 w 10678681"/>
              <a:gd name="connsiteY99" fmla="*/ 1282512 h 1357700"/>
              <a:gd name="connsiteX100" fmla="*/ 4188995 w 10678681"/>
              <a:gd name="connsiteY100" fmla="*/ 1296718 h 1357700"/>
              <a:gd name="connsiteX101" fmla="*/ 4136582 w 10678681"/>
              <a:gd name="connsiteY101" fmla="*/ 1287687 h 1357700"/>
              <a:gd name="connsiteX102" fmla="*/ 4064614 w 10678681"/>
              <a:gd name="connsiteY102" fmla="*/ 1296118 h 1357700"/>
              <a:gd name="connsiteX103" fmla="*/ 3906561 w 10678681"/>
              <a:gd name="connsiteY103" fmla="*/ 1352435 h 1357700"/>
              <a:gd name="connsiteX104" fmla="*/ 3787890 w 10678681"/>
              <a:gd name="connsiteY104" fmla="*/ 1352442 h 1357700"/>
              <a:gd name="connsiteX105" fmla="*/ 3745993 w 10678681"/>
              <a:gd name="connsiteY105" fmla="*/ 1342630 h 1357700"/>
              <a:gd name="connsiteX106" fmla="*/ 3675785 w 10678681"/>
              <a:gd name="connsiteY106" fmla="*/ 1326802 h 1357700"/>
              <a:gd name="connsiteX107" fmla="*/ 3623856 w 10678681"/>
              <a:gd name="connsiteY107" fmla="*/ 1290804 h 1357700"/>
              <a:gd name="connsiteX108" fmla="*/ 3564933 w 10678681"/>
              <a:gd name="connsiteY108" fmla="*/ 1287147 h 1357700"/>
              <a:gd name="connsiteX109" fmla="*/ 3550537 w 10678681"/>
              <a:gd name="connsiteY109" fmla="*/ 1317552 h 1357700"/>
              <a:gd name="connsiteX110" fmla="*/ 3487736 w 10678681"/>
              <a:gd name="connsiteY110" fmla="*/ 1303493 h 1357700"/>
              <a:gd name="connsiteX111" fmla="*/ 3392548 w 10678681"/>
              <a:gd name="connsiteY111" fmla="*/ 1278741 h 1357700"/>
              <a:gd name="connsiteX112" fmla="*/ 3337466 w 10678681"/>
              <a:gd name="connsiteY112" fmla="*/ 1272537 h 1357700"/>
              <a:gd name="connsiteX113" fmla="*/ 3187206 w 10678681"/>
              <a:gd name="connsiteY113" fmla="*/ 1246821 h 1357700"/>
              <a:gd name="connsiteX114" fmla="*/ 3036856 w 10678681"/>
              <a:gd name="connsiteY114" fmla="*/ 1214383 h 1357700"/>
              <a:gd name="connsiteX115" fmla="*/ 2824973 w 10678681"/>
              <a:gd name="connsiteY115" fmla="*/ 1134864 h 1357700"/>
              <a:gd name="connsiteX116" fmla="*/ 2804398 w 10678681"/>
              <a:gd name="connsiteY116" fmla="*/ 1125556 h 1357700"/>
              <a:gd name="connsiteX117" fmla="*/ 2775396 w 10678681"/>
              <a:gd name="connsiteY117" fmla="*/ 1130148 h 1357700"/>
              <a:gd name="connsiteX118" fmla="*/ 2659096 w 10678681"/>
              <a:gd name="connsiteY118" fmla="*/ 1150294 h 1357700"/>
              <a:gd name="connsiteX119" fmla="*/ 2567088 w 10678681"/>
              <a:gd name="connsiteY119" fmla="*/ 1181781 h 1357700"/>
              <a:gd name="connsiteX120" fmla="*/ 2454501 w 10678681"/>
              <a:gd name="connsiteY120" fmla="*/ 1155455 h 1357700"/>
              <a:gd name="connsiteX121" fmla="*/ 2385161 w 10678681"/>
              <a:gd name="connsiteY121" fmla="*/ 1161312 h 1357700"/>
              <a:gd name="connsiteX122" fmla="*/ 2273361 w 10678681"/>
              <a:gd name="connsiteY122" fmla="*/ 1134090 h 1357700"/>
              <a:gd name="connsiteX123" fmla="*/ 2092716 w 10678681"/>
              <a:gd name="connsiteY123" fmla="*/ 1139224 h 1357700"/>
              <a:gd name="connsiteX124" fmla="*/ 2052449 w 10678681"/>
              <a:gd name="connsiteY124" fmla="*/ 1109687 h 1357700"/>
              <a:gd name="connsiteX125" fmla="*/ 2032607 w 10678681"/>
              <a:gd name="connsiteY125" fmla="*/ 1175477 h 1357700"/>
              <a:gd name="connsiteX126" fmla="*/ 1901837 w 10678681"/>
              <a:gd name="connsiteY126" fmla="*/ 1221762 h 1357700"/>
              <a:gd name="connsiteX127" fmla="*/ 1836762 w 10678681"/>
              <a:gd name="connsiteY127" fmla="*/ 1237387 h 1357700"/>
              <a:gd name="connsiteX128" fmla="*/ 1735877 w 10678681"/>
              <a:gd name="connsiteY128" fmla="*/ 1246527 h 1357700"/>
              <a:gd name="connsiteX129" fmla="*/ 1705069 w 10678681"/>
              <a:gd name="connsiteY129" fmla="*/ 1251989 h 1357700"/>
              <a:gd name="connsiteX130" fmla="*/ 1397689 w 10678681"/>
              <a:gd name="connsiteY130" fmla="*/ 1336144 h 1357700"/>
              <a:gd name="connsiteX131" fmla="*/ 1220734 w 10678681"/>
              <a:gd name="connsiteY131" fmla="*/ 1257811 h 1357700"/>
              <a:gd name="connsiteX132" fmla="*/ 1021737 w 10678681"/>
              <a:gd name="connsiteY132" fmla="*/ 1238739 h 1357700"/>
              <a:gd name="connsiteX133" fmla="*/ 959820 w 10678681"/>
              <a:gd name="connsiteY133" fmla="*/ 1275863 h 1357700"/>
              <a:gd name="connsiteX134" fmla="*/ 929137 w 10678681"/>
              <a:gd name="connsiteY134" fmla="*/ 1273957 h 1357700"/>
              <a:gd name="connsiteX135" fmla="*/ 878849 w 10678681"/>
              <a:gd name="connsiteY135" fmla="*/ 1266740 h 1357700"/>
              <a:gd name="connsiteX136" fmla="*/ 800667 w 10678681"/>
              <a:gd name="connsiteY136" fmla="*/ 1282041 h 1357700"/>
              <a:gd name="connsiteX137" fmla="*/ 644906 w 10678681"/>
              <a:gd name="connsiteY137" fmla="*/ 1273685 h 1357700"/>
              <a:gd name="connsiteX138" fmla="*/ 379869 w 10678681"/>
              <a:gd name="connsiteY138" fmla="*/ 1339165 h 1357700"/>
              <a:gd name="connsiteX139" fmla="*/ 137696 w 10678681"/>
              <a:gd name="connsiteY139" fmla="*/ 1319217 h 1357700"/>
              <a:gd name="connsiteX140" fmla="*/ 54250 w 10678681"/>
              <a:gd name="connsiteY140" fmla="*/ 1315838 h 1357700"/>
              <a:gd name="connsiteX141" fmla="*/ 28042 w 10678681"/>
              <a:gd name="connsiteY141" fmla="*/ 1297822 h 1357700"/>
              <a:gd name="connsiteX142" fmla="*/ 0 w 10678681"/>
              <a:gd name="connsiteY142" fmla="*/ 1294612 h 1357700"/>
              <a:gd name="connsiteX143" fmla="*/ 0 w 10678681"/>
              <a:gd name="connsiteY143"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30518 w 10678681"/>
              <a:gd name="connsiteY38" fmla="*/ 739526 h 1357700"/>
              <a:gd name="connsiteX39" fmla="*/ 7652907 w 10678681"/>
              <a:gd name="connsiteY39" fmla="*/ 783273 h 1357700"/>
              <a:gd name="connsiteX40" fmla="*/ 7606008 w 10678681"/>
              <a:gd name="connsiteY40" fmla="*/ 800717 h 1357700"/>
              <a:gd name="connsiteX41" fmla="*/ 7480223 w 10678681"/>
              <a:gd name="connsiteY41" fmla="*/ 856821 h 1357700"/>
              <a:gd name="connsiteX42" fmla="*/ 7356005 w 10678681"/>
              <a:gd name="connsiteY42" fmla="*/ 919462 h 1357700"/>
              <a:gd name="connsiteX43" fmla="*/ 7305396 w 10678681"/>
              <a:gd name="connsiteY43" fmla="*/ 986228 h 1357700"/>
              <a:gd name="connsiteX44" fmla="*/ 7266251 w 10678681"/>
              <a:gd name="connsiteY44" fmla="*/ 967864 h 1357700"/>
              <a:gd name="connsiteX45" fmla="*/ 7269396 w 10678681"/>
              <a:gd name="connsiteY45" fmla="*/ 989282 h 1357700"/>
              <a:gd name="connsiteX46" fmla="*/ 7258094 w 10678681"/>
              <a:gd name="connsiteY46" fmla="*/ 990679 h 1357700"/>
              <a:gd name="connsiteX47" fmla="*/ 7257893 w 10678681"/>
              <a:gd name="connsiteY47" fmla="*/ 991204 h 1357700"/>
              <a:gd name="connsiteX48" fmla="*/ 7247153 w 10678681"/>
              <a:gd name="connsiteY48" fmla="*/ 991550 h 1357700"/>
              <a:gd name="connsiteX49" fmla="*/ 7193612 w 10678681"/>
              <a:gd name="connsiteY49" fmla="*/ 987042 h 1357700"/>
              <a:gd name="connsiteX50" fmla="*/ 7132632 w 10678681"/>
              <a:gd name="connsiteY50" fmla="*/ 1042036 h 1357700"/>
              <a:gd name="connsiteX51" fmla="*/ 7105610 w 10678681"/>
              <a:gd name="connsiteY51" fmla="*/ 1053537 h 1357700"/>
              <a:gd name="connsiteX52" fmla="*/ 7069148 w 10678681"/>
              <a:gd name="connsiteY52" fmla="*/ 1047163 h 1357700"/>
              <a:gd name="connsiteX53" fmla="*/ 7039634 w 10678681"/>
              <a:gd name="connsiteY53" fmla="*/ 1059971 h 1357700"/>
              <a:gd name="connsiteX54" fmla="*/ 7033445 w 10678681"/>
              <a:gd name="connsiteY54" fmla="*/ 1063314 h 1357700"/>
              <a:gd name="connsiteX55" fmla="*/ 6999157 w 10678681"/>
              <a:gd name="connsiteY55" fmla="*/ 1055282 h 1357700"/>
              <a:gd name="connsiteX56" fmla="*/ 6981874 w 10678681"/>
              <a:gd name="connsiteY56" fmla="*/ 1053827 h 1357700"/>
              <a:gd name="connsiteX57" fmla="*/ 6976102 w 10678681"/>
              <a:gd name="connsiteY57" fmla="*/ 1047854 h 1357700"/>
              <a:gd name="connsiteX58" fmla="*/ 6951040 w 10678681"/>
              <a:gd name="connsiteY58" fmla="*/ 1048531 h 1357700"/>
              <a:gd name="connsiteX59" fmla="*/ 6948497 w 10678681"/>
              <a:gd name="connsiteY59" fmla="*/ 1050706 h 1357700"/>
              <a:gd name="connsiteX60" fmla="*/ 6926582 w 10678681"/>
              <a:gd name="connsiteY60" fmla="*/ 1043462 h 1357700"/>
              <a:gd name="connsiteX61" fmla="*/ 6833743 w 10678681"/>
              <a:gd name="connsiteY61" fmla="*/ 1027960 h 1357700"/>
              <a:gd name="connsiteX62" fmla="*/ 6687090 w 10678681"/>
              <a:gd name="connsiteY62" fmla="*/ 1063250 h 1357700"/>
              <a:gd name="connsiteX63" fmla="*/ 6437450 w 10678681"/>
              <a:gd name="connsiteY63" fmla="*/ 1101075 h 1357700"/>
              <a:gd name="connsiteX64" fmla="*/ 6327795 w 10678681"/>
              <a:gd name="connsiteY64" fmla="*/ 1088142 h 1357700"/>
              <a:gd name="connsiteX65" fmla="*/ 6136549 w 10678681"/>
              <a:gd name="connsiteY65" fmla="*/ 1100268 h 1357700"/>
              <a:gd name="connsiteX66" fmla="*/ 6004655 w 10678681"/>
              <a:gd name="connsiteY66" fmla="*/ 1114946 h 1357700"/>
              <a:gd name="connsiteX67" fmla="*/ 5936643 w 10678681"/>
              <a:gd name="connsiteY67" fmla="*/ 1095428 h 1357700"/>
              <a:gd name="connsiteX68" fmla="*/ 5912484 w 10678681"/>
              <a:gd name="connsiteY68" fmla="*/ 1112624 h 1357700"/>
              <a:gd name="connsiteX69" fmla="*/ 5908387 w 10678681"/>
              <a:gd name="connsiteY69" fmla="*/ 1116018 h 1357700"/>
              <a:gd name="connsiteX70" fmla="*/ 5890495 w 10678681"/>
              <a:gd name="connsiteY70" fmla="*/ 1120268 h 1357700"/>
              <a:gd name="connsiteX71" fmla="*/ 5887318 w 10678681"/>
              <a:gd name="connsiteY71" fmla="*/ 1133134 h 1357700"/>
              <a:gd name="connsiteX72" fmla="*/ 5861726 w 10678681"/>
              <a:gd name="connsiteY72" fmla="*/ 1147891 h 1357700"/>
              <a:gd name="connsiteX73" fmla="*/ 5805823 w 10678681"/>
              <a:gd name="connsiteY73" fmla="*/ 1152457 h 1357700"/>
              <a:gd name="connsiteX74" fmla="*/ 5689841 w 10678681"/>
              <a:gd name="connsiteY74" fmla="*/ 1176232 h 1357700"/>
              <a:gd name="connsiteX75" fmla="*/ 5605119 w 10678681"/>
              <a:gd name="connsiteY75" fmla="*/ 1190202 h 1357700"/>
              <a:gd name="connsiteX76" fmla="*/ 5488513 w 10678681"/>
              <a:gd name="connsiteY76" fmla="*/ 1205367 h 1357700"/>
              <a:gd name="connsiteX77" fmla="*/ 5402905 w 10678681"/>
              <a:gd name="connsiteY77" fmla="*/ 1241191 h 1357700"/>
              <a:gd name="connsiteX78" fmla="*/ 5285593 w 10678681"/>
              <a:gd name="connsiteY78" fmla="*/ 1273569 h 1357700"/>
              <a:gd name="connsiteX79" fmla="*/ 5192893 w 10678681"/>
              <a:gd name="connsiteY79" fmla="*/ 1247188 h 1357700"/>
              <a:gd name="connsiteX80" fmla="*/ 5186475 w 10678681"/>
              <a:gd name="connsiteY80" fmla="*/ 1257028 h 1357700"/>
              <a:gd name="connsiteX81" fmla="*/ 5126038 w 10678681"/>
              <a:gd name="connsiteY81" fmla="*/ 1263189 h 1357700"/>
              <a:gd name="connsiteX82" fmla="*/ 4894688 w 10678681"/>
              <a:gd name="connsiteY82" fmla="*/ 1247184 h 1357700"/>
              <a:gd name="connsiteX83" fmla="*/ 4788036 w 10678681"/>
              <a:gd name="connsiteY83" fmla="*/ 1238182 h 1357700"/>
              <a:gd name="connsiteX84" fmla="*/ 4747555 w 10678681"/>
              <a:gd name="connsiteY84" fmla="*/ 1252768 h 1357700"/>
              <a:gd name="connsiteX85" fmla="*/ 4679644 w 10678681"/>
              <a:gd name="connsiteY85" fmla="*/ 1276603 h 1357700"/>
              <a:gd name="connsiteX86" fmla="*/ 4632222 w 10678681"/>
              <a:gd name="connsiteY86" fmla="*/ 1318360 h 1357700"/>
              <a:gd name="connsiteX87" fmla="*/ 4617358 w 10678681"/>
              <a:gd name="connsiteY87" fmla="*/ 1327690 h 1357700"/>
              <a:gd name="connsiteX88" fmla="*/ 4589102 w 10678681"/>
              <a:gd name="connsiteY88" fmla="*/ 1321223 h 1357700"/>
              <a:gd name="connsiteX89" fmla="*/ 4578184 w 10678681"/>
              <a:gd name="connsiteY89" fmla="*/ 1326745 h 1357700"/>
              <a:gd name="connsiteX90" fmla="*/ 4574270 w 10678681"/>
              <a:gd name="connsiteY90" fmla="*/ 1325878 h 1357700"/>
              <a:gd name="connsiteX91" fmla="*/ 4564919 w 10678681"/>
              <a:gd name="connsiteY91" fmla="*/ 1325507 h 1357700"/>
              <a:gd name="connsiteX92" fmla="*/ 4566586 w 10678681"/>
              <a:gd name="connsiteY92" fmla="*/ 1316963 h 1357700"/>
              <a:gd name="connsiteX93" fmla="*/ 4556303 w 10678681"/>
              <a:gd name="connsiteY93" fmla="*/ 1300262 h 1357700"/>
              <a:gd name="connsiteX94" fmla="*/ 4502358 w 10678681"/>
              <a:gd name="connsiteY94" fmla="*/ 1302558 h 1357700"/>
              <a:gd name="connsiteX95" fmla="*/ 4498919 w 10678681"/>
              <a:gd name="connsiteY95" fmla="*/ 1312115 h 1357700"/>
              <a:gd name="connsiteX96" fmla="*/ 4492075 w 10678681"/>
              <a:gd name="connsiteY96" fmla="*/ 1313357 h 1357700"/>
              <a:gd name="connsiteX97" fmla="*/ 4487466 w 10678681"/>
              <a:gd name="connsiteY97" fmla="*/ 1304102 h 1357700"/>
              <a:gd name="connsiteX98" fmla="*/ 4398292 w 10678681"/>
              <a:gd name="connsiteY98" fmla="*/ 1278410 h 1357700"/>
              <a:gd name="connsiteX99" fmla="*/ 4306088 w 10678681"/>
              <a:gd name="connsiteY99" fmla="*/ 1282512 h 1357700"/>
              <a:gd name="connsiteX100" fmla="*/ 4188995 w 10678681"/>
              <a:gd name="connsiteY100" fmla="*/ 1296718 h 1357700"/>
              <a:gd name="connsiteX101" fmla="*/ 4136582 w 10678681"/>
              <a:gd name="connsiteY101" fmla="*/ 1287687 h 1357700"/>
              <a:gd name="connsiteX102" fmla="*/ 4064614 w 10678681"/>
              <a:gd name="connsiteY102" fmla="*/ 1296118 h 1357700"/>
              <a:gd name="connsiteX103" fmla="*/ 3906561 w 10678681"/>
              <a:gd name="connsiteY103" fmla="*/ 1352435 h 1357700"/>
              <a:gd name="connsiteX104" fmla="*/ 3787890 w 10678681"/>
              <a:gd name="connsiteY104" fmla="*/ 1352442 h 1357700"/>
              <a:gd name="connsiteX105" fmla="*/ 3745993 w 10678681"/>
              <a:gd name="connsiteY105" fmla="*/ 1342630 h 1357700"/>
              <a:gd name="connsiteX106" fmla="*/ 3675785 w 10678681"/>
              <a:gd name="connsiteY106" fmla="*/ 1326802 h 1357700"/>
              <a:gd name="connsiteX107" fmla="*/ 3623856 w 10678681"/>
              <a:gd name="connsiteY107" fmla="*/ 1290804 h 1357700"/>
              <a:gd name="connsiteX108" fmla="*/ 3564933 w 10678681"/>
              <a:gd name="connsiteY108" fmla="*/ 1287147 h 1357700"/>
              <a:gd name="connsiteX109" fmla="*/ 3550537 w 10678681"/>
              <a:gd name="connsiteY109" fmla="*/ 1317552 h 1357700"/>
              <a:gd name="connsiteX110" fmla="*/ 3487736 w 10678681"/>
              <a:gd name="connsiteY110" fmla="*/ 1303493 h 1357700"/>
              <a:gd name="connsiteX111" fmla="*/ 3392548 w 10678681"/>
              <a:gd name="connsiteY111" fmla="*/ 1278741 h 1357700"/>
              <a:gd name="connsiteX112" fmla="*/ 3337466 w 10678681"/>
              <a:gd name="connsiteY112" fmla="*/ 1272537 h 1357700"/>
              <a:gd name="connsiteX113" fmla="*/ 3187206 w 10678681"/>
              <a:gd name="connsiteY113" fmla="*/ 1246821 h 1357700"/>
              <a:gd name="connsiteX114" fmla="*/ 3036856 w 10678681"/>
              <a:gd name="connsiteY114" fmla="*/ 1214383 h 1357700"/>
              <a:gd name="connsiteX115" fmla="*/ 2824973 w 10678681"/>
              <a:gd name="connsiteY115" fmla="*/ 1134864 h 1357700"/>
              <a:gd name="connsiteX116" fmla="*/ 2804398 w 10678681"/>
              <a:gd name="connsiteY116" fmla="*/ 1125556 h 1357700"/>
              <a:gd name="connsiteX117" fmla="*/ 2775396 w 10678681"/>
              <a:gd name="connsiteY117" fmla="*/ 1130148 h 1357700"/>
              <a:gd name="connsiteX118" fmla="*/ 2659096 w 10678681"/>
              <a:gd name="connsiteY118" fmla="*/ 1150294 h 1357700"/>
              <a:gd name="connsiteX119" fmla="*/ 2567088 w 10678681"/>
              <a:gd name="connsiteY119" fmla="*/ 1181781 h 1357700"/>
              <a:gd name="connsiteX120" fmla="*/ 2454501 w 10678681"/>
              <a:gd name="connsiteY120" fmla="*/ 1155455 h 1357700"/>
              <a:gd name="connsiteX121" fmla="*/ 2385161 w 10678681"/>
              <a:gd name="connsiteY121" fmla="*/ 1161312 h 1357700"/>
              <a:gd name="connsiteX122" fmla="*/ 2273361 w 10678681"/>
              <a:gd name="connsiteY122" fmla="*/ 1134090 h 1357700"/>
              <a:gd name="connsiteX123" fmla="*/ 2132003 w 10678681"/>
              <a:gd name="connsiteY123" fmla="*/ 1139225 h 1357700"/>
              <a:gd name="connsiteX124" fmla="*/ 2052449 w 10678681"/>
              <a:gd name="connsiteY124" fmla="*/ 1109687 h 1357700"/>
              <a:gd name="connsiteX125" fmla="*/ 2032607 w 10678681"/>
              <a:gd name="connsiteY125" fmla="*/ 1175477 h 1357700"/>
              <a:gd name="connsiteX126" fmla="*/ 1901837 w 10678681"/>
              <a:gd name="connsiteY126" fmla="*/ 1221762 h 1357700"/>
              <a:gd name="connsiteX127" fmla="*/ 1836762 w 10678681"/>
              <a:gd name="connsiteY127" fmla="*/ 1237387 h 1357700"/>
              <a:gd name="connsiteX128" fmla="*/ 1735877 w 10678681"/>
              <a:gd name="connsiteY128" fmla="*/ 1246527 h 1357700"/>
              <a:gd name="connsiteX129" fmla="*/ 1705069 w 10678681"/>
              <a:gd name="connsiteY129" fmla="*/ 1251989 h 1357700"/>
              <a:gd name="connsiteX130" fmla="*/ 1397689 w 10678681"/>
              <a:gd name="connsiteY130" fmla="*/ 1336144 h 1357700"/>
              <a:gd name="connsiteX131" fmla="*/ 1220734 w 10678681"/>
              <a:gd name="connsiteY131" fmla="*/ 1257811 h 1357700"/>
              <a:gd name="connsiteX132" fmla="*/ 1021737 w 10678681"/>
              <a:gd name="connsiteY132" fmla="*/ 1238739 h 1357700"/>
              <a:gd name="connsiteX133" fmla="*/ 959820 w 10678681"/>
              <a:gd name="connsiteY133" fmla="*/ 1275863 h 1357700"/>
              <a:gd name="connsiteX134" fmla="*/ 929137 w 10678681"/>
              <a:gd name="connsiteY134" fmla="*/ 1273957 h 1357700"/>
              <a:gd name="connsiteX135" fmla="*/ 878849 w 10678681"/>
              <a:gd name="connsiteY135" fmla="*/ 1266740 h 1357700"/>
              <a:gd name="connsiteX136" fmla="*/ 800667 w 10678681"/>
              <a:gd name="connsiteY136" fmla="*/ 1282041 h 1357700"/>
              <a:gd name="connsiteX137" fmla="*/ 644906 w 10678681"/>
              <a:gd name="connsiteY137" fmla="*/ 1273685 h 1357700"/>
              <a:gd name="connsiteX138" fmla="*/ 379869 w 10678681"/>
              <a:gd name="connsiteY138" fmla="*/ 1339165 h 1357700"/>
              <a:gd name="connsiteX139" fmla="*/ 137696 w 10678681"/>
              <a:gd name="connsiteY139" fmla="*/ 1319217 h 1357700"/>
              <a:gd name="connsiteX140" fmla="*/ 54250 w 10678681"/>
              <a:gd name="connsiteY140" fmla="*/ 1315838 h 1357700"/>
              <a:gd name="connsiteX141" fmla="*/ 28042 w 10678681"/>
              <a:gd name="connsiteY141" fmla="*/ 1297822 h 1357700"/>
              <a:gd name="connsiteX142" fmla="*/ 0 w 10678681"/>
              <a:gd name="connsiteY142" fmla="*/ 1294612 h 1357700"/>
              <a:gd name="connsiteX143" fmla="*/ 0 w 10678681"/>
              <a:gd name="connsiteY143"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30518 w 10678681"/>
              <a:gd name="connsiteY38" fmla="*/ 739526 h 1357700"/>
              <a:gd name="connsiteX39" fmla="*/ 7652907 w 10678681"/>
              <a:gd name="connsiteY39" fmla="*/ 783273 h 1357700"/>
              <a:gd name="connsiteX40" fmla="*/ 7606008 w 10678681"/>
              <a:gd name="connsiteY40" fmla="*/ 800717 h 1357700"/>
              <a:gd name="connsiteX41" fmla="*/ 7480223 w 10678681"/>
              <a:gd name="connsiteY41" fmla="*/ 856821 h 1357700"/>
              <a:gd name="connsiteX42" fmla="*/ 7356005 w 10678681"/>
              <a:gd name="connsiteY42" fmla="*/ 919462 h 1357700"/>
              <a:gd name="connsiteX43" fmla="*/ 7305396 w 10678681"/>
              <a:gd name="connsiteY43" fmla="*/ 986228 h 1357700"/>
              <a:gd name="connsiteX44" fmla="*/ 7266251 w 10678681"/>
              <a:gd name="connsiteY44" fmla="*/ 967864 h 1357700"/>
              <a:gd name="connsiteX45" fmla="*/ 7269396 w 10678681"/>
              <a:gd name="connsiteY45" fmla="*/ 989282 h 1357700"/>
              <a:gd name="connsiteX46" fmla="*/ 7258094 w 10678681"/>
              <a:gd name="connsiteY46" fmla="*/ 990679 h 1357700"/>
              <a:gd name="connsiteX47" fmla="*/ 7257893 w 10678681"/>
              <a:gd name="connsiteY47" fmla="*/ 991204 h 1357700"/>
              <a:gd name="connsiteX48" fmla="*/ 7247153 w 10678681"/>
              <a:gd name="connsiteY48" fmla="*/ 991550 h 1357700"/>
              <a:gd name="connsiteX49" fmla="*/ 7193612 w 10678681"/>
              <a:gd name="connsiteY49" fmla="*/ 987042 h 1357700"/>
              <a:gd name="connsiteX50" fmla="*/ 7132632 w 10678681"/>
              <a:gd name="connsiteY50" fmla="*/ 1042036 h 1357700"/>
              <a:gd name="connsiteX51" fmla="*/ 7105610 w 10678681"/>
              <a:gd name="connsiteY51" fmla="*/ 1053537 h 1357700"/>
              <a:gd name="connsiteX52" fmla="*/ 7069148 w 10678681"/>
              <a:gd name="connsiteY52" fmla="*/ 1047163 h 1357700"/>
              <a:gd name="connsiteX53" fmla="*/ 7039634 w 10678681"/>
              <a:gd name="connsiteY53" fmla="*/ 1059971 h 1357700"/>
              <a:gd name="connsiteX54" fmla="*/ 7033445 w 10678681"/>
              <a:gd name="connsiteY54" fmla="*/ 1063314 h 1357700"/>
              <a:gd name="connsiteX55" fmla="*/ 6999157 w 10678681"/>
              <a:gd name="connsiteY55" fmla="*/ 1055282 h 1357700"/>
              <a:gd name="connsiteX56" fmla="*/ 6981874 w 10678681"/>
              <a:gd name="connsiteY56" fmla="*/ 1053827 h 1357700"/>
              <a:gd name="connsiteX57" fmla="*/ 6976102 w 10678681"/>
              <a:gd name="connsiteY57" fmla="*/ 1047854 h 1357700"/>
              <a:gd name="connsiteX58" fmla="*/ 6951040 w 10678681"/>
              <a:gd name="connsiteY58" fmla="*/ 1048531 h 1357700"/>
              <a:gd name="connsiteX59" fmla="*/ 6948497 w 10678681"/>
              <a:gd name="connsiteY59" fmla="*/ 1050706 h 1357700"/>
              <a:gd name="connsiteX60" fmla="*/ 6926582 w 10678681"/>
              <a:gd name="connsiteY60" fmla="*/ 1043462 h 1357700"/>
              <a:gd name="connsiteX61" fmla="*/ 6833743 w 10678681"/>
              <a:gd name="connsiteY61" fmla="*/ 1027960 h 1357700"/>
              <a:gd name="connsiteX62" fmla="*/ 6687090 w 10678681"/>
              <a:gd name="connsiteY62" fmla="*/ 1063250 h 1357700"/>
              <a:gd name="connsiteX63" fmla="*/ 6437450 w 10678681"/>
              <a:gd name="connsiteY63" fmla="*/ 1101075 h 1357700"/>
              <a:gd name="connsiteX64" fmla="*/ 6327795 w 10678681"/>
              <a:gd name="connsiteY64" fmla="*/ 1088142 h 1357700"/>
              <a:gd name="connsiteX65" fmla="*/ 6136549 w 10678681"/>
              <a:gd name="connsiteY65" fmla="*/ 1100268 h 1357700"/>
              <a:gd name="connsiteX66" fmla="*/ 6004655 w 10678681"/>
              <a:gd name="connsiteY66" fmla="*/ 1114946 h 1357700"/>
              <a:gd name="connsiteX67" fmla="*/ 5936643 w 10678681"/>
              <a:gd name="connsiteY67" fmla="*/ 1095428 h 1357700"/>
              <a:gd name="connsiteX68" fmla="*/ 5912484 w 10678681"/>
              <a:gd name="connsiteY68" fmla="*/ 1112624 h 1357700"/>
              <a:gd name="connsiteX69" fmla="*/ 5908387 w 10678681"/>
              <a:gd name="connsiteY69" fmla="*/ 1116018 h 1357700"/>
              <a:gd name="connsiteX70" fmla="*/ 5890495 w 10678681"/>
              <a:gd name="connsiteY70" fmla="*/ 1120268 h 1357700"/>
              <a:gd name="connsiteX71" fmla="*/ 5887318 w 10678681"/>
              <a:gd name="connsiteY71" fmla="*/ 1133134 h 1357700"/>
              <a:gd name="connsiteX72" fmla="*/ 5861726 w 10678681"/>
              <a:gd name="connsiteY72" fmla="*/ 1147891 h 1357700"/>
              <a:gd name="connsiteX73" fmla="*/ 5805823 w 10678681"/>
              <a:gd name="connsiteY73" fmla="*/ 1152457 h 1357700"/>
              <a:gd name="connsiteX74" fmla="*/ 5689841 w 10678681"/>
              <a:gd name="connsiteY74" fmla="*/ 1176232 h 1357700"/>
              <a:gd name="connsiteX75" fmla="*/ 5605119 w 10678681"/>
              <a:gd name="connsiteY75" fmla="*/ 1190202 h 1357700"/>
              <a:gd name="connsiteX76" fmla="*/ 5488513 w 10678681"/>
              <a:gd name="connsiteY76" fmla="*/ 1205367 h 1357700"/>
              <a:gd name="connsiteX77" fmla="*/ 5402905 w 10678681"/>
              <a:gd name="connsiteY77" fmla="*/ 1241191 h 1357700"/>
              <a:gd name="connsiteX78" fmla="*/ 5285593 w 10678681"/>
              <a:gd name="connsiteY78" fmla="*/ 1273569 h 1357700"/>
              <a:gd name="connsiteX79" fmla="*/ 5192893 w 10678681"/>
              <a:gd name="connsiteY79" fmla="*/ 1247188 h 1357700"/>
              <a:gd name="connsiteX80" fmla="*/ 5186475 w 10678681"/>
              <a:gd name="connsiteY80" fmla="*/ 1257028 h 1357700"/>
              <a:gd name="connsiteX81" fmla="*/ 5126038 w 10678681"/>
              <a:gd name="connsiteY81" fmla="*/ 1263189 h 1357700"/>
              <a:gd name="connsiteX82" fmla="*/ 4894688 w 10678681"/>
              <a:gd name="connsiteY82" fmla="*/ 1247184 h 1357700"/>
              <a:gd name="connsiteX83" fmla="*/ 4788036 w 10678681"/>
              <a:gd name="connsiteY83" fmla="*/ 1238182 h 1357700"/>
              <a:gd name="connsiteX84" fmla="*/ 4747555 w 10678681"/>
              <a:gd name="connsiteY84" fmla="*/ 1252768 h 1357700"/>
              <a:gd name="connsiteX85" fmla="*/ 4679644 w 10678681"/>
              <a:gd name="connsiteY85" fmla="*/ 1276603 h 1357700"/>
              <a:gd name="connsiteX86" fmla="*/ 4632222 w 10678681"/>
              <a:gd name="connsiteY86" fmla="*/ 1318360 h 1357700"/>
              <a:gd name="connsiteX87" fmla="*/ 4617358 w 10678681"/>
              <a:gd name="connsiteY87" fmla="*/ 1327690 h 1357700"/>
              <a:gd name="connsiteX88" fmla="*/ 4589102 w 10678681"/>
              <a:gd name="connsiteY88" fmla="*/ 1321223 h 1357700"/>
              <a:gd name="connsiteX89" fmla="*/ 4578184 w 10678681"/>
              <a:gd name="connsiteY89" fmla="*/ 1326745 h 1357700"/>
              <a:gd name="connsiteX90" fmla="*/ 4574270 w 10678681"/>
              <a:gd name="connsiteY90" fmla="*/ 1325878 h 1357700"/>
              <a:gd name="connsiteX91" fmla="*/ 4564919 w 10678681"/>
              <a:gd name="connsiteY91" fmla="*/ 1325507 h 1357700"/>
              <a:gd name="connsiteX92" fmla="*/ 4566586 w 10678681"/>
              <a:gd name="connsiteY92" fmla="*/ 1316963 h 1357700"/>
              <a:gd name="connsiteX93" fmla="*/ 4556303 w 10678681"/>
              <a:gd name="connsiteY93" fmla="*/ 1300262 h 1357700"/>
              <a:gd name="connsiteX94" fmla="*/ 4502358 w 10678681"/>
              <a:gd name="connsiteY94" fmla="*/ 1302558 h 1357700"/>
              <a:gd name="connsiteX95" fmla="*/ 4498919 w 10678681"/>
              <a:gd name="connsiteY95" fmla="*/ 1312115 h 1357700"/>
              <a:gd name="connsiteX96" fmla="*/ 4492075 w 10678681"/>
              <a:gd name="connsiteY96" fmla="*/ 1313357 h 1357700"/>
              <a:gd name="connsiteX97" fmla="*/ 4487466 w 10678681"/>
              <a:gd name="connsiteY97" fmla="*/ 1304102 h 1357700"/>
              <a:gd name="connsiteX98" fmla="*/ 4398292 w 10678681"/>
              <a:gd name="connsiteY98" fmla="*/ 1278410 h 1357700"/>
              <a:gd name="connsiteX99" fmla="*/ 4306088 w 10678681"/>
              <a:gd name="connsiteY99" fmla="*/ 1282512 h 1357700"/>
              <a:gd name="connsiteX100" fmla="*/ 4188995 w 10678681"/>
              <a:gd name="connsiteY100" fmla="*/ 1296718 h 1357700"/>
              <a:gd name="connsiteX101" fmla="*/ 4136582 w 10678681"/>
              <a:gd name="connsiteY101" fmla="*/ 1287687 h 1357700"/>
              <a:gd name="connsiteX102" fmla="*/ 4064614 w 10678681"/>
              <a:gd name="connsiteY102" fmla="*/ 1296118 h 1357700"/>
              <a:gd name="connsiteX103" fmla="*/ 3906561 w 10678681"/>
              <a:gd name="connsiteY103" fmla="*/ 1352435 h 1357700"/>
              <a:gd name="connsiteX104" fmla="*/ 3787890 w 10678681"/>
              <a:gd name="connsiteY104" fmla="*/ 1352442 h 1357700"/>
              <a:gd name="connsiteX105" fmla="*/ 3745993 w 10678681"/>
              <a:gd name="connsiteY105" fmla="*/ 1342630 h 1357700"/>
              <a:gd name="connsiteX106" fmla="*/ 3675785 w 10678681"/>
              <a:gd name="connsiteY106" fmla="*/ 1326802 h 1357700"/>
              <a:gd name="connsiteX107" fmla="*/ 3623856 w 10678681"/>
              <a:gd name="connsiteY107" fmla="*/ 1290804 h 1357700"/>
              <a:gd name="connsiteX108" fmla="*/ 3564933 w 10678681"/>
              <a:gd name="connsiteY108" fmla="*/ 1287147 h 1357700"/>
              <a:gd name="connsiteX109" fmla="*/ 3550537 w 10678681"/>
              <a:gd name="connsiteY109" fmla="*/ 1317552 h 1357700"/>
              <a:gd name="connsiteX110" fmla="*/ 3487736 w 10678681"/>
              <a:gd name="connsiteY110" fmla="*/ 1303493 h 1357700"/>
              <a:gd name="connsiteX111" fmla="*/ 3392548 w 10678681"/>
              <a:gd name="connsiteY111" fmla="*/ 1278741 h 1357700"/>
              <a:gd name="connsiteX112" fmla="*/ 3337466 w 10678681"/>
              <a:gd name="connsiteY112" fmla="*/ 1272537 h 1357700"/>
              <a:gd name="connsiteX113" fmla="*/ 3187206 w 10678681"/>
              <a:gd name="connsiteY113" fmla="*/ 1246821 h 1357700"/>
              <a:gd name="connsiteX114" fmla="*/ 3036856 w 10678681"/>
              <a:gd name="connsiteY114" fmla="*/ 1214383 h 1357700"/>
              <a:gd name="connsiteX115" fmla="*/ 2824973 w 10678681"/>
              <a:gd name="connsiteY115" fmla="*/ 1134864 h 1357700"/>
              <a:gd name="connsiteX116" fmla="*/ 2804398 w 10678681"/>
              <a:gd name="connsiteY116" fmla="*/ 1125556 h 1357700"/>
              <a:gd name="connsiteX117" fmla="*/ 2775396 w 10678681"/>
              <a:gd name="connsiteY117" fmla="*/ 1130148 h 1357700"/>
              <a:gd name="connsiteX118" fmla="*/ 2659096 w 10678681"/>
              <a:gd name="connsiteY118" fmla="*/ 1150294 h 1357700"/>
              <a:gd name="connsiteX119" fmla="*/ 2567088 w 10678681"/>
              <a:gd name="connsiteY119" fmla="*/ 1181781 h 1357700"/>
              <a:gd name="connsiteX120" fmla="*/ 2454501 w 10678681"/>
              <a:gd name="connsiteY120" fmla="*/ 1155455 h 1357700"/>
              <a:gd name="connsiteX121" fmla="*/ 2385161 w 10678681"/>
              <a:gd name="connsiteY121" fmla="*/ 1161312 h 1357700"/>
              <a:gd name="connsiteX122" fmla="*/ 2273361 w 10678681"/>
              <a:gd name="connsiteY122" fmla="*/ 1134090 h 1357700"/>
              <a:gd name="connsiteX123" fmla="*/ 2132003 w 10678681"/>
              <a:gd name="connsiteY123" fmla="*/ 1139225 h 1357700"/>
              <a:gd name="connsiteX124" fmla="*/ 2052449 w 10678681"/>
              <a:gd name="connsiteY124" fmla="*/ 1109687 h 1357700"/>
              <a:gd name="connsiteX125" fmla="*/ 2010157 w 10678681"/>
              <a:gd name="connsiteY125" fmla="*/ 1152767 h 1357700"/>
              <a:gd name="connsiteX126" fmla="*/ 1901837 w 10678681"/>
              <a:gd name="connsiteY126" fmla="*/ 1221762 h 1357700"/>
              <a:gd name="connsiteX127" fmla="*/ 1836762 w 10678681"/>
              <a:gd name="connsiteY127" fmla="*/ 1237387 h 1357700"/>
              <a:gd name="connsiteX128" fmla="*/ 1735877 w 10678681"/>
              <a:gd name="connsiteY128" fmla="*/ 1246527 h 1357700"/>
              <a:gd name="connsiteX129" fmla="*/ 1705069 w 10678681"/>
              <a:gd name="connsiteY129" fmla="*/ 1251989 h 1357700"/>
              <a:gd name="connsiteX130" fmla="*/ 1397689 w 10678681"/>
              <a:gd name="connsiteY130" fmla="*/ 1336144 h 1357700"/>
              <a:gd name="connsiteX131" fmla="*/ 1220734 w 10678681"/>
              <a:gd name="connsiteY131" fmla="*/ 1257811 h 1357700"/>
              <a:gd name="connsiteX132" fmla="*/ 1021737 w 10678681"/>
              <a:gd name="connsiteY132" fmla="*/ 1238739 h 1357700"/>
              <a:gd name="connsiteX133" fmla="*/ 959820 w 10678681"/>
              <a:gd name="connsiteY133" fmla="*/ 1275863 h 1357700"/>
              <a:gd name="connsiteX134" fmla="*/ 929137 w 10678681"/>
              <a:gd name="connsiteY134" fmla="*/ 1273957 h 1357700"/>
              <a:gd name="connsiteX135" fmla="*/ 878849 w 10678681"/>
              <a:gd name="connsiteY135" fmla="*/ 1266740 h 1357700"/>
              <a:gd name="connsiteX136" fmla="*/ 800667 w 10678681"/>
              <a:gd name="connsiteY136" fmla="*/ 1282041 h 1357700"/>
              <a:gd name="connsiteX137" fmla="*/ 644906 w 10678681"/>
              <a:gd name="connsiteY137" fmla="*/ 1273685 h 1357700"/>
              <a:gd name="connsiteX138" fmla="*/ 379869 w 10678681"/>
              <a:gd name="connsiteY138" fmla="*/ 1339165 h 1357700"/>
              <a:gd name="connsiteX139" fmla="*/ 137696 w 10678681"/>
              <a:gd name="connsiteY139" fmla="*/ 1319217 h 1357700"/>
              <a:gd name="connsiteX140" fmla="*/ 54250 w 10678681"/>
              <a:gd name="connsiteY140" fmla="*/ 1315838 h 1357700"/>
              <a:gd name="connsiteX141" fmla="*/ 28042 w 10678681"/>
              <a:gd name="connsiteY141" fmla="*/ 1297822 h 1357700"/>
              <a:gd name="connsiteX142" fmla="*/ 0 w 10678681"/>
              <a:gd name="connsiteY142" fmla="*/ 1294612 h 1357700"/>
              <a:gd name="connsiteX143" fmla="*/ 0 w 10678681"/>
              <a:gd name="connsiteY143" fmla="*/ 0 h 1357700"/>
              <a:gd name="connsiteX0" fmla="*/ 0 w 10678681"/>
              <a:gd name="connsiteY0" fmla="*/ 0 h 1353297"/>
              <a:gd name="connsiteX1" fmla="*/ 10678681 w 10678681"/>
              <a:gd name="connsiteY1" fmla="*/ 0 h 1353297"/>
              <a:gd name="connsiteX2" fmla="*/ 10666019 w 10678681"/>
              <a:gd name="connsiteY2" fmla="*/ 7876 h 1353297"/>
              <a:gd name="connsiteX3" fmla="*/ 10632825 w 10678681"/>
              <a:gd name="connsiteY3" fmla="*/ 32153 h 1353297"/>
              <a:gd name="connsiteX4" fmla="*/ 10510605 w 10678681"/>
              <a:gd name="connsiteY4" fmla="*/ 30449 h 1353297"/>
              <a:gd name="connsiteX5" fmla="*/ 10456989 w 10678681"/>
              <a:gd name="connsiteY5" fmla="*/ 979 h 1353297"/>
              <a:gd name="connsiteX6" fmla="*/ 10438642 w 10678681"/>
              <a:gd name="connsiteY6" fmla="*/ 1524 h 1353297"/>
              <a:gd name="connsiteX7" fmla="*/ 10407146 w 10678681"/>
              <a:gd name="connsiteY7" fmla="*/ 43659 h 1353297"/>
              <a:gd name="connsiteX8" fmla="*/ 10357996 w 10678681"/>
              <a:gd name="connsiteY8" fmla="*/ 50836 h 1353297"/>
              <a:gd name="connsiteX9" fmla="*/ 10306667 w 10678681"/>
              <a:gd name="connsiteY9" fmla="*/ 109739 h 1353297"/>
              <a:gd name="connsiteX10" fmla="*/ 10115334 w 10678681"/>
              <a:gd name="connsiteY10" fmla="*/ 155658 h 1353297"/>
              <a:gd name="connsiteX11" fmla="*/ 10068157 w 10678681"/>
              <a:gd name="connsiteY11" fmla="*/ 215673 h 1353297"/>
              <a:gd name="connsiteX12" fmla="*/ 10045431 w 10678681"/>
              <a:gd name="connsiteY12" fmla="*/ 229568 h 1353297"/>
              <a:gd name="connsiteX13" fmla="*/ 10013265 w 10678681"/>
              <a:gd name="connsiteY13" fmla="*/ 284757 h 1353297"/>
              <a:gd name="connsiteX14" fmla="*/ 9862496 w 10678681"/>
              <a:gd name="connsiteY14" fmla="*/ 223033 h 1353297"/>
              <a:gd name="connsiteX15" fmla="*/ 9679638 w 10678681"/>
              <a:gd name="connsiteY15" fmla="*/ 277462 h 1353297"/>
              <a:gd name="connsiteX16" fmla="*/ 9498347 w 10678681"/>
              <a:gd name="connsiteY16" fmla="*/ 244723 h 1353297"/>
              <a:gd name="connsiteX17" fmla="*/ 9399702 w 10678681"/>
              <a:gd name="connsiteY17" fmla="*/ 276316 h 1353297"/>
              <a:gd name="connsiteX18" fmla="*/ 9378439 w 10678681"/>
              <a:gd name="connsiteY18" fmla="*/ 326244 h 1353297"/>
              <a:gd name="connsiteX19" fmla="*/ 9121744 w 10678681"/>
              <a:gd name="connsiteY19" fmla="*/ 365177 h 1353297"/>
              <a:gd name="connsiteX20" fmla="*/ 9061654 w 10678681"/>
              <a:gd name="connsiteY20" fmla="*/ 393730 h 1353297"/>
              <a:gd name="connsiteX21" fmla="*/ 8997577 w 10678681"/>
              <a:gd name="connsiteY21" fmla="*/ 380865 h 1353297"/>
              <a:gd name="connsiteX22" fmla="*/ 8907968 w 10678681"/>
              <a:gd name="connsiteY22" fmla="*/ 447345 h 1353297"/>
              <a:gd name="connsiteX23" fmla="*/ 8764163 w 10678681"/>
              <a:gd name="connsiteY23" fmla="*/ 471000 h 1353297"/>
              <a:gd name="connsiteX24" fmla="*/ 8680155 w 10678681"/>
              <a:gd name="connsiteY24" fmla="*/ 492404 h 1353297"/>
              <a:gd name="connsiteX25" fmla="*/ 8651436 w 10678681"/>
              <a:gd name="connsiteY25" fmla="*/ 511923 h 1353297"/>
              <a:gd name="connsiteX26" fmla="*/ 8609185 w 10678681"/>
              <a:gd name="connsiteY26" fmla="*/ 531525 h 1353297"/>
              <a:gd name="connsiteX27" fmla="*/ 8537091 w 10678681"/>
              <a:gd name="connsiteY27" fmla="*/ 574933 h 1353297"/>
              <a:gd name="connsiteX28" fmla="*/ 8435931 w 10678681"/>
              <a:gd name="connsiteY28" fmla="*/ 617926 h 1353297"/>
              <a:gd name="connsiteX29" fmla="*/ 8348623 w 10678681"/>
              <a:gd name="connsiteY29" fmla="*/ 600607 h 1353297"/>
              <a:gd name="connsiteX30" fmla="*/ 8344233 w 10678681"/>
              <a:gd name="connsiteY30" fmla="*/ 610922 h 1353297"/>
              <a:gd name="connsiteX31" fmla="*/ 8290622 w 10678681"/>
              <a:gd name="connsiteY31" fmla="*/ 622687 h 1353297"/>
              <a:gd name="connsiteX32" fmla="*/ 8086698 w 10678681"/>
              <a:gd name="connsiteY32" fmla="*/ 605185 h 1353297"/>
              <a:gd name="connsiteX33" fmla="*/ 7982378 w 10678681"/>
              <a:gd name="connsiteY33" fmla="*/ 629799 h 1353297"/>
              <a:gd name="connsiteX34" fmla="*/ 7947952 w 10678681"/>
              <a:gd name="connsiteY34" fmla="*/ 648003 h 1353297"/>
              <a:gd name="connsiteX35" fmla="*/ 7890112 w 10678681"/>
              <a:gd name="connsiteY35" fmla="*/ 677915 h 1353297"/>
              <a:gd name="connsiteX36" fmla="*/ 7853284 w 10678681"/>
              <a:gd name="connsiteY36" fmla="*/ 723588 h 1353297"/>
              <a:gd name="connsiteX37" fmla="*/ 7802383 w 10678681"/>
              <a:gd name="connsiteY37" fmla="*/ 739359 h 1353297"/>
              <a:gd name="connsiteX38" fmla="*/ 7730518 w 10678681"/>
              <a:gd name="connsiteY38" fmla="*/ 739526 h 1353297"/>
              <a:gd name="connsiteX39" fmla="*/ 7652907 w 10678681"/>
              <a:gd name="connsiteY39" fmla="*/ 783273 h 1353297"/>
              <a:gd name="connsiteX40" fmla="*/ 7606008 w 10678681"/>
              <a:gd name="connsiteY40" fmla="*/ 800717 h 1353297"/>
              <a:gd name="connsiteX41" fmla="*/ 7480223 w 10678681"/>
              <a:gd name="connsiteY41" fmla="*/ 856821 h 1353297"/>
              <a:gd name="connsiteX42" fmla="*/ 7356005 w 10678681"/>
              <a:gd name="connsiteY42" fmla="*/ 919462 h 1353297"/>
              <a:gd name="connsiteX43" fmla="*/ 7305396 w 10678681"/>
              <a:gd name="connsiteY43" fmla="*/ 986228 h 1353297"/>
              <a:gd name="connsiteX44" fmla="*/ 7266251 w 10678681"/>
              <a:gd name="connsiteY44" fmla="*/ 967864 h 1353297"/>
              <a:gd name="connsiteX45" fmla="*/ 7269396 w 10678681"/>
              <a:gd name="connsiteY45" fmla="*/ 989282 h 1353297"/>
              <a:gd name="connsiteX46" fmla="*/ 7258094 w 10678681"/>
              <a:gd name="connsiteY46" fmla="*/ 990679 h 1353297"/>
              <a:gd name="connsiteX47" fmla="*/ 7257893 w 10678681"/>
              <a:gd name="connsiteY47" fmla="*/ 991204 h 1353297"/>
              <a:gd name="connsiteX48" fmla="*/ 7247153 w 10678681"/>
              <a:gd name="connsiteY48" fmla="*/ 991550 h 1353297"/>
              <a:gd name="connsiteX49" fmla="*/ 7193612 w 10678681"/>
              <a:gd name="connsiteY49" fmla="*/ 987042 h 1353297"/>
              <a:gd name="connsiteX50" fmla="*/ 7132632 w 10678681"/>
              <a:gd name="connsiteY50" fmla="*/ 1042036 h 1353297"/>
              <a:gd name="connsiteX51" fmla="*/ 7105610 w 10678681"/>
              <a:gd name="connsiteY51" fmla="*/ 1053537 h 1353297"/>
              <a:gd name="connsiteX52" fmla="*/ 7069148 w 10678681"/>
              <a:gd name="connsiteY52" fmla="*/ 1047163 h 1353297"/>
              <a:gd name="connsiteX53" fmla="*/ 7039634 w 10678681"/>
              <a:gd name="connsiteY53" fmla="*/ 1059971 h 1353297"/>
              <a:gd name="connsiteX54" fmla="*/ 7033445 w 10678681"/>
              <a:gd name="connsiteY54" fmla="*/ 1063314 h 1353297"/>
              <a:gd name="connsiteX55" fmla="*/ 6999157 w 10678681"/>
              <a:gd name="connsiteY55" fmla="*/ 1055282 h 1353297"/>
              <a:gd name="connsiteX56" fmla="*/ 6981874 w 10678681"/>
              <a:gd name="connsiteY56" fmla="*/ 1053827 h 1353297"/>
              <a:gd name="connsiteX57" fmla="*/ 6976102 w 10678681"/>
              <a:gd name="connsiteY57" fmla="*/ 1047854 h 1353297"/>
              <a:gd name="connsiteX58" fmla="*/ 6951040 w 10678681"/>
              <a:gd name="connsiteY58" fmla="*/ 1048531 h 1353297"/>
              <a:gd name="connsiteX59" fmla="*/ 6948497 w 10678681"/>
              <a:gd name="connsiteY59" fmla="*/ 1050706 h 1353297"/>
              <a:gd name="connsiteX60" fmla="*/ 6926582 w 10678681"/>
              <a:gd name="connsiteY60" fmla="*/ 1043462 h 1353297"/>
              <a:gd name="connsiteX61" fmla="*/ 6833743 w 10678681"/>
              <a:gd name="connsiteY61" fmla="*/ 1027960 h 1353297"/>
              <a:gd name="connsiteX62" fmla="*/ 6687090 w 10678681"/>
              <a:gd name="connsiteY62" fmla="*/ 1063250 h 1353297"/>
              <a:gd name="connsiteX63" fmla="*/ 6437450 w 10678681"/>
              <a:gd name="connsiteY63" fmla="*/ 1101075 h 1353297"/>
              <a:gd name="connsiteX64" fmla="*/ 6327795 w 10678681"/>
              <a:gd name="connsiteY64" fmla="*/ 1088142 h 1353297"/>
              <a:gd name="connsiteX65" fmla="*/ 6136549 w 10678681"/>
              <a:gd name="connsiteY65" fmla="*/ 1100268 h 1353297"/>
              <a:gd name="connsiteX66" fmla="*/ 6004655 w 10678681"/>
              <a:gd name="connsiteY66" fmla="*/ 1114946 h 1353297"/>
              <a:gd name="connsiteX67" fmla="*/ 5936643 w 10678681"/>
              <a:gd name="connsiteY67" fmla="*/ 1095428 h 1353297"/>
              <a:gd name="connsiteX68" fmla="*/ 5912484 w 10678681"/>
              <a:gd name="connsiteY68" fmla="*/ 1112624 h 1353297"/>
              <a:gd name="connsiteX69" fmla="*/ 5908387 w 10678681"/>
              <a:gd name="connsiteY69" fmla="*/ 1116018 h 1353297"/>
              <a:gd name="connsiteX70" fmla="*/ 5890495 w 10678681"/>
              <a:gd name="connsiteY70" fmla="*/ 1120268 h 1353297"/>
              <a:gd name="connsiteX71" fmla="*/ 5887318 w 10678681"/>
              <a:gd name="connsiteY71" fmla="*/ 1133134 h 1353297"/>
              <a:gd name="connsiteX72" fmla="*/ 5861726 w 10678681"/>
              <a:gd name="connsiteY72" fmla="*/ 1147891 h 1353297"/>
              <a:gd name="connsiteX73" fmla="*/ 5805823 w 10678681"/>
              <a:gd name="connsiteY73" fmla="*/ 1152457 h 1353297"/>
              <a:gd name="connsiteX74" fmla="*/ 5689841 w 10678681"/>
              <a:gd name="connsiteY74" fmla="*/ 1176232 h 1353297"/>
              <a:gd name="connsiteX75" fmla="*/ 5605119 w 10678681"/>
              <a:gd name="connsiteY75" fmla="*/ 1190202 h 1353297"/>
              <a:gd name="connsiteX76" fmla="*/ 5488513 w 10678681"/>
              <a:gd name="connsiteY76" fmla="*/ 1205367 h 1353297"/>
              <a:gd name="connsiteX77" fmla="*/ 5402905 w 10678681"/>
              <a:gd name="connsiteY77" fmla="*/ 1241191 h 1353297"/>
              <a:gd name="connsiteX78" fmla="*/ 5285593 w 10678681"/>
              <a:gd name="connsiteY78" fmla="*/ 1273569 h 1353297"/>
              <a:gd name="connsiteX79" fmla="*/ 5192893 w 10678681"/>
              <a:gd name="connsiteY79" fmla="*/ 1247188 h 1353297"/>
              <a:gd name="connsiteX80" fmla="*/ 5186475 w 10678681"/>
              <a:gd name="connsiteY80" fmla="*/ 1257028 h 1353297"/>
              <a:gd name="connsiteX81" fmla="*/ 5126038 w 10678681"/>
              <a:gd name="connsiteY81" fmla="*/ 1263189 h 1353297"/>
              <a:gd name="connsiteX82" fmla="*/ 4894688 w 10678681"/>
              <a:gd name="connsiteY82" fmla="*/ 1247184 h 1353297"/>
              <a:gd name="connsiteX83" fmla="*/ 4788036 w 10678681"/>
              <a:gd name="connsiteY83" fmla="*/ 1238182 h 1353297"/>
              <a:gd name="connsiteX84" fmla="*/ 4747555 w 10678681"/>
              <a:gd name="connsiteY84" fmla="*/ 1252768 h 1353297"/>
              <a:gd name="connsiteX85" fmla="*/ 4679644 w 10678681"/>
              <a:gd name="connsiteY85" fmla="*/ 1276603 h 1353297"/>
              <a:gd name="connsiteX86" fmla="*/ 4632222 w 10678681"/>
              <a:gd name="connsiteY86" fmla="*/ 1318360 h 1353297"/>
              <a:gd name="connsiteX87" fmla="*/ 4617358 w 10678681"/>
              <a:gd name="connsiteY87" fmla="*/ 1327690 h 1353297"/>
              <a:gd name="connsiteX88" fmla="*/ 4589102 w 10678681"/>
              <a:gd name="connsiteY88" fmla="*/ 1321223 h 1353297"/>
              <a:gd name="connsiteX89" fmla="*/ 4578184 w 10678681"/>
              <a:gd name="connsiteY89" fmla="*/ 1326745 h 1353297"/>
              <a:gd name="connsiteX90" fmla="*/ 4574270 w 10678681"/>
              <a:gd name="connsiteY90" fmla="*/ 1325878 h 1353297"/>
              <a:gd name="connsiteX91" fmla="*/ 4564919 w 10678681"/>
              <a:gd name="connsiteY91" fmla="*/ 1325507 h 1353297"/>
              <a:gd name="connsiteX92" fmla="*/ 4566586 w 10678681"/>
              <a:gd name="connsiteY92" fmla="*/ 1316963 h 1353297"/>
              <a:gd name="connsiteX93" fmla="*/ 4556303 w 10678681"/>
              <a:gd name="connsiteY93" fmla="*/ 1300262 h 1353297"/>
              <a:gd name="connsiteX94" fmla="*/ 4502358 w 10678681"/>
              <a:gd name="connsiteY94" fmla="*/ 1302558 h 1353297"/>
              <a:gd name="connsiteX95" fmla="*/ 4498919 w 10678681"/>
              <a:gd name="connsiteY95" fmla="*/ 1312115 h 1353297"/>
              <a:gd name="connsiteX96" fmla="*/ 4492075 w 10678681"/>
              <a:gd name="connsiteY96" fmla="*/ 1313357 h 1353297"/>
              <a:gd name="connsiteX97" fmla="*/ 4487466 w 10678681"/>
              <a:gd name="connsiteY97" fmla="*/ 1304102 h 1353297"/>
              <a:gd name="connsiteX98" fmla="*/ 4398292 w 10678681"/>
              <a:gd name="connsiteY98" fmla="*/ 1278410 h 1353297"/>
              <a:gd name="connsiteX99" fmla="*/ 4306088 w 10678681"/>
              <a:gd name="connsiteY99" fmla="*/ 1282512 h 1353297"/>
              <a:gd name="connsiteX100" fmla="*/ 4188995 w 10678681"/>
              <a:gd name="connsiteY100" fmla="*/ 1296718 h 1353297"/>
              <a:gd name="connsiteX101" fmla="*/ 4136582 w 10678681"/>
              <a:gd name="connsiteY101" fmla="*/ 1287687 h 1353297"/>
              <a:gd name="connsiteX102" fmla="*/ 4064614 w 10678681"/>
              <a:gd name="connsiteY102" fmla="*/ 1296118 h 1353297"/>
              <a:gd name="connsiteX103" fmla="*/ 3906561 w 10678681"/>
              <a:gd name="connsiteY103" fmla="*/ 1352435 h 1353297"/>
              <a:gd name="connsiteX104" fmla="*/ 3787890 w 10678681"/>
              <a:gd name="connsiteY104" fmla="*/ 1352442 h 1353297"/>
              <a:gd name="connsiteX105" fmla="*/ 3745993 w 10678681"/>
              <a:gd name="connsiteY105" fmla="*/ 1342630 h 1353297"/>
              <a:gd name="connsiteX106" fmla="*/ 3675785 w 10678681"/>
              <a:gd name="connsiteY106" fmla="*/ 1326802 h 1353297"/>
              <a:gd name="connsiteX107" fmla="*/ 3623856 w 10678681"/>
              <a:gd name="connsiteY107" fmla="*/ 1290804 h 1353297"/>
              <a:gd name="connsiteX108" fmla="*/ 3564933 w 10678681"/>
              <a:gd name="connsiteY108" fmla="*/ 1287147 h 1353297"/>
              <a:gd name="connsiteX109" fmla="*/ 3550537 w 10678681"/>
              <a:gd name="connsiteY109" fmla="*/ 1317552 h 1353297"/>
              <a:gd name="connsiteX110" fmla="*/ 3487736 w 10678681"/>
              <a:gd name="connsiteY110" fmla="*/ 1303493 h 1353297"/>
              <a:gd name="connsiteX111" fmla="*/ 3392548 w 10678681"/>
              <a:gd name="connsiteY111" fmla="*/ 1278741 h 1353297"/>
              <a:gd name="connsiteX112" fmla="*/ 3337466 w 10678681"/>
              <a:gd name="connsiteY112" fmla="*/ 1272537 h 1353297"/>
              <a:gd name="connsiteX113" fmla="*/ 3187206 w 10678681"/>
              <a:gd name="connsiteY113" fmla="*/ 1246821 h 1353297"/>
              <a:gd name="connsiteX114" fmla="*/ 3036856 w 10678681"/>
              <a:gd name="connsiteY114" fmla="*/ 1214383 h 1353297"/>
              <a:gd name="connsiteX115" fmla="*/ 2824973 w 10678681"/>
              <a:gd name="connsiteY115" fmla="*/ 1134864 h 1353297"/>
              <a:gd name="connsiteX116" fmla="*/ 2804398 w 10678681"/>
              <a:gd name="connsiteY116" fmla="*/ 1125556 h 1353297"/>
              <a:gd name="connsiteX117" fmla="*/ 2775396 w 10678681"/>
              <a:gd name="connsiteY117" fmla="*/ 1130148 h 1353297"/>
              <a:gd name="connsiteX118" fmla="*/ 2659096 w 10678681"/>
              <a:gd name="connsiteY118" fmla="*/ 1150294 h 1353297"/>
              <a:gd name="connsiteX119" fmla="*/ 2567088 w 10678681"/>
              <a:gd name="connsiteY119" fmla="*/ 1181781 h 1353297"/>
              <a:gd name="connsiteX120" fmla="*/ 2454501 w 10678681"/>
              <a:gd name="connsiteY120" fmla="*/ 1155455 h 1353297"/>
              <a:gd name="connsiteX121" fmla="*/ 2385161 w 10678681"/>
              <a:gd name="connsiteY121" fmla="*/ 1161312 h 1353297"/>
              <a:gd name="connsiteX122" fmla="*/ 2273361 w 10678681"/>
              <a:gd name="connsiteY122" fmla="*/ 1134090 h 1353297"/>
              <a:gd name="connsiteX123" fmla="*/ 2132003 w 10678681"/>
              <a:gd name="connsiteY123" fmla="*/ 1139225 h 1353297"/>
              <a:gd name="connsiteX124" fmla="*/ 2052449 w 10678681"/>
              <a:gd name="connsiteY124" fmla="*/ 1109687 h 1353297"/>
              <a:gd name="connsiteX125" fmla="*/ 2010157 w 10678681"/>
              <a:gd name="connsiteY125" fmla="*/ 1152767 h 1353297"/>
              <a:gd name="connsiteX126" fmla="*/ 1901837 w 10678681"/>
              <a:gd name="connsiteY126" fmla="*/ 1221762 h 1353297"/>
              <a:gd name="connsiteX127" fmla="*/ 1836762 w 10678681"/>
              <a:gd name="connsiteY127" fmla="*/ 1237387 h 1353297"/>
              <a:gd name="connsiteX128" fmla="*/ 1735877 w 10678681"/>
              <a:gd name="connsiteY128" fmla="*/ 1246527 h 1353297"/>
              <a:gd name="connsiteX129" fmla="*/ 1705069 w 10678681"/>
              <a:gd name="connsiteY129" fmla="*/ 1251989 h 1353297"/>
              <a:gd name="connsiteX130" fmla="*/ 1408915 w 10678681"/>
              <a:gd name="connsiteY130" fmla="*/ 1268017 h 1353297"/>
              <a:gd name="connsiteX131" fmla="*/ 1220734 w 10678681"/>
              <a:gd name="connsiteY131" fmla="*/ 1257811 h 1353297"/>
              <a:gd name="connsiteX132" fmla="*/ 1021737 w 10678681"/>
              <a:gd name="connsiteY132" fmla="*/ 1238739 h 1353297"/>
              <a:gd name="connsiteX133" fmla="*/ 959820 w 10678681"/>
              <a:gd name="connsiteY133" fmla="*/ 1275863 h 1353297"/>
              <a:gd name="connsiteX134" fmla="*/ 929137 w 10678681"/>
              <a:gd name="connsiteY134" fmla="*/ 1273957 h 1353297"/>
              <a:gd name="connsiteX135" fmla="*/ 878849 w 10678681"/>
              <a:gd name="connsiteY135" fmla="*/ 1266740 h 1353297"/>
              <a:gd name="connsiteX136" fmla="*/ 800667 w 10678681"/>
              <a:gd name="connsiteY136" fmla="*/ 1282041 h 1353297"/>
              <a:gd name="connsiteX137" fmla="*/ 644906 w 10678681"/>
              <a:gd name="connsiteY137" fmla="*/ 1273685 h 1353297"/>
              <a:gd name="connsiteX138" fmla="*/ 379869 w 10678681"/>
              <a:gd name="connsiteY138" fmla="*/ 1339165 h 1353297"/>
              <a:gd name="connsiteX139" fmla="*/ 137696 w 10678681"/>
              <a:gd name="connsiteY139" fmla="*/ 1319217 h 1353297"/>
              <a:gd name="connsiteX140" fmla="*/ 54250 w 10678681"/>
              <a:gd name="connsiteY140" fmla="*/ 1315838 h 1353297"/>
              <a:gd name="connsiteX141" fmla="*/ 28042 w 10678681"/>
              <a:gd name="connsiteY141" fmla="*/ 1297822 h 1353297"/>
              <a:gd name="connsiteX142" fmla="*/ 0 w 10678681"/>
              <a:gd name="connsiteY142" fmla="*/ 1294612 h 1353297"/>
              <a:gd name="connsiteX143" fmla="*/ 0 w 10678681"/>
              <a:gd name="connsiteY143" fmla="*/ 0 h 1353297"/>
              <a:gd name="connsiteX0" fmla="*/ 0 w 10678681"/>
              <a:gd name="connsiteY0" fmla="*/ 0 h 1353297"/>
              <a:gd name="connsiteX1" fmla="*/ 10678681 w 10678681"/>
              <a:gd name="connsiteY1" fmla="*/ 0 h 1353297"/>
              <a:gd name="connsiteX2" fmla="*/ 10666019 w 10678681"/>
              <a:gd name="connsiteY2" fmla="*/ 7876 h 1353297"/>
              <a:gd name="connsiteX3" fmla="*/ 10632825 w 10678681"/>
              <a:gd name="connsiteY3" fmla="*/ 32153 h 1353297"/>
              <a:gd name="connsiteX4" fmla="*/ 10510605 w 10678681"/>
              <a:gd name="connsiteY4" fmla="*/ 30449 h 1353297"/>
              <a:gd name="connsiteX5" fmla="*/ 10456989 w 10678681"/>
              <a:gd name="connsiteY5" fmla="*/ 979 h 1353297"/>
              <a:gd name="connsiteX6" fmla="*/ 10438642 w 10678681"/>
              <a:gd name="connsiteY6" fmla="*/ 1524 h 1353297"/>
              <a:gd name="connsiteX7" fmla="*/ 10407146 w 10678681"/>
              <a:gd name="connsiteY7" fmla="*/ 43659 h 1353297"/>
              <a:gd name="connsiteX8" fmla="*/ 10357996 w 10678681"/>
              <a:gd name="connsiteY8" fmla="*/ 50836 h 1353297"/>
              <a:gd name="connsiteX9" fmla="*/ 10306667 w 10678681"/>
              <a:gd name="connsiteY9" fmla="*/ 109739 h 1353297"/>
              <a:gd name="connsiteX10" fmla="*/ 10115334 w 10678681"/>
              <a:gd name="connsiteY10" fmla="*/ 155658 h 1353297"/>
              <a:gd name="connsiteX11" fmla="*/ 10068157 w 10678681"/>
              <a:gd name="connsiteY11" fmla="*/ 215673 h 1353297"/>
              <a:gd name="connsiteX12" fmla="*/ 10045431 w 10678681"/>
              <a:gd name="connsiteY12" fmla="*/ 229568 h 1353297"/>
              <a:gd name="connsiteX13" fmla="*/ 10013265 w 10678681"/>
              <a:gd name="connsiteY13" fmla="*/ 284757 h 1353297"/>
              <a:gd name="connsiteX14" fmla="*/ 9862496 w 10678681"/>
              <a:gd name="connsiteY14" fmla="*/ 223033 h 1353297"/>
              <a:gd name="connsiteX15" fmla="*/ 9679638 w 10678681"/>
              <a:gd name="connsiteY15" fmla="*/ 277462 h 1353297"/>
              <a:gd name="connsiteX16" fmla="*/ 9498347 w 10678681"/>
              <a:gd name="connsiteY16" fmla="*/ 244723 h 1353297"/>
              <a:gd name="connsiteX17" fmla="*/ 9399702 w 10678681"/>
              <a:gd name="connsiteY17" fmla="*/ 276316 h 1353297"/>
              <a:gd name="connsiteX18" fmla="*/ 9378439 w 10678681"/>
              <a:gd name="connsiteY18" fmla="*/ 326244 h 1353297"/>
              <a:gd name="connsiteX19" fmla="*/ 9121744 w 10678681"/>
              <a:gd name="connsiteY19" fmla="*/ 365177 h 1353297"/>
              <a:gd name="connsiteX20" fmla="*/ 9061654 w 10678681"/>
              <a:gd name="connsiteY20" fmla="*/ 393730 h 1353297"/>
              <a:gd name="connsiteX21" fmla="*/ 8997577 w 10678681"/>
              <a:gd name="connsiteY21" fmla="*/ 380865 h 1353297"/>
              <a:gd name="connsiteX22" fmla="*/ 8907968 w 10678681"/>
              <a:gd name="connsiteY22" fmla="*/ 447345 h 1353297"/>
              <a:gd name="connsiteX23" fmla="*/ 8764163 w 10678681"/>
              <a:gd name="connsiteY23" fmla="*/ 471000 h 1353297"/>
              <a:gd name="connsiteX24" fmla="*/ 8680155 w 10678681"/>
              <a:gd name="connsiteY24" fmla="*/ 492404 h 1353297"/>
              <a:gd name="connsiteX25" fmla="*/ 8651436 w 10678681"/>
              <a:gd name="connsiteY25" fmla="*/ 511923 h 1353297"/>
              <a:gd name="connsiteX26" fmla="*/ 8609185 w 10678681"/>
              <a:gd name="connsiteY26" fmla="*/ 531525 h 1353297"/>
              <a:gd name="connsiteX27" fmla="*/ 8537091 w 10678681"/>
              <a:gd name="connsiteY27" fmla="*/ 574933 h 1353297"/>
              <a:gd name="connsiteX28" fmla="*/ 8435931 w 10678681"/>
              <a:gd name="connsiteY28" fmla="*/ 617926 h 1353297"/>
              <a:gd name="connsiteX29" fmla="*/ 8348623 w 10678681"/>
              <a:gd name="connsiteY29" fmla="*/ 600607 h 1353297"/>
              <a:gd name="connsiteX30" fmla="*/ 8344233 w 10678681"/>
              <a:gd name="connsiteY30" fmla="*/ 610922 h 1353297"/>
              <a:gd name="connsiteX31" fmla="*/ 8290622 w 10678681"/>
              <a:gd name="connsiteY31" fmla="*/ 622687 h 1353297"/>
              <a:gd name="connsiteX32" fmla="*/ 8086698 w 10678681"/>
              <a:gd name="connsiteY32" fmla="*/ 605185 h 1353297"/>
              <a:gd name="connsiteX33" fmla="*/ 7982378 w 10678681"/>
              <a:gd name="connsiteY33" fmla="*/ 629799 h 1353297"/>
              <a:gd name="connsiteX34" fmla="*/ 7947952 w 10678681"/>
              <a:gd name="connsiteY34" fmla="*/ 648003 h 1353297"/>
              <a:gd name="connsiteX35" fmla="*/ 7890112 w 10678681"/>
              <a:gd name="connsiteY35" fmla="*/ 677915 h 1353297"/>
              <a:gd name="connsiteX36" fmla="*/ 7853284 w 10678681"/>
              <a:gd name="connsiteY36" fmla="*/ 723588 h 1353297"/>
              <a:gd name="connsiteX37" fmla="*/ 7802383 w 10678681"/>
              <a:gd name="connsiteY37" fmla="*/ 739359 h 1353297"/>
              <a:gd name="connsiteX38" fmla="*/ 7730518 w 10678681"/>
              <a:gd name="connsiteY38" fmla="*/ 739526 h 1353297"/>
              <a:gd name="connsiteX39" fmla="*/ 7652907 w 10678681"/>
              <a:gd name="connsiteY39" fmla="*/ 783273 h 1353297"/>
              <a:gd name="connsiteX40" fmla="*/ 7606008 w 10678681"/>
              <a:gd name="connsiteY40" fmla="*/ 800717 h 1353297"/>
              <a:gd name="connsiteX41" fmla="*/ 7480223 w 10678681"/>
              <a:gd name="connsiteY41" fmla="*/ 856821 h 1353297"/>
              <a:gd name="connsiteX42" fmla="*/ 7356005 w 10678681"/>
              <a:gd name="connsiteY42" fmla="*/ 919462 h 1353297"/>
              <a:gd name="connsiteX43" fmla="*/ 7305396 w 10678681"/>
              <a:gd name="connsiteY43" fmla="*/ 986228 h 1353297"/>
              <a:gd name="connsiteX44" fmla="*/ 7266251 w 10678681"/>
              <a:gd name="connsiteY44" fmla="*/ 967864 h 1353297"/>
              <a:gd name="connsiteX45" fmla="*/ 7269396 w 10678681"/>
              <a:gd name="connsiteY45" fmla="*/ 989282 h 1353297"/>
              <a:gd name="connsiteX46" fmla="*/ 7258094 w 10678681"/>
              <a:gd name="connsiteY46" fmla="*/ 990679 h 1353297"/>
              <a:gd name="connsiteX47" fmla="*/ 7257893 w 10678681"/>
              <a:gd name="connsiteY47" fmla="*/ 991204 h 1353297"/>
              <a:gd name="connsiteX48" fmla="*/ 7247153 w 10678681"/>
              <a:gd name="connsiteY48" fmla="*/ 991550 h 1353297"/>
              <a:gd name="connsiteX49" fmla="*/ 7193612 w 10678681"/>
              <a:gd name="connsiteY49" fmla="*/ 987042 h 1353297"/>
              <a:gd name="connsiteX50" fmla="*/ 7132632 w 10678681"/>
              <a:gd name="connsiteY50" fmla="*/ 1042036 h 1353297"/>
              <a:gd name="connsiteX51" fmla="*/ 7105610 w 10678681"/>
              <a:gd name="connsiteY51" fmla="*/ 1053537 h 1353297"/>
              <a:gd name="connsiteX52" fmla="*/ 7069148 w 10678681"/>
              <a:gd name="connsiteY52" fmla="*/ 1047163 h 1353297"/>
              <a:gd name="connsiteX53" fmla="*/ 7039634 w 10678681"/>
              <a:gd name="connsiteY53" fmla="*/ 1059971 h 1353297"/>
              <a:gd name="connsiteX54" fmla="*/ 7033445 w 10678681"/>
              <a:gd name="connsiteY54" fmla="*/ 1063314 h 1353297"/>
              <a:gd name="connsiteX55" fmla="*/ 6999157 w 10678681"/>
              <a:gd name="connsiteY55" fmla="*/ 1055282 h 1353297"/>
              <a:gd name="connsiteX56" fmla="*/ 6981874 w 10678681"/>
              <a:gd name="connsiteY56" fmla="*/ 1053827 h 1353297"/>
              <a:gd name="connsiteX57" fmla="*/ 6976102 w 10678681"/>
              <a:gd name="connsiteY57" fmla="*/ 1047854 h 1353297"/>
              <a:gd name="connsiteX58" fmla="*/ 6951040 w 10678681"/>
              <a:gd name="connsiteY58" fmla="*/ 1048531 h 1353297"/>
              <a:gd name="connsiteX59" fmla="*/ 6948497 w 10678681"/>
              <a:gd name="connsiteY59" fmla="*/ 1050706 h 1353297"/>
              <a:gd name="connsiteX60" fmla="*/ 6926582 w 10678681"/>
              <a:gd name="connsiteY60" fmla="*/ 1043462 h 1353297"/>
              <a:gd name="connsiteX61" fmla="*/ 6833743 w 10678681"/>
              <a:gd name="connsiteY61" fmla="*/ 1027960 h 1353297"/>
              <a:gd name="connsiteX62" fmla="*/ 6687090 w 10678681"/>
              <a:gd name="connsiteY62" fmla="*/ 1063250 h 1353297"/>
              <a:gd name="connsiteX63" fmla="*/ 6437450 w 10678681"/>
              <a:gd name="connsiteY63" fmla="*/ 1101075 h 1353297"/>
              <a:gd name="connsiteX64" fmla="*/ 6327795 w 10678681"/>
              <a:gd name="connsiteY64" fmla="*/ 1088142 h 1353297"/>
              <a:gd name="connsiteX65" fmla="*/ 6136549 w 10678681"/>
              <a:gd name="connsiteY65" fmla="*/ 1100268 h 1353297"/>
              <a:gd name="connsiteX66" fmla="*/ 6004655 w 10678681"/>
              <a:gd name="connsiteY66" fmla="*/ 1114946 h 1353297"/>
              <a:gd name="connsiteX67" fmla="*/ 5936643 w 10678681"/>
              <a:gd name="connsiteY67" fmla="*/ 1095428 h 1353297"/>
              <a:gd name="connsiteX68" fmla="*/ 5912484 w 10678681"/>
              <a:gd name="connsiteY68" fmla="*/ 1112624 h 1353297"/>
              <a:gd name="connsiteX69" fmla="*/ 5908387 w 10678681"/>
              <a:gd name="connsiteY69" fmla="*/ 1116018 h 1353297"/>
              <a:gd name="connsiteX70" fmla="*/ 5890495 w 10678681"/>
              <a:gd name="connsiteY70" fmla="*/ 1120268 h 1353297"/>
              <a:gd name="connsiteX71" fmla="*/ 5887318 w 10678681"/>
              <a:gd name="connsiteY71" fmla="*/ 1133134 h 1353297"/>
              <a:gd name="connsiteX72" fmla="*/ 5861726 w 10678681"/>
              <a:gd name="connsiteY72" fmla="*/ 1147891 h 1353297"/>
              <a:gd name="connsiteX73" fmla="*/ 5805823 w 10678681"/>
              <a:gd name="connsiteY73" fmla="*/ 1152457 h 1353297"/>
              <a:gd name="connsiteX74" fmla="*/ 5689841 w 10678681"/>
              <a:gd name="connsiteY74" fmla="*/ 1176232 h 1353297"/>
              <a:gd name="connsiteX75" fmla="*/ 5605119 w 10678681"/>
              <a:gd name="connsiteY75" fmla="*/ 1190202 h 1353297"/>
              <a:gd name="connsiteX76" fmla="*/ 5488513 w 10678681"/>
              <a:gd name="connsiteY76" fmla="*/ 1205367 h 1353297"/>
              <a:gd name="connsiteX77" fmla="*/ 5402905 w 10678681"/>
              <a:gd name="connsiteY77" fmla="*/ 1241191 h 1353297"/>
              <a:gd name="connsiteX78" fmla="*/ 5285593 w 10678681"/>
              <a:gd name="connsiteY78" fmla="*/ 1273569 h 1353297"/>
              <a:gd name="connsiteX79" fmla="*/ 5192893 w 10678681"/>
              <a:gd name="connsiteY79" fmla="*/ 1247188 h 1353297"/>
              <a:gd name="connsiteX80" fmla="*/ 5186475 w 10678681"/>
              <a:gd name="connsiteY80" fmla="*/ 1257028 h 1353297"/>
              <a:gd name="connsiteX81" fmla="*/ 5126038 w 10678681"/>
              <a:gd name="connsiteY81" fmla="*/ 1263189 h 1353297"/>
              <a:gd name="connsiteX82" fmla="*/ 4894688 w 10678681"/>
              <a:gd name="connsiteY82" fmla="*/ 1247184 h 1353297"/>
              <a:gd name="connsiteX83" fmla="*/ 4788036 w 10678681"/>
              <a:gd name="connsiteY83" fmla="*/ 1238182 h 1353297"/>
              <a:gd name="connsiteX84" fmla="*/ 4747555 w 10678681"/>
              <a:gd name="connsiteY84" fmla="*/ 1252768 h 1353297"/>
              <a:gd name="connsiteX85" fmla="*/ 4679644 w 10678681"/>
              <a:gd name="connsiteY85" fmla="*/ 1276603 h 1353297"/>
              <a:gd name="connsiteX86" fmla="*/ 4632222 w 10678681"/>
              <a:gd name="connsiteY86" fmla="*/ 1318360 h 1353297"/>
              <a:gd name="connsiteX87" fmla="*/ 4617358 w 10678681"/>
              <a:gd name="connsiteY87" fmla="*/ 1327690 h 1353297"/>
              <a:gd name="connsiteX88" fmla="*/ 4589102 w 10678681"/>
              <a:gd name="connsiteY88" fmla="*/ 1321223 h 1353297"/>
              <a:gd name="connsiteX89" fmla="*/ 4578184 w 10678681"/>
              <a:gd name="connsiteY89" fmla="*/ 1326745 h 1353297"/>
              <a:gd name="connsiteX90" fmla="*/ 4574270 w 10678681"/>
              <a:gd name="connsiteY90" fmla="*/ 1325878 h 1353297"/>
              <a:gd name="connsiteX91" fmla="*/ 4564919 w 10678681"/>
              <a:gd name="connsiteY91" fmla="*/ 1325507 h 1353297"/>
              <a:gd name="connsiteX92" fmla="*/ 4566586 w 10678681"/>
              <a:gd name="connsiteY92" fmla="*/ 1316963 h 1353297"/>
              <a:gd name="connsiteX93" fmla="*/ 4556303 w 10678681"/>
              <a:gd name="connsiteY93" fmla="*/ 1300262 h 1353297"/>
              <a:gd name="connsiteX94" fmla="*/ 4502358 w 10678681"/>
              <a:gd name="connsiteY94" fmla="*/ 1302558 h 1353297"/>
              <a:gd name="connsiteX95" fmla="*/ 4498919 w 10678681"/>
              <a:gd name="connsiteY95" fmla="*/ 1312115 h 1353297"/>
              <a:gd name="connsiteX96" fmla="*/ 4492075 w 10678681"/>
              <a:gd name="connsiteY96" fmla="*/ 1313357 h 1353297"/>
              <a:gd name="connsiteX97" fmla="*/ 4487466 w 10678681"/>
              <a:gd name="connsiteY97" fmla="*/ 1304102 h 1353297"/>
              <a:gd name="connsiteX98" fmla="*/ 4398292 w 10678681"/>
              <a:gd name="connsiteY98" fmla="*/ 1278410 h 1353297"/>
              <a:gd name="connsiteX99" fmla="*/ 4306088 w 10678681"/>
              <a:gd name="connsiteY99" fmla="*/ 1282512 h 1353297"/>
              <a:gd name="connsiteX100" fmla="*/ 4188995 w 10678681"/>
              <a:gd name="connsiteY100" fmla="*/ 1296718 h 1353297"/>
              <a:gd name="connsiteX101" fmla="*/ 4136582 w 10678681"/>
              <a:gd name="connsiteY101" fmla="*/ 1287687 h 1353297"/>
              <a:gd name="connsiteX102" fmla="*/ 4064614 w 10678681"/>
              <a:gd name="connsiteY102" fmla="*/ 1296118 h 1353297"/>
              <a:gd name="connsiteX103" fmla="*/ 3906561 w 10678681"/>
              <a:gd name="connsiteY103" fmla="*/ 1352435 h 1353297"/>
              <a:gd name="connsiteX104" fmla="*/ 3787890 w 10678681"/>
              <a:gd name="connsiteY104" fmla="*/ 1352442 h 1353297"/>
              <a:gd name="connsiteX105" fmla="*/ 3745993 w 10678681"/>
              <a:gd name="connsiteY105" fmla="*/ 1342630 h 1353297"/>
              <a:gd name="connsiteX106" fmla="*/ 3675785 w 10678681"/>
              <a:gd name="connsiteY106" fmla="*/ 1326802 h 1353297"/>
              <a:gd name="connsiteX107" fmla="*/ 3623856 w 10678681"/>
              <a:gd name="connsiteY107" fmla="*/ 1290804 h 1353297"/>
              <a:gd name="connsiteX108" fmla="*/ 3564933 w 10678681"/>
              <a:gd name="connsiteY108" fmla="*/ 1287147 h 1353297"/>
              <a:gd name="connsiteX109" fmla="*/ 3550537 w 10678681"/>
              <a:gd name="connsiteY109" fmla="*/ 1317552 h 1353297"/>
              <a:gd name="connsiteX110" fmla="*/ 3487736 w 10678681"/>
              <a:gd name="connsiteY110" fmla="*/ 1303493 h 1353297"/>
              <a:gd name="connsiteX111" fmla="*/ 3392548 w 10678681"/>
              <a:gd name="connsiteY111" fmla="*/ 1278741 h 1353297"/>
              <a:gd name="connsiteX112" fmla="*/ 3337466 w 10678681"/>
              <a:gd name="connsiteY112" fmla="*/ 1272537 h 1353297"/>
              <a:gd name="connsiteX113" fmla="*/ 3187206 w 10678681"/>
              <a:gd name="connsiteY113" fmla="*/ 1246821 h 1353297"/>
              <a:gd name="connsiteX114" fmla="*/ 3036856 w 10678681"/>
              <a:gd name="connsiteY114" fmla="*/ 1214383 h 1353297"/>
              <a:gd name="connsiteX115" fmla="*/ 2824973 w 10678681"/>
              <a:gd name="connsiteY115" fmla="*/ 1134864 h 1353297"/>
              <a:gd name="connsiteX116" fmla="*/ 2804398 w 10678681"/>
              <a:gd name="connsiteY116" fmla="*/ 1125556 h 1353297"/>
              <a:gd name="connsiteX117" fmla="*/ 2775396 w 10678681"/>
              <a:gd name="connsiteY117" fmla="*/ 1130148 h 1353297"/>
              <a:gd name="connsiteX118" fmla="*/ 2659096 w 10678681"/>
              <a:gd name="connsiteY118" fmla="*/ 1150294 h 1353297"/>
              <a:gd name="connsiteX119" fmla="*/ 2567088 w 10678681"/>
              <a:gd name="connsiteY119" fmla="*/ 1181781 h 1353297"/>
              <a:gd name="connsiteX120" fmla="*/ 2454501 w 10678681"/>
              <a:gd name="connsiteY120" fmla="*/ 1155455 h 1353297"/>
              <a:gd name="connsiteX121" fmla="*/ 2385161 w 10678681"/>
              <a:gd name="connsiteY121" fmla="*/ 1161312 h 1353297"/>
              <a:gd name="connsiteX122" fmla="*/ 2273361 w 10678681"/>
              <a:gd name="connsiteY122" fmla="*/ 1134090 h 1353297"/>
              <a:gd name="connsiteX123" fmla="*/ 2132003 w 10678681"/>
              <a:gd name="connsiteY123" fmla="*/ 1139225 h 1353297"/>
              <a:gd name="connsiteX124" fmla="*/ 2052449 w 10678681"/>
              <a:gd name="connsiteY124" fmla="*/ 1109687 h 1353297"/>
              <a:gd name="connsiteX125" fmla="*/ 2010157 w 10678681"/>
              <a:gd name="connsiteY125" fmla="*/ 1152767 h 1353297"/>
              <a:gd name="connsiteX126" fmla="*/ 1901837 w 10678681"/>
              <a:gd name="connsiteY126" fmla="*/ 1221762 h 1353297"/>
              <a:gd name="connsiteX127" fmla="*/ 1836762 w 10678681"/>
              <a:gd name="connsiteY127" fmla="*/ 1237387 h 1353297"/>
              <a:gd name="connsiteX128" fmla="*/ 1735877 w 10678681"/>
              <a:gd name="connsiteY128" fmla="*/ 1246527 h 1353297"/>
              <a:gd name="connsiteX129" fmla="*/ 1705069 w 10678681"/>
              <a:gd name="connsiteY129" fmla="*/ 1251989 h 1353297"/>
              <a:gd name="connsiteX130" fmla="*/ 1408915 w 10678681"/>
              <a:gd name="connsiteY130" fmla="*/ 1268017 h 1353297"/>
              <a:gd name="connsiteX131" fmla="*/ 1220734 w 10678681"/>
              <a:gd name="connsiteY131" fmla="*/ 1257811 h 1353297"/>
              <a:gd name="connsiteX132" fmla="*/ 1021737 w 10678681"/>
              <a:gd name="connsiteY132" fmla="*/ 1238739 h 1353297"/>
              <a:gd name="connsiteX133" fmla="*/ 959820 w 10678681"/>
              <a:gd name="connsiteY133" fmla="*/ 1275863 h 1353297"/>
              <a:gd name="connsiteX134" fmla="*/ 929137 w 10678681"/>
              <a:gd name="connsiteY134" fmla="*/ 1273957 h 1353297"/>
              <a:gd name="connsiteX135" fmla="*/ 878849 w 10678681"/>
              <a:gd name="connsiteY135" fmla="*/ 1266740 h 1353297"/>
              <a:gd name="connsiteX136" fmla="*/ 800667 w 10678681"/>
              <a:gd name="connsiteY136" fmla="*/ 1282041 h 1353297"/>
              <a:gd name="connsiteX137" fmla="*/ 644906 w 10678681"/>
              <a:gd name="connsiteY137" fmla="*/ 1273685 h 1353297"/>
              <a:gd name="connsiteX138" fmla="*/ 379869 w 10678681"/>
              <a:gd name="connsiteY138" fmla="*/ 1339165 h 1353297"/>
              <a:gd name="connsiteX139" fmla="*/ 137696 w 10678681"/>
              <a:gd name="connsiteY139" fmla="*/ 1319217 h 1353297"/>
              <a:gd name="connsiteX140" fmla="*/ 54250 w 10678681"/>
              <a:gd name="connsiteY140" fmla="*/ 1315838 h 1353297"/>
              <a:gd name="connsiteX141" fmla="*/ 28042 w 10678681"/>
              <a:gd name="connsiteY141" fmla="*/ 1297822 h 1353297"/>
              <a:gd name="connsiteX142" fmla="*/ 0 w 10678681"/>
              <a:gd name="connsiteY142" fmla="*/ 1294612 h 1353297"/>
              <a:gd name="connsiteX143" fmla="*/ 0 w 10678681"/>
              <a:gd name="connsiteY143" fmla="*/ 0 h 1353297"/>
              <a:gd name="connsiteX0" fmla="*/ 0 w 10678681"/>
              <a:gd name="connsiteY0" fmla="*/ 0 h 1353297"/>
              <a:gd name="connsiteX1" fmla="*/ 10678681 w 10678681"/>
              <a:gd name="connsiteY1" fmla="*/ 0 h 1353297"/>
              <a:gd name="connsiteX2" fmla="*/ 10666019 w 10678681"/>
              <a:gd name="connsiteY2" fmla="*/ 7876 h 1353297"/>
              <a:gd name="connsiteX3" fmla="*/ 10632825 w 10678681"/>
              <a:gd name="connsiteY3" fmla="*/ 32153 h 1353297"/>
              <a:gd name="connsiteX4" fmla="*/ 10510605 w 10678681"/>
              <a:gd name="connsiteY4" fmla="*/ 30449 h 1353297"/>
              <a:gd name="connsiteX5" fmla="*/ 10456989 w 10678681"/>
              <a:gd name="connsiteY5" fmla="*/ 979 h 1353297"/>
              <a:gd name="connsiteX6" fmla="*/ 10438642 w 10678681"/>
              <a:gd name="connsiteY6" fmla="*/ 1524 h 1353297"/>
              <a:gd name="connsiteX7" fmla="*/ 10407146 w 10678681"/>
              <a:gd name="connsiteY7" fmla="*/ 43659 h 1353297"/>
              <a:gd name="connsiteX8" fmla="*/ 10357996 w 10678681"/>
              <a:gd name="connsiteY8" fmla="*/ 50836 h 1353297"/>
              <a:gd name="connsiteX9" fmla="*/ 10306667 w 10678681"/>
              <a:gd name="connsiteY9" fmla="*/ 109739 h 1353297"/>
              <a:gd name="connsiteX10" fmla="*/ 10115334 w 10678681"/>
              <a:gd name="connsiteY10" fmla="*/ 155658 h 1353297"/>
              <a:gd name="connsiteX11" fmla="*/ 10068157 w 10678681"/>
              <a:gd name="connsiteY11" fmla="*/ 215673 h 1353297"/>
              <a:gd name="connsiteX12" fmla="*/ 10045431 w 10678681"/>
              <a:gd name="connsiteY12" fmla="*/ 229568 h 1353297"/>
              <a:gd name="connsiteX13" fmla="*/ 10013265 w 10678681"/>
              <a:gd name="connsiteY13" fmla="*/ 284757 h 1353297"/>
              <a:gd name="connsiteX14" fmla="*/ 9862496 w 10678681"/>
              <a:gd name="connsiteY14" fmla="*/ 223033 h 1353297"/>
              <a:gd name="connsiteX15" fmla="*/ 9679638 w 10678681"/>
              <a:gd name="connsiteY15" fmla="*/ 277462 h 1353297"/>
              <a:gd name="connsiteX16" fmla="*/ 9498347 w 10678681"/>
              <a:gd name="connsiteY16" fmla="*/ 244723 h 1353297"/>
              <a:gd name="connsiteX17" fmla="*/ 9399702 w 10678681"/>
              <a:gd name="connsiteY17" fmla="*/ 276316 h 1353297"/>
              <a:gd name="connsiteX18" fmla="*/ 9378439 w 10678681"/>
              <a:gd name="connsiteY18" fmla="*/ 326244 h 1353297"/>
              <a:gd name="connsiteX19" fmla="*/ 9121744 w 10678681"/>
              <a:gd name="connsiteY19" fmla="*/ 365177 h 1353297"/>
              <a:gd name="connsiteX20" fmla="*/ 9061654 w 10678681"/>
              <a:gd name="connsiteY20" fmla="*/ 393730 h 1353297"/>
              <a:gd name="connsiteX21" fmla="*/ 8997577 w 10678681"/>
              <a:gd name="connsiteY21" fmla="*/ 380865 h 1353297"/>
              <a:gd name="connsiteX22" fmla="*/ 8907968 w 10678681"/>
              <a:gd name="connsiteY22" fmla="*/ 447345 h 1353297"/>
              <a:gd name="connsiteX23" fmla="*/ 8764163 w 10678681"/>
              <a:gd name="connsiteY23" fmla="*/ 471000 h 1353297"/>
              <a:gd name="connsiteX24" fmla="*/ 8680155 w 10678681"/>
              <a:gd name="connsiteY24" fmla="*/ 492404 h 1353297"/>
              <a:gd name="connsiteX25" fmla="*/ 8651436 w 10678681"/>
              <a:gd name="connsiteY25" fmla="*/ 511923 h 1353297"/>
              <a:gd name="connsiteX26" fmla="*/ 8609185 w 10678681"/>
              <a:gd name="connsiteY26" fmla="*/ 531525 h 1353297"/>
              <a:gd name="connsiteX27" fmla="*/ 8537091 w 10678681"/>
              <a:gd name="connsiteY27" fmla="*/ 574933 h 1353297"/>
              <a:gd name="connsiteX28" fmla="*/ 8435931 w 10678681"/>
              <a:gd name="connsiteY28" fmla="*/ 617926 h 1353297"/>
              <a:gd name="connsiteX29" fmla="*/ 8348623 w 10678681"/>
              <a:gd name="connsiteY29" fmla="*/ 600607 h 1353297"/>
              <a:gd name="connsiteX30" fmla="*/ 8344233 w 10678681"/>
              <a:gd name="connsiteY30" fmla="*/ 610922 h 1353297"/>
              <a:gd name="connsiteX31" fmla="*/ 8290622 w 10678681"/>
              <a:gd name="connsiteY31" fmla="*/ 622687 h 1353297"/>
              <a:gd name="connsiteX32" fmla="*/ 8086698 w 10678681"/>
              <a:gd name="connsiteY32" fmla="*/ 605185 h 1353297"/>
              <a:gd name="connsiteX33" fmla="*/ 7982378 w 10678681"/>
              <a:gd name="connsiteY33" fmla="*/ 629799 h 1353297"/>
              <a:gd name="connsiteX34" fmla="*/ 7947952 w 10678681"/>
              <a:gd name="connsiteY34" fmla="*/ 648003 h 1353297"/>
              <a:gd name="connsiteX35" fmla="*/ 7890112 w 10678681"/>
              <a:gd name="connsiteY35" fmla="*/ 677915 h 1353297"/>
              <a:gd name="connsiteX36" fmla="*/ 7853284 w 10678681"/>
              <a:gd name="connsiteY36" fmla="*/ 723588 h 1353297"/>
              <a:gd name="connsiteX37" fmla="*/ 7802383 w 10678681"/>
              <a:gd name="connsiteY37" fmla="*/ 739359 h 1353297"/>
              <a:gd name="connsiteX38" fmla="*/ 7730518 w 10678681"/>
              <a:gd name="connsiteY38" fmla="*/ 739526 h 1353297"/>
              <a:gd name="connsiteX39" fmla="*/ 7652907 w 10678681"/>
              <a:gd name="connsiteY39" fmla="*/ 783273 h 1353297"/>
              <a:gd name="connsiteX40" fmla="*/ 7606008 w 10678681"/>
              <a:gd name="connsiteY40" fmla="*/ 800717 h 1353297"/>
              <a:gd name="connsiteX41" fmla="*/ 7480223 w 10678681"/>
              <a:gd name="connsiteY41" fmla="*/ 856821 h 1353297"/>
              <a:gd name="connsiteX42" fmla="*/ 7356005 w 10678681"/>
              <a:gd name="connsiteY42" fmla="*/ 919462 h 1353297"/>
              <a:gd name="connsiteX43" fmla="*/ 7305396 w 10678681"/>
              <a:gd name="connsiteY43" fmla="*/ 986228 h 1353297"/>
              <a:gd name="connsiteX44" fmla="*/ 7266251 w 10678681"/>
              <a:gd name="connsiteY44" fmla="*/ 967864 h 1353297"/>
              <a:gd name="connsiteX45" fmla="*/ 7269396 w 10678681"/>
              <a:gd name="connsiteY45" fmla="*/ 989282 h 1353297"/>
              <a:gd name="connsiteX46" fmla="*/ 7258094 w 10678681"/>
              <a:gd name="connsiteY46" fmla="*/ 990679 h 1353297"/>
              <a:gd name="connsiteX47" fmla="*/ 7257893 w 10678681"/>
              <a:gd name="connsiteY47" fmla="*/ 991204 h 1353297"/>
              <a:gd name="connsiteX48" fmla="*/ 7247153 w 10678681"/>
              <a:gd name="connsiteY48" fmla="*/ 991550 h 1353297"/>
              <a:gd name="connsiteX49" fmla="*/ 7193612 w 10678681"/>
              <a:gd name="connsiteY49" fmla="*/ 987042 h 1353297"/>
              <a:gd name="connsiteX50" fmla="*/ 7132632 w 10678681"/>
              <a:gd name="connsiteY50" fmla="*/ 1042036 h 1353297"/>
              <a:gd name="connsiteX51" fmla="*/ 7105610 w 10678681"/>
              <a:gd name="connsiteY51" fmla="*/ 1053537 h 1353297"/>
              <a:gd name="connsiteX52" fmla="*/ 7069148 w 10678681"/>
              <a:gd name="connsiteY52" fmla="*/ 1047163 h 1353297"/>
              <a:gd name="connsiteX53" fmla="*/ 7039634 w 10678681"/>
              <a:gd name="connsiteY53" fmla="*/ 1059971 h 1353297"/>
              <a:gd name="connsiteX54" fmla="*/ 7033445 w 10678681"/>
              <a:gd name="connsiteY54" fmla="*/ 1063314 h 1353297"/>
              <a:gd name="connsiteX55" fmla="*/ 6999157 w 10678681"/>
              <a:gd name="connsiteY55" fmla="*/ 1055282 h 1353297"/>
              <a:gd name="connsiteX56" fmla="*/ 6981874 w 10678681"/>
              <a:gd name="connsiteY56" fmla="*/ 1053827 h 1353297"/>
              <a:gd name="connsiteX57" fmla="*/ 6976102 w 10678681"/>
              <a:gd name="connsiteY57" fmla="*/ 1047854 h 1353297"/>
              <a:gd name="connsiteX58" fmla="*/ 6951040 w 10678681"/>
              <a:gd name="connsiteY58" fmla="*/ 1048531 h 1353297"/>
              <a:gd name="connsiteX59" fmla="*/ 6948497 w 10678681"/>
              <a:gd name="connsiteY59" fmla="*/ 1050706 h 1353297"/>
              <a:gd name="connsiteX60" fmla="*/ 6926582 w 10678681"/>
              <a:gd name="connsiteY60" fmla="*/ 1043462 h 1353297"/>
              <a:gd name="connsiteX61" fmla="*/ 6833743 w 10678681"/>
              <a:gd name="connsiteY61" fmla="*/ 1027960 h 1353297"/>
              <a:gd name="connsiteX62" fmla="*/ 6687090 w 10678681"/>
              <a:gd name="connsiteY62" fmla="*/ 1063250 h 1353297"/>
              <a:gd name="connsiteX63" fmla="*/ 6437450 w 10678681"/>
              <a:gd name="connsiteY63" fmla="*/ 1101075 h 1353297"/>
              <a:gd name="connsiteX64" fmla="*/ 6327795 w 10678681"/>
              <a:gd name="connsiteY64" fmla="*/ 1088142 h 1353297"/>
              <a:gd name="connsiteX65" fmla="*/ 6136549 w 10678681"/>
              <a:gd name="connsiteY65" fmla="*/ 1100268 h 1353297"/>
              <a:gd name="connsiteX66" fmla="*/ 6004655 w 10678681"/>
              <a:gd name="connsiteY66" fmla="*/ 1114946 h 1353297"/>
              <a:gd name="connsiteX67" fmla="*/ 5936643 w 10678681"/>
              <a:gd name="connsiteY67" fmla="*/ 1095428 h 1353297"/>
              <a:gd name="connsiteX68" fmla="*/ 5912484 w 10678681"/>
              <a:gd name="connsiteY68" fmla="*/ 1112624 h 1353297"/>
              <a:gd name="connsiteX69" fmla="*/ 5908387 w 10678681"/>
              <a:gd name="connsiteY69" fmla="*/ 1116018 h 1353297"/>
              <a:gd name="connsiteX70" fmla="*/ 5890495 w 10678681"/>
              <a:gd name="connsiteY70" fmla="*/ 1120268 h 1353297"/>
              <a:gd name="connsiteX71" fmla="*/ 5887318 w 10678681"/>
              <a:gd name="connsiteY71" fmla="*/ 1133134 h 1353297"/>
              <a:gd name="connsiteX72" fmla="*/ 5861726 w 10678681"/>
              <a:gd name="connsiteY72" fmla="*/ 1147891 h 1353297"/>
              <a:gd name="connsiteX73" fmla="*/ 5805823 w 10678681"/>
              <a:gd name="connsiteY73" fmla="*/ 1152457 h 1353297"/>
              <a:gd name="connsiteX74" fmla="*/ 5689841 w 10678681"/>
              <a:gd name="connsiteY74" fmla="*/ 1176232 h 1353297"/>
              <a:gd name="connsiteX75" fmla="*/ 5605119 w 10678681"/>
              <a:gd name="connsiteY75" fmla="*/ 1190202 h 1353297"/>
              <a:gd name="connsiteX76" fmla="*/ 5488513 w 10678681"/>
              <a:gd name="connsiteY76" fmla="*/ 1205367 h 1353297"/>
              <a:gd name="connsiteX77" fmla="*/ 5402905 w 10678681"/>
              <a:gd name="connsiteY77" fmla="*/ 1241191 h 1353297"/>
              <a:gd name="connsiteX78" fmla="*/ 5285593 w 10678681"/>
              <a:gd name="connsiteY78" fmla="*/ 1273569 h 1353297"/>
              <a:gd name="connsiteX79" fmla="*/ 5192893 w 10678681"/>
              <a:gd name="connsiteY79" fmla="*/ 1247188 h 1353297"/>
              <a:gd name="connsiteX80" fmla="*/ 5186475 w 10678681"/>
              <a:gd name="connsiteY80" fmla="*/ 1257028 h 1353297"/>
              <a:gd name="connsiteX81" fmla="*/ 5126038 w 10678681"/>
              <a:gd name="connsiteY81" fmla="*/ 1263189 h 1353297"/>
              <a:gd name="connsiteX82" fmla="*/ 4894688 w 10678681"/>
              <a:gd name="connsiteY82" fmla="*/ 1247184 h 1353297"/>
              <a:gd name="connsiteX83" fmla="*/ 4788036 w 10678681"/>
              <a:gd name="connsiteY83" fmla="*/ 1238182 h 1353297"/>
              <a:gd name="connsiteX84" fmla="*/ 4747555 w 10678681"/>
              <a:gd name="connsiteY84" fmla="*/ 1252768 h 1353297"/>
              <a:gd name="connsiteX85" fmla="*/ 4679644 w 10678681"/>
              <a:gd name="connsiteY85" fmla="*/ 1276603 h 1353297"/>
              <a:gd name="connsiteX86" fmla="*/ 4632222 w 10678681"/>
              <a:gd name="connsiteY86" fmla="*/ 1318360 h 1353297"/>
              <a:gd name="connsiteX87" fmla="*/ 4617358 w 10678681"/>
              <a:gd name="connsiteY87" fmla="*/ 1327690 h 1353297"/>
              <a:gd name="connsiteX88" fmla="*/ 4589102 w 10678681"/>
              <a:gd name="connsiteY88" fmla="*/ 1321223 h 1353297"/>
              <a:gd name="connsiteX89" fmla="*/ 4578184 w 10678681"/>
              <a:gd name="connsiteY89" fmla="*/ 1326745 h 1353297"/>
              <a:gd name="connsiteX90" fmla="*/ 4574270 w 10678681"/>
              <a:gd name="connsiteY90" fmla="*/ 1325878 h 1353297"/>
              <a:gd name="connsiteX91" fmla="*/ 4564919 w 10678681"/>
              <a:gd name="connsiteY91" fmla="*/ 1325507 h 1353297"/>
              <a:gd name="connsiteX92" fmla="*/ 4566586 w 10678681"/>
              <a:gd name="connsiteY92" fmla="*/ 1316963 h 1353297"/>
              <a:gd name="connsiteX93" fmla="*/ 4556303 w 10678681"/>
              <a:gd name="connsiteY93" fmla="*/ 1300262 h 1353297"/>
              <a:gd name="connsiteX94" fmla="*/ 4502358 w 10678681"/>
              <a:gd name="connsiteY94" fmla="*/ 1302558 h 1353297"/>
              <a:gd name="connsiteX95" fmla="*/ 4498919 w 10678681"/>
              <a:gd name="connsiteY95" fmla="*/ 1312115 h 1353297"/>
              <a:gd name="connsiteX96" fmla="*/ 4492075 w 10678681"/>
              <a:gd name="connsiteY96" fmla="*/ 1313357 h 1353297"/>
              <a:gd name="connsiteX97" fmla="*/ 4487466 w 10678681"/>
              <a:gd name="connsiteY97" fmla="*/ 1304102 h 1353297"/>
              <a:gd name="connsiteX98" fmla="*/ 4398292 w 10678681"/>
              <a:gd name="connsiteY98" fmla="*/ 1278410 h 1353297"/>
              <a:gd name="connsiteX99" fmla="*/ 4306088 w 10678681"/>
              <a:gd name="connsiteY99" fmla="*/ 1282512 h 1353297"/>
              <a:gd name="connsiteX100" fmla="*/ 4188995 w 10678681"/>
              <a:gd name="connsiteY100" fmla="*/ 1296718 h 1353297"/>
              <a:gd name="connsiteX101" fmla="*/ 4136582 w 10678681"/>
              <a:gd name="connsiteY101" fmla="*/ 1287687 h 1353297"/>
              <a:gd name="connsiteX102" fmla="*/ 4064614 w 10678681"/>
              <a:gd name="connsiteY102" fmla="*/ 1296118 h 1353297"/>
              <a:gd name="connsiteX103" fmla="*/ 3906561 w 10678681"/>
              <a:gd name="connsiteY103" fmla="*/ 1352435 h 1353297"/>
              <a:gd name="connsiteX104" fmla="*/ 3787890 w 10678681"/>
              <a:gd name="connsiteY104" fmla="*/ 1352442 h 1353297"/>
              <a:gd name="connsiteX105" fmla="*/ 3745993 w 10678681"/>
              <a:gd name="connsiteY105" fmla="*/ 1342630 h 1353297"/>
              <a:gd name="connsiteX106" fmla="*/ 3675785 w 10678681"/>
              <a:gd name="connsiteY106" fmla="*/ 1326802 h 1353297"/>
              <a:gd name="connsiteX107" fmla="*/ 3623856 w 10678681"/>
              <a:gd name="connsiteY107" fmla="*/ 1290804 h 1353297"/>
              <a:gd name="connsiteX108" fmla="*/ 3564933 w 10678681"/>
              <a:gd name="connsiteY108" fmla="*/ 1287147 h 1353297"/>
              <a:gd name="connsiteX109" fmla="*/ 3550537 w 10678681"/>
              <a:gd name="connsiteY109" fmla="*/ 1317552 h 1353297"/>
              <a:gd name="connsiteX110" fmla="*/ 3487736 w 10678681"/>
              <a:gd name="connsiteY110" fmla="*/ 1303493 h 1353297"/>
              <a:gd name="connsiteX111" fmla="*/ 3392548 w 10678681"/>
              <a:gd name="connsiteY111" fmla="*/ 1278741 h 1353297"/>
              <a:gd name="connsiteX112" fmla="*/ 3337466 w 10678681"/>
              <a:gd name="connsiteY112" fmla="*/ 1272537 h 1353297"/>
              <a:gd name="connsiteX113" fmla="*/ 3187206 w 10678681"/>
              <a:gd name="connsiteY113" fmla="*/ 1246821 h 1353297"/>
              <a:gd name="connsiteX114" fmla="*/ 3036856 w 10678681"/>
              <a:gd name="connsiteY114" fmla="*/ 1214383 h 1353297"/>
              <a:gd name="connsiteX115" fmla="*/ 2824973 w 10678681"/>
              <a:gd name="connsiteY115" fmla="*/ 1134864 h 1353297"/>
              <a:gd name="connsiteX116" fmla="*/ 2804398 w 10678681"/>
              <a:gd name="connsiteY116" fmla="*/ 1125556 h 1353297"/>
              <a:gd name="connsiteX117" fmla="*/ 2775396 w 10678681"/>
              <a:gd name="connsiteY117" fmla="*/ 1130148 h 1353297"/>
              <a:gd name="connsiteX118" fmla="*/ 2659096 w 10678681"/>
              <a:gd name="connsiteY118" fmla="*/ 1150294 h 1353297"/>
              <a:gd name="connsiteX119" fmla="*/ 2567088 w 10678681"/>
              <a:gd name="connsiteY119" fmla="*/ 1181781 h 1353297"/>
              <a:gd name="connsiteX120" fmla="*/ 2454501 w 10678681"/>
              <a:gd name="connsiteY120" fmla="*/ 1155455 h 1353297"/>
              <a:gd name="connsiteX121" fmla="*/ 2385161 w 10678681"/>
              <a:gd name="connsiteY121" fmla="*/ 1161312 h 1353297"/>
              <a:gd name="connsiteX122" fmla="*/ 2273361 w 10678681"/>
              <a:gd name="connsiteY122" fmla="*/ 1134090 h 1353297"/>
              <a:gd name="connsiteX123" fmla="*/ 2132003 w 10678681"/>
              <a:gd name="connsiteY123" fmla="*/ 1139225 h 1353297"/>
              <a:gd name="connsiteX124" fmla="*/ 2052449 w 10678681"/>
              <a:gd name="connsiteY124" fmla="*/ 1109687 h 1353297"/>
              <a:gd name="connsiteX125" fmla="*/ 2010157 w 10678681"/>
              <a:gd name="connsiteY125" fmla="*/ 1152767 h 1353297"/>
              <a:gd name="connsiteX126" fmla="*/ 1901837 w 10678681"/>
              <a:gd name="connsiteY126" fmla="*/ 1221762 h 1353297"/>
              <a:gd name="connsiteX127" fmla="*/ 1836762 w 10678681"/>
              <a:gd name="connsiteY127" fmla="*/ 1237387 h 1353297"/>
              <a:gd name="connsiteX128" fmla="*/ 1735877 w 10678681"/>
              <a:gd name="connsiteY128" fmla="*/ 1246527 h 1353297"/>
              <a:gd name="connsiteX129" fmla="*/ 1705069 w 10678681"/>
              <a:gd name="connsiteY129" fmla="*/ 1251989 h 1353297"/>
              <a:gd name="connsiteX130" fmla="*/ 1307888 w 10678681"/>
              <a:gd name="connsiteY130" fmla="*/ 1283156 h 1353297"/>
              <a:gd name="connsiteX131" fmla="*/ 1220734 w 10678681"/>
              <a:gd name="connsiteY131" fmla="*/ 1257811 h 1353297"/>
              <a:gd name="connsiteX132" fmla="*/ 1021737 w 10678681"/>
              <a:gd name="connsiteY132" fmla="*/ 1238739 h 1353297"/>
              <a:gd name="connsiteX133" fmla="*/ 959820 w 10678681"/>
              <a:gd name="connsiteY133" fmla="*/ 1275863 h 1353297"/>
              <a:gd name="connsiteX134" fmla="*/ 929137 w 10678681"/>
              <a:gd name="connsiteY134" fmla="*/ 1273957 h 1353297"/>
              <a:gd name="connsiteX135" fmla="*/ 878849 w 10678681"/>
              <a:gd name="connsiteY135" fmla="*/ 1266740 h 1353297"/>
              <a:gd name="connsiteX136" fmla="*/ 800667 w 10678681"/>
              <a:gd name="connsiteY136" fmla="*/ 1282041 h 1353297"/>
              <a:gd name="connsiteX137" fmla="*/ 644906 w 10678681"/>
              <a:gd name="connsiteY137" fmla="*/ 1273685 h 1353297"/>
              <a:gd name="connsiteX138" fmla="*/ 379869 w 10678681"/>
              <a:gd name="connsiteY138" fmla="*/ 1339165 h 1353297"/>
              <a:gd name="connsiteX139" fmla="*/ 137696 w 10678681"/>
              <a:gd name="connsiteY139" fmla="*/ 1319217 h 1353297"/>
              <a:gd name="connsiteX140" fmla="*/ 54250 w 10678681"/>
              <a:gd name="connsiteY140" fmla="*/ 1315838 h 1353297"/>
              <a:gd name="connsiteX141" fmla="*/ 28042 w 10678681"/>
              <a:gd name="connsiteY141" fmla="*/ 1297822 h 1353297"/>
              <a:gd name="connsiteX142" fmla="*/ 0 w 10678681"/>
              <a:gd name="connsiteY142" fmla="*/ 1294612 h 1353297"/>
              <a:gd name="connsiteX143" fmla="*/ 0 w 10678681"/>
              <a:gd name="connsiteY143" fmla="*/ 0 h 1353297"/>
              <a:gd name="connsiteX0" fmla="*/ 0 w 10678681"/>
              <a:gd name="connsiteY0" fmla="*/ 0 h 1353297"/>
              <a:gd name="connsiteX1" fmla="*/ 10678681 w 10678681"/>
              <a:gd name="connsiteY1" fmla="*/ 0 h 1353297"/>
              <a:gd name="connsiteX2" fmla="*/ 10666019 w 10678681"/>
              <a:gd name="connsiteY2" fmla="*/ 7876 h 1353297"/>
              <a:gd name="connsiteX3" fmla="*/ 10632825 w 10678681"/>
              <a:gd name="connsiteY3" fmla="*/ 32153 h 1353297"/>
              <a:gd name="connsiteX4" fmla="*/ 10510605 w 10678681"/>
              <a:gd name="connsiteY4" fmla="*/ 30449 h 1353297"/>
              <a:gd name="connsiteX5" fmla="*/ 10456989 w 10678681"/>
              <a:gd name="connsiteY5" fmla="*/ 979 h 1353297"/>
              <a:gd name="connsiteX6" fmla="*/ 10438642 w 10678681"/>
              <a:gd name="connsiteY6" fmla="*/ 1524 h 1353297"/>
              <a:gd name="connsiteX7" fmla="*/ 10407146 w 10678681"/>
              <a:gd name="connsiteY7" fmla="*/ 43659 h 1353297"/>
              <a:gd name="connsiteX8" fmla="*/ 10357996 w 10678681"/>
              <a:gd name="connsiteY8" fmla="*/ 50836 h 1353297"/>
              <a:gd name="connsiteX9" fmla="*/ 10306667 w 10678681"/>
              <a:gd name="connsiteY9" fmla="*/ 109739 h 1353297"/>
              <a:gd name="connsiteX10" fmla="*/ 10115334 w 10678681"/>
              <a:gd name="connsiteY10" fmla="*/ 155658 h 1353297"/>
              <a:gd name="connsiteX11" fmla="*/ 10068157 w 10678681"/>
              <a:gd name="connsiteY11" fmla="*/ 215673 h 1353297"/>
              <a:gd name="connsiteX12" fmla="*/ 10045431 w 10678681"/>
              <a:gd name="connsiteY12" fmla="*/ 229568 h 1353297"/>
              <a:gd name="connsiteX13" fmla="*/ 10013265 w 10678681"/>
              <a:gd name="connsiteY13" fmla="*/ 284757 h 1353297"/>
              <a:gd name="connsiteX14" fmla="*/ 9862496 w 10678681"/>
              <a:gd name="connsiteY14" fmla="*/ 223033 h 1353297"/>
              <a:gd name="connsiteX15" fmla="*/ 9679638 w 10678681"/>
              <a:gd name="connsiteY15" fmla="*/ 277462 h 1353297"/>
              <a:gd name="connsiteX16" fmla="*/ 9498347 w 10678681"/>
              <a:gd name="connsiteY16" fmla="*/ 244723 h 1353297"/>
              <a:gd name="connsiteX17" fmla="*/ 9399702 w 10678681"/>
              <a:gd name="connsiteY17" fmla="*/ 276316 h 1353297"/>
              <a:gd name="connsiteX18" fmla="*/ 9378439 w 10678681"/>
              <a:gd name="connsiteY18" fmla="*/ 326244 h 1353297"/>
              <a:gd name="connsiteX19" fmla="*/ 9121744 w 10678681"/>
              <a:gd name="connsiteY19" fmla="*/ 365177 h 1353297"/>
              <a:gd name="connsiteX20" fmla="*/ 9061654 w 10678681"/>
              <a:gd name="connsiteY20" fmla="*/ 393730 h 1353297"/>
              <a:gd name="connsiteX21" fmla="*/ 8997577 w 10678681"/>
              <a:gd name="connsiteY21" fmla="*/ 380865 h 1353297"/>
              <a:gd name="connsiteX22" fmla="*/ 8907968 w 10678681"/>
              <a:gd name="connsiteY22" fmla="*/ 447345 h 1353297"/>
              <a:gd name="connsiteX23" fmla="*/ 8764163 w 10678681"/>
              <a:gd name="connsiteY23" fmla="*/ 471000 h 1353297"/>
              <a:gd name="connsiteX24" fmla="*/ 8680155 w 10678681"/>
              <a:gd name="connsiteY24" fmla="*/ 492404 h 1353297"/>
              <a:gd name="connsiteX25" fmla="*/ 8651436 w 10678681"/>
              <a:gd name="connsiteY25" fmla="*/ 511923 h 1353297"/>
              <a:gd name="connsiteX26" fmla="*/ 8609185 w 10678681"/>
              <a:gd name="connsiteY26" fmla="*/ 531525 h 1353297"/>
              <a:gd name="connsiteX27" fmla="*/ 8537091 w 10678681"/>
              <a:gd name="connsiteY27" fmla="*/ 574933 h 1353297"/>
              <a:gd name="connsiteX28" fmla="*/ 8435931 w 10678681"/>
              <a:gd name="connsiteY28" fmla="*/ 617926 h 1353297"/>
              <a:gd name="connsiteX29" fmla="*/ 8348623 w 10678681"/>
              <a:gd name="connsiteY29" fmla="*/ 600607 h 1353297"/>
              <a:gd name="connsiteX30" fmla="*/ 8344233 w 10678681"/>
              <a:gd name="connsiteY30" fmla="*/ 610922 h 1353297"/>
              <a:gd name="connsiteX31" fmla="*/ 8290622 w 10678681"/>
              <a:gd name="connsiteY31" fmla="*/ 622687 h 1353297"/>
              <a:gd name="connsiteX32" fmla="*/ 8086698 w 10678681"/>
              <a:gd name="connsiteY32" fmla="*/ 605185 h 1353297"/>
              <a:gd name="connsiteX33" fmla="*/ 7982378 w 10678681"/>
              <a:gd name="connsiteY33" fmla="*/ 629799 h 1353297"/>
              <a:gd name="connsiteX34" fmla="*/ 7947952 w 10678681"/>
              <a:gd name="connsiteY34" fmla="*/ 648003 h 1353297"/>
              <a:gd name="connsiteX35" fmla="*/ 7890112 w 10678681"/>
              <a:gd name="connsiteY35" fmla="*/ 677915 h 1353297"/>
              <a:gd name="connsiteX36" fmla="*/ 7853284 w 10678681"/>
              <a:gd name="connsiteY36" fmla="*/ 723588 h 1353297"/>
              <a:gd name="connsiteX37" fmla="*/ 7802383 w 10678681"/>
              <a:gd name="connsiteY37" fmla="*/ 739359 h 1353297"/>
              <a:gd name="connsiteX38" fmla="*/ 7730518 w 10678681"/>
              <a:gd name="connsiteY38" fmla="*/ 739526 h 1353297"/>
              <a:gd name="connsiteX39" fmla="*/ 7652907 w 10678681"/>
              <a:gd name="connsiteY39" fmla="*/ 783273 h 1353297"/>
              <a:gd name="connsiteX40" fmla="*/ 7606008 w 10678681"/>
              <a:gd name="connsiteY40" fmla="*/ 800717 h 1353297"/>
              <a:gd name="connsiteX41" fmla="*/ 7480223 w 10678681"/>
              <a:gd name="connsiteY41" fmla="*/ 856821 h 1353297"/>
              <a:gd name="connsiteX42" fmla="*/ 7356005 w 10678681"/>
              <a:gd name="connsiteY42" fmla="*/ 919462 h 1353297"/>
              <a:gd name="connsiteX43" fmla="*/ 7305396 w 10678681"/>
              <a:gd name="connsiteY43" fmla="*/ 986228 h 1353297"/>
              <a:gd name="connsiteX44" fmla="*/ 7266251 w 10678681"/>
              <a:gd name="connsiteY44" fmla="*/ 967864 h 1353297"/>
              <a:gd name="connsiteX45" fmla="*/ 7269396 w 10678681"/>
              <a:gd name="connsiteY45" fmla="*/ 989282 h 1353297"/>
              <a:gd name="connsiteX46" fmla="*/ 7258094 w 10678681"/>
              <a:gd name="connsiteY46" fmla="*/ 990679 h 1353297"/>
              <a:gd name="connsiteX47" fmla="*/ 7257893 w 10678681"/>
              <a:gd name="connsiteY47" fmla="*/ 991204 h 1353297"/>
              <a:gd name="connsiteX48" fmla="*/ 7247153 w 10678681"/>
              <a:gd name="connsiteY48" fmla="*/ 991550 h 1353297"/>
              <a:gd name="connsiteX49" fmla="*/ 7193612 w 10678681"/>
              <a:gd name="connsiteY49" fmla="*/ 987042 h 1353297"/>
              <a:gd name="connsiteX50" fmla="*/ 7132632 w 10678681"/>
              <a:gd name="connsiteY50" fmla="*/ 1042036 h 1353297"/>
              <a:gd name="connsiteX51" fmla="*/ 7105610 w 10678681"/>
              <a:gd name="connsiteY51" fmla="*/ 1053537 h 1353297"/>
              <a:gd name="connsiteX52" fmla="*/ 7069148 w 10678681"/>
              <a:gd name="connsiteY52" fmla="*/ 1047163 h 1353297"/>
              <a:gd name="connsiteX53" fmla="*/ 7039634 w 10678681"/>
              <a:gd name="connsiteY53" fmla="*/ 1059971 h 1353297"/>
              <a:gd name="connsiteX54" fmla="*/ 7033445 w 10678681"/>
              <a:gd name="connsiteY54" fmla="*/ 1063314 h 1353297"/>
              <a:gd name="connsiteX55" fmla="*/ 6999157 w 10678681"/>
              <a:gd name="connsiteY55" fmla="*/ 1055282 h 1353297"/>
              <a:gd name="connsiteX56" fmla="*/ 6981874 w 10678681"/>
              <a:gd name="connsiteY56" fmla="*/ 1053827 h 1353297"/>
              <a:gd name="connsiteX57" fmla="*/ 6976102 w 10678681"/>
              <a:gd name="connsiteY57" fmla="*/ 1047854 h 1353297"/>
              <a:gd name="connsiteX58" fmla="*/ 6951040 w 10678681"/>
              <a:gd name="connsiteY58" fmla="*/ 1048531 h 1353297"/>
              <a:gd name="connsiteX59" fmla="*/ 6948497 w 10678681"/>
              <a:gd name="connsiteY59" fmla="*/ 1050706 h 1353297"/>
              <a:gd name="connsiteX60" fmla="*/ 6926582 w 10678681"/>
              <a:gd name="connsiteY60" fmla="*/ 1043462 h 1353297"/>
              <a:gd name="connsiteX61" fmla="*/ 6833743 w 10678681"/>
              <a:gd name="connsiteY61" fmla="*/ 1027960 h 1353297"/>
              <a:gd name="connsiteX62" fmla="*/ 6687090 w 10678681"/>
              <a:gd name="connsiteY62" fmla="*/ 1063250 h 1353297"/>
              <a:gd name="connsiteX63" fmla="*/ 6437450 w 10678681"/>
              <a:gd name="connsiteY63" fmla="*/ 1101075 h 1353297"/>
              <a:gd name="connsiteX64" fmla="*/ 6327795 w 10678681"/>
              <a:gd name="connsiteY64" fmla="*/ 1088142 h 1353297"/>
              <a:gd name="connsiteX65" fmla="*/ 6136549 w 10678681"/>
              <a:gd name="connsiteY65" fmla="*/ 1100268 h 1353297"/>
              <a:gd name="connsiteX66" fmla="*/ 6004655 w 10678681"/>
              <a:gd name="connsiteY66" fmla="*/ 1114946 h 1353297"/>
              <a:gd name="connsiteX67" fmla="*/ 5936643 w 10678681"/>
              <a:gd name="connsiteY67" fmla="*/ 1095428 h 1353297"/>
              <a:gd name="connsiteX68" fmla="*/ 5912484 w 10678681"/>
              <a:gd name="connsiteY68" fmla="*/ 1112624 h 1353297"/>
              <a:gd name="connsiteX69" fmla="*/ 5908387 w 10678681"/>
              <a:gd name="connsiteY69" fmla="*/ 1116018 h 1353297"/>
              <a:gd name="connsiteX70" fmla="*/ 5890495 w 10678681"/>
              <a:gd name="connsiteY70" fmla="*/ 1120268 h 1353297"/>
              <a:gd name="connsiteX71" fmla="*/ 5887318 w 10678681"/>
              <a:gd name="connsiteY71" fmla="*/ 1133134 h 1353297"/>
              <a:gd name="connsiteX72" fmla="*/ 5861726 w 10678681"/>
              <a:gd name="connsiteY72" fmla="*/ 1147891 h 1353297"/>
              <a:gd name="connsiteX73" fmla="*/ 5805823 w 10678681"/>
              <a:gd name="connsiteY73" fmla="*/ 1152457 h 1353297"/>
              <a:gd name="connsiteX74" fmla="*/ 5689841 w 10678681"/>
              <a:gd name="connsiteY74" fmla="*/ 1176232 h 1353297"/>
              <a:gd name="connsiteX75" fmla="*/ 5605119 w 10678681"/>
              <a:gd name="connsiteY75" fmla="*/ 1190202 h 1353297"/>
              <a:gd name="connsiteX76" fmla="*/ 5488513 w 10678681"/>
              <a:gd name="connsiteY76" fmla="*/ 1205367 h 1353297"/>
              <a:gd name="connsiteX77" fmla="*/ 5402905 w 10678681"/>
              <a:gd name="connsiteY77" fmla="*/ 1241191 h 1353297"/>
              <a:gd name="connsiteX78" fmla="*/ 5285593 w 10678681"/>
              <a:gd name="connsiteY78" fmla="*/ 1273569 h 1353297"/>
              <a:gd name="connsiteX79" fmla="*/ 5192893 w 10678681"/>
              <a:gd name="connsiteY79" fmla="*/ 1247188 h 1353297"/>
              <a:gd name="connsiteX80" fmla="*/ 5186475 w 10678681"/>
              <a:gd name="connsiteY80" fmla="*/ 1257028 h 1353297"/>
              <a:gd name="connsiteX81" fmla="*/ 5126038 w 10678681"/>
              <a:gd name="connsiteY81" fmla="*/ 1263189 h 1353297"/>
              <a:gd name="connsiteX82" fmla="*/ 4894688 w 10678681"/>
              <a:gd name="connsiteY82" fmla="*/ 1247184 h 1353297"/>
              <a:gd name="connsiteX83" fmla="*/ 4788036 w 10678681"/>
              <a:gd name="connsiteY83" fmla="*/ 1238182 h 1353297"/>
              <a:gd name="connsiteX84" fmla="*/ 4747555 w 10678681"/>
              <a:gd name="connsiteY84" fmla="*/ 1252768 h 1353297"/>
              <a:gd name="connsiteX85" fmla="*/ 4679644 w 10678681"/>
              <a:gd name="connsiteY85" fmla="*/ 1276603 h 1353297"/>
              <a:gd name="connsiteX86" fmla="*/ 4632222 w 10678681"/>
              <a:gd name="connsiteY86" fmla="*/ 1318360 h 1353297"/>
              <a:gd name="connsiteX87" fmla="*/ 4617358 w 10678681"/>
              <a:gd name="connsiteY87" fmla="*/ 1327690 h 1353297"/>
              <a:gd name="connsiteX88" fmla="*/ 4589102 w 10678681"/>
              <a:gd name="connsiteY88" fmla="*/ 1321223 h 1353297"/>
              <a:gd name="connsiteX89" fmla="*/ 4578184 w 10678681"/>
              <a:gd name="connsiteY89" fmla="*/ 1326745 h 1353297"/>
              <a:gd name="connsiteX90" fmla="*/ 4574270 w 10678681"/>
              <a:gd name="connsiteY90" fmla="*/ 1325878 h 1353297"/>
              <a:gd name="connsiteX91" fmla="*/ 4564919 w 10678681"/>
              <a:gd name="connsiteY91" fmla="*/ 1325507 h 1353297"/>
              <a:gd name="connsiteX92" fmla="*/ 4566586 w 10678681"/>
              <a:gd name="connsiteY92" fmla="*/ 1316963 h 1353297"/>
              <a:gd name="connsiteX93" fmla="*/ 4556303 w 10678681"/>
              <a:gd name="connsiteY93" fmla="*/ 1300262 h 1353297"/>
              <a:gd name="connsiteX94" fmla="*/ 4502358 w 10678681"/>
              <a:gd name="connsiteY94" fmla="*/ 1302558 h 1353297"/>
              <a:gd name="connsiteX95" fmla="*/ 4498919 w 10678681"/>
              <a:gd name="connsiteY95" fmla="*/ 1312115 h 1353297"/>
              <a:gd name="connsiteX96" fmla="*/ 4492075 w 10678681"/>
              <a:gd name="connsiteY96" fmla="*/ 1313357 h 1353297"/>
              <a:gd name="connsiteX97" fmla="*/ 4487466 w 10678681"/>
              <a:gd name="connsiteY97" fmla="*/ 1304102 h 1353297"/>
              <a:gd name="connsiteX98" fmla="*/ 4398292 w 10678681"/>
              <a:gd name="connsiteY98" fmla="*/ 1278410 h 1353297"/>
              <a:gd name="connsiteX99" fmla="*/ 4306088 w 10678681"/>
              <a:gd name="connsiteY99" fmla="*/ 1282512 h 1353297"/>
              <a:gd name="connsiteX100" fmla="*/ 4188995 w 10678681"/>
              <a:gd name="connsiteY100" fmla="*/ 1296718 h 1353297"/>
              <a:gd name="connsiteX101" fmla="*/ 4136582 w 10678681"/>
              <a:gd name="connsiteY101" fmla="*/ 1287687 h 1353297"/>
              <a:gd name="connsiteX102" fmla="*/ 4064614 w 10678681"/>
              <a:gd name="connsiteY102" fmla="*/ 1296118 h 1353297"/>
              <a:gd name="connsiteX103" fmla="*/ 3906561 w 10678681"/>
              <a:gd name="connsiteY103" fmla="*/ 1352435 h 1353297"/>
              <a:gd name="connsiteX104" fmla="*/ 3787890 w 10678681"/>
              <a:gd name="connsiteY104" fmla="*/ 1352442 h 1353297"/>
              <a:gd name="connsiteX105" fmla="*/ 3745993 w 10678681"/>
              <a:gd name="connsiteY105" fmla="*/ 1342630 h 1353297"/>
              <a:gd name="connsiteX106" fmla="*/ 3675785 w 10678681"/>
              <a:gd name="connsiteY106" fmla="*/ 1326802 h 1353297"/>
              <a:gd name="connsiteX107" fmla="*/ 3623856 w 10678681"/>
              <a:gd name="connsiteY107" fmla="*/ 1290804 h 1353297"/>
              <a:gd name="connsiteX108" fmla="*/ 3564933 w 10678681"/>
              <a:gd name="connsiteY108" fmla="*/ 1287147 h 1353297"/>
              <a:gd name="connsiteX109" fmla="*/ 3550537 w 10678681"/>
              <a:gd name="connsiteY109" fmla="*/ 1317552 h 1353297"/>
              <a:gd name="connsiteX110" fmla="*/ 3487736 w 10678681"/>
              <a:gd name="connsiteY110" fmla="*/ 1303493 h 1353297"/>
              <a:gd name="connsiteX111" fmla="*/ 3392548 w 10678681"/>
              <a:gd name="connsiteY111" fmla="*/ 1278741 h 1353297"/>
              <a:gd name="connsiteX112" fmla="*/ 3337466 w 10678681"/>
              <a:gd name="connsiteY112" fmla="*/ 1272537 h 1353297"/>
              <a:gd name="connsiteX113" fmla="*/ 3187206 w 10678681"/>
              <a:gd name="connsiteY113" fmla="*/ 1246821 h 1353297"/>
              <a:gd name="connsiteX114" fmla="*/ 3036856 w 10678681"/>
              <a:gd name="connsiteY114" fmla="*/ 1214383 h 1353297"/>
              <a:gd name="connsiteX115" fmla="*/ 2824973 w 10678681"/>
              <a:gd name="connsiteY115" fmla="*/ 1134864 h 1353297"/>
              <a:gd name="connsiteX116" fmla="*/ 2804398 w 10678681"/>
              <a:gd name="connsiteY116" fmla="*/ 1125556 h 1353297"/>
              <a:gd name="connsiteX117" fmla="*/ 2775396 w 10678681"/>
              <a:gd name="connsiteY117" fmla="*/ 1130148 h 1353297"/>
              <a:gd name="connsiteX118" fmla="*/ 2659096 w 10678681"/>
              <a:gd name="connsiteY118" fmla="*/ 1150294 h 1353297"/>
              <a:gd name="connsiteX119" fmla="*/ 2567088 w 10678681"/>
              <a:gd name="connsiteY119" fmla="*/ 1181781 h 1353297"/>
              <a:gd name="connsiteX120" fmla="*/ 2454501 w 10678681"/>
              <a:gd name="connsiteY120" fmla="*/ 1155455 h 1353297"/>
              <a:gd name="connsiteX121" fmla="*/ 2385161 w 10678681"/>
              <a:gd name="connsiteY121" fmla="*/ 1161312 h 1353297"/>
              <a:gd name="connsiteX122" fmla="*/ 2273361 w 10678681"/>
              <a:gd name="connsiteY122" fmla="*/ 1134090 h 1353297"/>
              <a:gd name="connsiteX123" fmla="*/ 2132003 w 10678681"/>
              <a:gd name="connsiteY123" fmla="*/ 1139225 h 1353297"/>
              <a:gd name="connsiteX124" fmla="*/ 2041224 w 10678681"/>
              <a:gd name="connsiteY124" fmla="*/ 1147536 h 1353297"/>
              <a:gd name="connsiteX125" fmla="*/ 2010157 w 10678681"/>
              <a:gd name="connsiteY125" fmla="*/ 1152767 h 1353297"/>
              <a:gd name="connsiteX126" fmla="*/ 1901837 w 10678681"/>
              <a:gd name="connsiteY126" fmla="*/ 1221762 h 1353297"/>
              <a:gd name="connsiteX127" fmla="*/ 1836762 w 10678681"/>
              <a:gd name="connsiteY127" fmla="*/ 1237387 h 1353297"/>
              <a:gd name="connsiteX128" fmla="*/ 1735877 w 10678681"/>
              <a:gd name="connsiteY128" fmla="*/ 1246527 h 1353297"/>
              <a:gd name="connsiteX129" fmla="*/ 1705069 w 10678681"/>
              <a:gd name="connsiteY129" fmla="*/ 1251989 h 1353297"/>
              <a:gd name="connsiteX130" fmla="*/ 1307888 w 10678681"/>
              <a:gd name="connsiteY130" fmla="*/ 1283156 h 1353297"/>
              <a:gd name="connsiteX131" fmla="*/ 1220734 w 10678681"/>
              <a:gd name="connsiteY131" fmla="*/ 1257811 h 1353297"/>
              <a:gd name="connsiteX132" fmla="*/ 1021737 w 10678681"/>
              <a:gd name="connsiteY132" fmla="*/ 1238739 h 1353297"/>
              <a:gd name="connsiteX133" fmla="*/ 959820 w 10678681"/>
              <a:gd name="connsiteY133" fmla="*/ 1275863 h 1353297"/>
              <a:gd name="connsiteX134" fmla="*/ 929137 w 10678681"/>
              <a:gd name="connsiteY134" fmla="*/ 1273957 h 1353297"/>
              <a:gd name="connsiteX135" fmla="*/ 878849 w 10678681"/>
              <a:gd name="connsiteY135" fmla="*/ 1266740 h 1353297"/>
              <a:gd name="connsiteX136" fmla="*/ 800667 w 10678681"/>
              <a:gd name="connsiteY136" fmla="*/ 1282041 h 1353297"/>
              <a:gd name="connsiteX137" fmla="*/ 644906 w 10678681"/>
              <a:gd name="connsiteY137" fmla="*/ 1273685 h 1353297"/>
              <a:gd name="connsiteX138" fmla="*/ 379869 w 10678681"/>
              <a:gd name="connsiteY138" fmla="*/ 1339165 h 1353297"/>
              <a:gd name="connsiteX139" fmla="*/ 137696 w 10678681"/>
              <a:gd name="connsiteY139" fmla="*/ 1319217 h 1353297"/>
              <a:gd name="connsiteX140" fmla="*/ 54250 w 10678681"/>
              <a:gd name="connsiteY140" fmla="*/ 1315838 h 1353297"/>
              <a:gd name="connsiteX141" fmla="*/ 28042 w 10678681"/>
              <a:gd name="connsiteY141" fmla="*/ 1297822 h 1353297"/>
              <a:gd name="connsiteX142" fmla="*/ 0 w 10678681"/>
              <a:gd name="connsiteY142" fmla="*/ 1294612 h 1353297"/>
              <a:gd name="connsiteX143" fmla="*/ 0 w 10678681"/>
              <a:gd name="connsiteY143" fmla="*/ 0 h 1353297"/>
              <a:gd name="connsiteX0" fmla="*/ 0 w 10678681"/>
              <a:gd name="connsiteY0" fmla="*/ 0 h 1353297"/>
              <a:gd name="connsiteX1" fmla="*/ 10678681 w 10678681"/>
              <a:gd name="connsiteY1" fmla="*/ 0 h 1353297"/>
              <a:gd name="connsiteX2" fmla="*/ 10666019 w 10678681"/>
              <a:gd name="connsiteY2" fmla="*/ 7876 h 1353297"/>
              <a:gd name="connsiteX3" fmla="*/ 10632825 w 10678681"/>
              <a:gd name="connsiteY3" fmla="*/ 32153 h 1353297"/>
              <a:gd name="connsiteX4" fmla="*/ 10510605 w 10678681"/>
              <a:gd name="connsiteY4" fmla="*/ 30449 h 1353297"/>
              <a:gd name="connsiteX5" fmla="*/ 10456989 w 10678681"/>
              <a:gd name="connsiteY5" fmla="*/ 979 h 1353297"/>
              <a:gd name="connsiteX6" fmla="*/ 10438642 w 10678681"/>
              <a:gd name="connsiteY6" fmla="*/ 1524 h 1353297"/>
              <a:gd name="connsiteX7" fmla="*/ 10407146 w 10678681"/>
              <a:gd name="connsiteY7" fmla="*/ 43659 h 1353297"/>
              <a:gd name="connsiteX8" fmla="*/ 10357996 w 10678681"/>
              <a:gd name="connsiteY8" fmla="*/ 50836 h 1353297"/>
              <a:gd name="connsiteX9" fmla="*/ 10306667 w 10678681"/>
              <a:gd name="connsiteY9" fmla="*/ 109739 h 1353297"/>
              <a:gd name="connsiteX10" fmla="*/ 10115334 w 10678681"/>
              <a:gd name="connsiteY10" fmla="*/ 155658 h 1353297"/>
              <a:gd name="connsiteX11" fmla="*/ 10068157 w 10678681"/>
              <a:gd name="connsiteY11" fmla="*/ 215673 h 1353297"/>
              <a:gd name="connsiteX12" fmla="*/ 10045431 w 10678681"/>
              <a:gd name="connsiteY12" fmla="*/ 229568 h 1353297"/>
              <a:gd name="connsiteX13" fmla="*/ 10013265 w 10678681"/>
              <a:gd name="connsiteY13" fmla="*/ 284757 h 1353297"/>
              <a:gd name="connsiteX14" fmla="*/ 9862496 w 10678681"/>
              <a:gd name="connsiteY14" fmla="*/ 223033 h 1353297"/>
              <a:gd name="connsiteX15" fmla="*/ 9679638 w 10678681"/>
              <a:gd name="connsiteY15" fmla="*/ 277462 h 1353297"/>
              <a:gd name="connsiteX16" fmla="*/ 9498347 w 10678681"/>
              <a:gd name="connsiteY16" fmla="*/ 244723 h 1353297"/>
              <a:gd name="connsiteX17" fmla="*/ 9399702 w 10678681"/>
              <a:gd name="connsiteY17" fmla="*/ 276316 h 1353297"/>
              <a:gd name="connsiteX18" fmla="*/ 9378439 w 10678681"/>
              <a:gd name="connsiteY18" fmla="*/ 326244 h 1353297"/>
              <a:gd name="connsiteX19" fmla="*/ 9121744 w 10678681"/>
              <a:gd name="connsiteY19" fmla="*/ 365177 h 1353297"/>
              <a:gd name="connsiteX20" fmla="*/ 9061654 w 10678681"/>
              <a:gd name="connsiteY20" fmla="*/ 393730 h 1353297"/>
              <a:gd name="connsiteX21" fmla="*/ 8997577 w 10678681"/>
              <a:gd name="connsiteY21" fmla="*/ 380865 h 1353297"/>
              <a:gd name="connsiteX22" fmla="*/ 8907968 w 10678681"/>
              <a:gd name="connsiteY22" fmla="*/ 447345 h 1353297"/>
              <a:gd name="connsiteX23" fmla="*/ 8764163 w 10678681"/>
              <a:gd name="connsiteY23" fmla="*/ 471000 h 1353297"/>
              <a:gd name="connsiteX24" fmla="*/ 8680155 w 10678681"/>
              <a:gd name="connsiteY24" fmla="*/ 492404 h 1353297"/>
              <a:gd name="connsiteX25" fmla="*/ 8651436 w 10678681"/>
              <a:gd name="connsiteY25" fmla="*/ 511923 h 1353297"/>
              <a:gd name="connsiteX26" fmla="*/ 8609185 w 10678681"/>
              <a:gd name="connsiteY26" fmla="*/ 531525 h 1353297"/>
              <a:gd name="connsiteX27" fmla="*/ 8537091 w 10678681"/>
              <a:gd name="connsiteY27" fmla="*/ 574933 h 1353297"/>
              <a:gd name="connsiteX28" fmla="*/ 8435931 w 10678681"/>
              <a:gd name="connsiteY28" fmla="*/ 617926 h 1353297"/>
              <a:gd name="connsiteX29" fmla="*/ 8348623 w 10678681"/>
              <a:gd name="connsiteY29" fmla="*/ 600607 h 1353297"/>
              <a:gd name="connsiteX30" fmla="*/ 8344233 w 10678681"/>
              <a:gd name="connsiteY30" fmla="*/ 610922 h 1353297"/>
              <a:gd name="connsiteX31" fmla="*/ 8290622 w 10678681"/>
              <a:gd name="connsiteY31" fmla="*/ 622687 h 1353297"/>
              <a:gd name="connsiteX32" fmla="*/ 8086698 w 10678681"/>
              <a:gd name="connsiteY32" fmla="*/ 605185 h 1353297"/>
              <a:gd name="connsiteX33" fmla="*/ 7982378 w 10678681"/>
              <a:gd name="connsiteY33" fmla="*/ 629799 h 1353297"/>
              <a:gd name="connsiteX34" fmla="*/ 7947952 w 10678681"/>
              <a:gd name="connsiteY34" fmla="*/ 648003 h 1353297"/>
              <a:gd name="connsiteX35" fmla="*/ 7890112 w 10678681"/>
              <a:gd name="connsiteY35" fmla="*/ 677915 h 1353297"/>
              <a:gd name="connsiteX36" fmla="*/ 7853284 w 10678681"/>
              <a:gd name="connsiteY36" fmla="*/ 723588 h 1353297"/>
              <a:gd name="connsiteX37" fmla="*/ 7802383 w 10678681"/>
              <a:gd name="connsiteY37" fmla="*/ 739359 h 1353297"/>
              <a:gd name="connsiteX38" fmla="*/ 7730518 w 10678681"/>
              <a:gd name="connsiteY38" fmla="*/ 739526 h 1353297"/>
              <a:gd name="connsiteX39" fmla="*/ 7652907 w 10678681"/>
              <a:gd name="connsiteY39" fmla="*/ 783273 h 1353297"/>
              <a:gd name="connsiteX40" fmla="*/ 7606008 w 10678681"/>
              <a:gd name="connsiteY40" fmla="*/ 800717 h 1353297"/>
              <a:gd name="connsiteX41" fmla="*/ 7480223 w 10678681"/>
              <a:gd name="connsiteY41" fmla="*/ 856821 h 1353297"/>
              <a:gd name="connsiteX42" fmla="*/ 7356005 w 10678681"/>
              <a:gd name="connsiteY42" fmla="*/ 919462 h 1353297"/>
              <a:gd name="connsiteX43" fmla="*/ 7305396 w 10678681"/>
              <a:gd name="connsiteY43" fmla="*/ 986228 h 1353297"/>
              <a:gd name="connsiteX44" fmla="*/ 7266251 w 10678681"/>
              <a:gd name="connsiteY44" fmla="*/ 967864 h 1353297"/>
              <a:gd name="connsiteX45" fmla="*/ 7269396 w 10678681"/>
              <a:gd name="connsiteY45" fmla="*/ 989282 h 1353297"/>
              <a:gd name="connsiteX46" fmla="*/ 7258094 w 10678681"/>
              <a:gd name="connsiteY46" fmla="*/ 990679 h 1353297"/>
              <a:gd name="connsiteX47" fmla="*/ 7257893 w 10678681"/>
              <a:gd name="connsiteY47" fmla="*/ 991204 h 1353297"/>
              <a:gd name="connsiteX48" fmla="*/ 7247153 w 10678681"/>
              <a:gd name="connsiteY48" fmla="*/ 991550 h 1353297"/>
              <a:gd name="connsiteX49" fmla="*/ 7193612 w 10678681"/>
              <a:gd name="connsiteY49" fmla="*/ 987042 h 1353297"/>
              <a:gd name="connsiteX50" fmla="*/ 7132632 w 10678681"/>
              <a:gd name="connsiteY50" fmla="*/ 1042036 h 1353297"/>
              <a:gd name="connsiteX51" fmla="*/ 7105610 w 10678681"/>
              <a:gd name="connsiteY51" fmla="*/ 1053537 h 1353297"/>
              <a:gd name="connsiteX52" fmla="*/ 7069148 w 10678681"/>
              <a:gd name="connsiteY52" fmla="*/ 1047163 h 1353297"/>
              <a:gd name="connsiteX53" fmla="*/ 7039634 w 10678681"/>
              <a:gd name="connsiteY53" fmla="*/ 1059971 h 1353297"/>
              <a:gd name="connsiteX54" fmla="*/ 7033445 w 10678681"/>
              <a:gd name="connsiteY54" fmla="*/ 1063314 h 1353297"/>
              <a:gd name="connsiteX55" fmla="*/ 6999157 w 10678681"/>
              <a:gd name="connsiteY55" fmla="*/ 1055282 h 1353297"/>
              <a:gd name="connsiteX56" fmla="*/ 6981874 w 10678681"/>
              <a:gd name="connsiteY56" fmla="*/ 1053827 h 1353297"/>
              <a:gd name="connsiteX57" fmla="*/ 6976102 w 10678681"/>
              <a:gd name="connsiteY57" fmla="*/ 1047854 h 1353297"/>
              <a:gd name="connsiteX58" fmla="*/ 6951040 w 10678681"/>
              <a:gd name="connsiteY58" fmla="*/ 1048531 h 1353297"/>
              <a:gd name="connsiteX59" fmla="*/ 6948497 w 10678681"/>
              <a:gd name="connsiteY59" fmla="*/ 1050706 h 1353297"/>
              <a:gd name="connsiteX60" fmla="*/ 6926582 w 10678681"/>
              <a:gd name="connsiteY60" fmla="*/ 1043462 h 1353297"/>
              <a:gd name="connsiteX61" fmla="*/ 6833743 w 10678681"/>
              <a:gd name="connsiteY61" fmla="*/ 1027960 h 1353297"/>
              <a:gd name="connsiteX62" fmla="*/ 6687090 w 10678681"/>
              <a:gd name="connsiteY62" fmla="*/ 1063250 h 1353297"/>
              <a:gd name="connsiteX63" fmla="*/ 6437450 w 10678681"/>
              <a:gd name="connsiteY63" fmla="*/ 1101075 h 1353297"/>
              <a:gd name="connsiteX64" fmla="*/ 6327795 w 10678681"/>
              <a:gd name="connsiteY64" fmla="*/ 1088142 h 1353297"/>
              <a:gd name="connsiteX65" fmla="*/ 6136549 w 10678681"/>
              <a:gd name="connsiteY65" fmla="*/ 1100268 h 1353297"/>
              <a:gd name="connsiteX66" fmla="*/ 6004655 w 10678681"/>
              <a:gd name="connsiteY66" fmla="*/ 1114946 h 1353297"/>
              <a:gd name="connsiteX67" fmla="*/ 5936643 w 10678681"/>
              <a:gd name="connsiteY67" fmla="*/ 1095428 h 1353297"/>
              <a:gd name="connsiteX68" fmla="*/ 5912484 w 10678681"/>
              <a:gd name="connsiteY68" fmla="*/ 1112624 h 1353297"/>
              <a:gd name="connsiteX69" fmla="*/ 5908387 w 10678681"/>
              <a:gd name="connsiteY69" fmla="*/ 1116018 h 1353297"/>
              <a:gd name="connsiteX70" fmla="*/ 5890495 w 10678681"/>
              <a:gd name="connsiteY70" fmla="*/ 1120268 h 1353297"/>
              <a:gd name="connsiteX71" fmla="*/ 5887318 w 10678681"/>
              <a:gd name="connsiteY71" fmla="*/ 1133134 h 1353297"/>
              <a:gd name="connsiteX72" fmla="*/ 5861726 w 10678681"/>
              <a:gd name="connsiteY72" fmla="*/ 1147891 h 1353297"/>
              <a:gd name="connsiteX73" fmla="*/ 5805823 w 10678681"/>
              <a:gd name="connsiteY73" fmla="*/ 1152457 h 1353297"/>
              <a:gd name="connsiteX74" fmla="*/ 5689841 w 10678681"/>
              <a:gd name="connsiteY74" fmla="*/ 1176232 h 1353297"/>
              <a:gd name="connsiteX75" fmla="*/ 5605119 w 10678681"/>
              <a:gd name="connsiteY75" fmla="*/ 1190202 h 1353297"/>
              <a:gd name="connsiteX76" fmla="*/ 5488513 w 10678681"/>
              <a:gd name="connsiteY76" fmla="*/ 1205367 h 1353297"/>
              <a:gd name="connsiteX77" fmla="*/ 5402905 w 10678681"/>
              <a:gd name="connsiteY77" fmla="*/ 1241191 h 1353297"/>
              <a:gd name="connsiteX78" fmla="*/ 5285593 w 10678681"/>
              <a:gd name="connsiteY78" fmla="*/ 1273569 h 1353297"/>
              <a:gd name="connsiteX79" fmla="*/ 5192893 w 10678681"/>
              <a:gd name="connsiteY79" fmla="*/ 1247188 h 1353297"/>
              <a:gd name="connsiteX80" fmla="*/ 5186475 w 10678681"/>
              <a:gd name="connsiteY80" fmla="*/ 1257028 h 1353297"/>
              <a:gd name="connsiteX81" fmla="*/ 5126038 w 10678681"/>
              <a:gd name="connsiteY81" fmla="*/ 1263189 h 1353297"/>
              <a:gd name="connsiteX82" fmla="*/ 4894688 w 10678681"/>
              <a:gd name="connsiteY82" fmla="*/ 1247184 h 1353297"/>
              <a:gd name="connsiteX83" fmla="*/ 4788036 w 10678681"/>
              <a:gd name="connsiteY83" fmla="*/ 1238182 h 1353297"/>
              <a:gd name="connsiteX84" fmla="*/ 4747555 w 10678681"/>
              <a:gd name="connsiteY84" fmla="*/ 1252768 h 1353297"/>
              <a:gd name="connsiteX85" fmla="*/ 4679644 w 10678681"/>
              <a:gd name="connsiteY85" fmla="*/ 1276603 h 1353297"/>
              <a:gd name="connsiteX86" fmla="*/ 4632222 w 10678681"/>
              <a:gd name="connsiteY86" fmla="*/ 1318360 h 1353297"/>
              <a:gd name="connsiteX87" fmla="*/ 4617358 w 10678681"/>
              <a:gd name="connsiteY87" fmla="*/ 1327690 h 1353297"/>
              <a:gd name="connsiteX88" fmla="*/ 4589102 w 10678681"/>
              <a:gd name="connsiteY88" fmla="*/ 1321223 h 1353297"/>
              <a:gd name="connsiteX89" fmla="*/ 4578184 w 10678681"/>
              <a:gd name="connsiteY89" fmla="*/ 1326745 h 1353297"/>
              <a:gd name="connsiteX90" fmla="*/ 4574270 w 10678681"/>
              <a:gd name="connsiteY90" fmla="*/ 1325878 h 1353297"/>
              <a:gd name="connsiteX91" fmla="*/ 4564919 w 10678681"/>
              <a:gd name="connsiteY91" fmla="*/ 1325507 h 1353297"/>
              <a:gd name="connsiteX92" fmla="*/ 4566586 w 10678681"/>
              <a:gd name="connsiteY92" fmla="*/ 1316963 h 1353297"/>
              <a:gd name="connsiteX93" fmla="*/ 4556303 w 10678681"/>
              <a:gd name="connsiteY93" fmla="*/ 1300262 h 1353297"/>
              <a:gd name="connsiteX94" fmla="*/ 4502358 w 10678681"/>
              <a:gd name="connsiteY94" fmla="*/ 1302558 h 1353297"/>
              <a:gd name="connsiteX95" fmla="*/ 4498919 w 10678681"/>
              <a:gd name="connsiteY95" fmla="*/ 1312115 h 1353297"/>
              <a:gd name="connsiteX96" fmla="*/ 4492075 w 10678681"/>
              <a:gd name="connsiteY96" fmla="*/ 1313357 h 1353297"/>
              <a:gd name="connsiteX97" fmla="*/ 4487466 w 10678681"/>
              <a:gd name="connsiteY97" fmla="*/ 1304102 h 1353297"/>
              <a:gd name="connsiteX98" fmla="*/ 4398292 w 10678681"/>
              <a:gd name="connsiteY98" fmla="*/ 1278410 h 1353297"/>
              <a:gd name="connsiteX99" fmla="*/ 4306088 w 10678681"/>
              <a:gd name="connsiteY99" fmla="*/ 1282512 h 1353297"/>
              <a:gd name="connsiteX100" fmla="*/ 4188995 w 10678681"/>
              <a:gd name="connsiteY100" fmla="*/ 1296718 h 1353297"/>
              <a:gd name="connsiteX101" fmla="*/ 4136582 w 10678681"/>
              <a:gd name="connsiteY101" fmla="*/ 1287687 h 1353297"/>
              <a:gd name="connsiteX102" fmla="*/ 4064614 w 10678681"/>
              <a:gd name="connsiteY102" fmla="*/ 1296118 h 1353297"/>
              <a:gd name="connsiteX103" fmla="*/ 3906561 w 10678681"/>
              <a:gd name="connsiteY103" fmla="*/ 1352435 h 1353297"/>
              <a:gd name="connsiteX104" fmla="*/ 3787890 w 10678681"/>
              <a:gd name="connsiteY104" fmla="*/ 1352442 h 1353297"/>
              <a:gd name="connsiteX105" fmla="*/ 3745993 w 10678681"/>
              <a:gd name="connsiteY105" fmla="*/ 1342630 h 1353297"/>
              <a:gd name="connsiteX106" fmla="*/ 3675785 w 10678681"/>
              <a:gd name="connsiteY106" fmla="*/ 1326802 h 1353297"/>
              <a:gd name="connsiteX107" fmla="*/ 3623856 w 10678681"/>
              <a:gd name="connsiteY107" fmla="*/ 1290804 h 1353297"/>
              <a:gd name="connsiteX108" fmla="*/ 3564933 w 10678681"/>
              <a:gd name="connsiteY108" fmla="*/ 1287147 h 1353297"/>
              <a:gd name="connsiteX109" fmla="*/ 3550537 w 10678681"/>
              <a:gd name="connsiteY109" fmla="*/ 1317552 h 1353297"/>
              <a:gd name="connsiteX110" fmla="*/ 3487736 w 10678681"/>
              <a:gd name="connsiteY110" fmla="*/ 1303493 h 1353297"/>
              <a:gd name="connsiteX111" fmla="*/ 3392548 w 10678681"/>
              <a:gd name="connsiteY111" fmla="*/ 1278741 h 1353297"/>
              <a:gd name="connsiteX112" fmla="*/ 3337466 w 10678681"/>
              <a:gd name="connsiteY112" fmla="*/ 1272537 h 1353297"/>
              <a:gd name="connsiteX113" fmla="*/ 3187206 w 10678681"/>
              <a:gd name="connsiteY113" fmla="*/ 1246821 h 1353297"/>
              <a:gd name="connsiteX114" fmla="*/ 3036856 w 10678681"/>
              <a:gd name="connsiteY114" fmla="*/ 1214383 h 1353297"/>
              <a:gd name="connsiteX115" fmla="*/ 2824973 w 10678681"/>
              <a:gd name="connsiteY115" fmla="*/ 1134864 h 1353297"/>
              <a:gd name="connsiteX116" fmla="*/ 2804398 w 10678681"/>
              <a:gd name="connsiteY116" fmla="*/ 1125556 h 1353297"/>
              <a:gd name="connsiteX117" fmla="*/ 2775396 w 10678681"/>
              <a:gd name="connsiteY117" fmla="*/ 1130148 h 1353297"/>
              <a:gd name="connsiteX118" fmla="*/ 2659096 w 10678681"/>
              <a:gd name="connsiteY118" fmla="*/ 1150294 h 1353297"/>
              <a:gd name="connsiteX119" fmla="*/ 2567088 w 10678681"/>
              <a:gd name="connsiteY119" fmla="*/ 1181781 h 1353297"/>
              <a:gd name="connsiteX120" fmla="*/ 2454501 w 10678681"/>
              <a:gd name="connsiteY120" fmla="*/ 1155455 h 1353297"/>
              <a:gd name="connsiteX121" fmla="*/ 2385161 w 10678681"/>
              <a:gd name="connsiteY121" fmla="*/ 1161312 h 1353297"/>
              <a:gd name="connsiteX122" fmla="*/ 2273361 w 10678681"/>
              <a:gd name="connsiteY122" fmla="*/ 1134090 h 1353297"/>
              <a:gd name="connsiteX123" fmla="*/ 2132003 w 10678681"/>
              <a:gd name="connsiteY123" fmla="*/ 1139225 h 1353297"/>
              <a:gd name="connsiteX124" fmla="*/ 2041224 w 10678681"/>
              <a:gd name="connsiteY124" fmla="*/ 1147536 h 1353297"/>
              <a:gd name="connsiteX125" fmla="*/ 2010157 w 10678681"/>
              <a:gd name="connsiteY125" fmla="*/ 1152767 h 1353297"/>
              <a:gd name="connsiteX126" fmla="*/ 1901837 w 10678681"/>
              <a:gd name="connsiteY126" fmla="*/ 1221762 h 1353297"/>
              <a:gd name="connsiteX127" fmla="*/ 1836762 w 10678681"/>
              <a:gd name="connsiteY127" fmla="*/ 1237387 h 1353297"/>
              <a:gd name="connsiteX128" fmla="*/ 1735877 w 10678681"/>
              <a:gd name="connsiteY128" fmla="*/ 1246527 h 1353297"/>
              <a:gd name="connsiteX129" fmla="*/ 1705069 w 10678681"/>
              <a:gd name="connsiteY129" fmla="*/ 1251989 h 1353297"/>
              <a:gd name="connsiteX130" fmla="*/ 1307888 w 10678681"/>
              <a:gd name="connsiteY130" fmla="*/ 1283156 h 1353297"/>
              <a:gd name="connsiteX131" fmla="*/ 1220734 w 10678681"/>
              <a:gd name="connsiteY131" fmla="*/ 1257811 h 1353297"/>
              <a:gd name="connsiteX132" fmla="*/ 1021737 w 10678681"/>
              <a:gd name="connsiteY132" fmla="*/ 1238739 h 1353297"/>
              <a:gd name="connsiteX133" fmla="*/ 959820 w 10678681"/>
              <a:gd name="connsiteY133" fmla="*/ 1275863 h 1353297"/>
              <a:gd name="connsiteX134" fmla="*/ 929137 w 10678681"/>
              <a:gd name="connsiteY134" fmla="*/ 1273957 h 1353297"/>
              <a:gd name="connsiteX135" fmla="*/ 878849 w 10678681"/>
              <a:gd name="connsiteY135" fmla="*/ 1266740 h 1353297"/>
              <a:gd name="connsiteX136" fmla="*/ 800667 w 10678681"/>
              <a:gd name="connsiteY136" fmla="*/ 1282041 h 1353297"/>
              <a:gd name="connsiteX137" fmla="*/ 644906 w 10678681"/>
              <a:gd name="connsiteY137" fmla="*/ 1273685 h 1353297"/>
              <a:gd name="connsiteX138" fmla="*/ 379869 w 10678681"/>
              <a:gd name="connsiteY138" fmla="*/ 1339165 h 1353297"/>
              <a:gd name="connsiteX139" fmla="*/ 137696 w 10678681"/>
              <a:gd name="connsiteY139" fmla="*/ 1319217 h 1353297"/>
              <a:gd name="connsiteX140" fmla="*/ 54250 w 10678681"/>
              <a:gd name="connsiteY140" fmla="*/ 1315838 h 1353297"/>
              <a:gd name="connsiteX141" fmla="*/ 28042 w 10678681"/>
              <a:gd name="connsiteY141" fmla="*/ 1297822 h 1353297"/>
              <a:gd name="connsiteX142" fmla="*/ 0 w 10678681"/>
              <a:gd name="connsiteY142" fmla="*/ 1294612 h 1353297"/>
              <a:gd name="connsiteX143" fmla="*/ 0 w 10678681"/>
              <a:gd name="connsiteY143" fmla="*/ 0 h 1353297"/>
              <a:gd name="connsiteX0" fmla="*/ 0 w 10678681"/>
              <a:gd name="connsiteY0" fmla="*/ 0 h 1353297"/>
              <a:gd name="connsiteX1" fmla="*/ 10678681 w 10678681"/>
              <a:gd name="connsiteY1" fmla="*/ 0 h 1353297"/>
              <a:gd name="connsiteX2" fmla="*/ 10666019 w 10678681"/>
              <a:gd name="connsiteY2" fmla="*/ 7876 h 1353297"/>
              <a:gd name="connsiteX3" fmla="*/ 10632825 w 10678681"/>
              <a:gd name="connsiteY3" fmla="*/ 32153 h 1353297"/>
              <a:gd name="connsiteX4" fmla="*/ 10510605 w 10678681"/>
              <a:gd name="connsiteY4" fmla="*/ 30449 h 1353297"/>
              <a:gd name="connsiteX5" fmla="*/ 10456989 w 10678681"/>
              <a:gd name="connsiteY5" fmla="*/ 979 h 1353297"/>
              <a:gd name="connsiteX6" fmla="*/ 10438642 w 10678681"/>
              <a:gd name="connsiteY6" fmla="*/ 1524 h 1353297"/>
              <a:gd name="connsiteX7" fmla="*/ 10407146 w 10678681"/>
              <a:gd name="connsiteY7" fmla="*/ 43659 h 1353297"/>
              <a:gd name="connsiteX8" fmla="*/ 10357996 w 10678681"/>
              <a:gd name="connsiteY8" fmla="*/ 50836 h 1353297"/>
              <a:gd name="connsiteX9" fmla="*/ 10306667 w 10678681"/>
              <a:gd name="connsiteY9" fmla="*/ 109739 h 1353297"/>
              <a:gd name="connsiteX10" fmla="*/ 10115334 w 10678681"/>
              <a:gd name="connsiteY10" fmla="*/ 155658 h 1353297"/>
              <a:gd name="connsiteX11" fmla="*/ 10068157 w 10678681"/>
              <a:gd name="connsiteY11" fmla="*/ 215673 h 1353297"/>
              <a:gd name="connsiteX12" fmla="*/ 10045431 w 10678681"/>
              <a:gd name="connsiteY12" fmla="*/ 229568 h 1353297"/>
              <a:gd name="connsiteX13" fmla="*/ 10013265 w 10678681"/>
              <a:gd name="connsiteY13" fmla="*/ 284757 h 1353297"/>
              <a:gd name="connsiteX14" fmla="*/ 9862496 w 10678681"/>
              <a:gd name="connsiteY14" fmla="*/ 223033 h 1353297"/>
              <a:gd name="connsiteX15" fmla="*/ 9679638 w 10678681"/>
              <a:gd name="connsiteY15" fmla="*/ 277462 h 1353297"/>
              <a:gd name="connsiteX16" fmla="*/ 9498347 w 10678681"/>
              <a:gd name="connsiteY16" fmla="*/ 244723 h 1353297"/>
              <a:gd name="connsiteX17" fmla="*/ 9399702 w 10678681"/>
              <a:gd name="connsiteY17" fmla="*/ 276316 h 1353297"/>
              <a:gd name="connsiteX18" fmla="*/ 9378439 w 10678681"/>
              <a:gd name="connsiteY18" fmla="*/ 326244 h 1353297"/>
              <a:gd name="connsiteX19" fmla="*/ 9121744 w 10678681"/>
              <a:gd name="connsiteY19" fmla="*/ 365177 h 1353297"/>
              <a:gd name="connsiteX20" fmla="*/ 9061654 w 10678681"/>
              <a:gd name="connsiteY20" fmla="*/ 393730 h 1353297"/>
              <a:gd name="connsiteX21" fmla="*/ 8997577 w 10678681"/>
              <a:gd name="connsiteY21" fmla="*/ 380865 h 1353297"/>
              <a:gd name="connsiteX22" fmla="*/ 8907968 w 10678681"/>
              <a:gd name="connsiteY22" fmla="*/ 447345 h 1353297"/>
              <a:gd name="connsiteX23" fmla="*/ 8764163 w 10678681"/>
              <a:gd name="connsiteY23" fmla="*/ 471000 h 1353297"/>
              <a:gd name="connsiteX24" fmla="*/ 8680155 w 10678681"/>
              <a:gd name="connsiteY24" fmla="*/ 492404 h 1353297"/>
              <a:gd name="connsiteX25" fmla="*/ 8651436 w 10678681"/>
              <a:gd name="connsiteY25" fmla="*/ 511923 h 1353297"/>
              <a:gd name="connsiteX26" fmla="*/ 8609185 w 10678681"/>
              <a:gd name="connsiteY26" fmla="*/ 531525 h 1353297"/>
              <a:gd name="connsiteX27" fmla="*/ 8537091 w 10678681"/>
              <a:gd name="connsiteY27" fmla="*/ 574933 h 1353297"/>
              <a:gd name="connsiteX28" fmla="*/ 8435931 w 10678681"/>
              <a:gd name="connsiteY28" fmla="*/ 617926 h 1353297"/>
              <a:gd name="connsiteX29" fmla="*/ 8348623 w 10678681"/>
              <a:gd name="connsiteY29" fmla="*/ 600607 h 1353297"/>
              <a:gd name="connsiteX30" fmla="*/ 8344233 w 10678681"/>
              <a:gd name="connsiteY30" fmla="*/ 610922 h 1353297"/>
              <a:gd name="connsiteX31" fmla="*/ 8290622 w 10678681"/>
              <a:gd name="connsiteY31" fmla="*/ 622687 h 1353297"/>
              <a:gd name="connsiteX32" fmla="*/ 8086698 w 10678681"/>
              <a:gd name="connsiteY32" fmla="*/ 605185 h 1353297"/>
              <a:gd name="connsiteX33" fmla="*/ 7982378 w 10678681"/>
              <a:gd name="connsiteY33" fmla="*/ 629799 h 1353297"/>
              <a:gd name="connsiteX34" fmla="*/ 7947952 w 10678681"/>
              <a:gd name="connsiteY34" fmla="*/ 648003 h 1353297"/>
              <a:gd name="connsiteX35" fmla="*/ 7890112 w 10678681"/>
              <a:gd name="connsiteY35" fmla="*/ 677915 h 1353297"/>
              <a:gd name="connsiteX36" fmla="*/ 7853284 w 10678681"/>
              <a:gd name="connsiteY36" fmla="*/ 723588 h 1353297"/>
              <a:gd name="connsiteX37" fmla="*/ 7802383 w 10678681"/>
              <a:gd name="connsiteY37" fmla="*/ 739359 h 1353297"/>
              <a:gd name="connsiteX38" fmla="*/ 7730518 w 10678681"/>
              <a:gd name="connsiteY38" fmla="*/ 739526 h 1353297"/>
              <a:gd name="connsiteX39" fmla="*/ 7652907 w 10678681"/>
              <a:gd name="connsiteY39" fmla="*/ 783273 h 1353297"/>
              <a:gd name="connsiteX40" fmla="*/ 7606008 w 10678681"/>
              <a:gd name="connsiteY40" fmla="*/ 800717 h 1353297"/>
              <a:gd name="connsiteX41" fmla="*/ 7480223 w 10678681"/>
              <a:gd name="connsiteY41" fmla="*/ 856821 h 1353297"/>
              <a:gd name="connsiteX42" fmla="*/ 7356005 w 10678681"/>
              <a:gd name="connsiteY42" fmla="*/ 919462 h 1353297"/>
              <a:gd name="connsiteX43" fmla="*/ 7305396 w 10678681"/>
              <a:gd name="connsiteY43" fmla="*/ 986228 h 1353297"/>
              <a:gd name="connsiteX44" fmla="*/ 7266251 w 10678681"/>
              <a:gd name="connsiteY44" fmla="*/ 967864 h 1353297"/>
              <a:gd name="connsiteX45" fmla="*/ 7269396 w 10678681"/>
              <a:gd name="connsiteY45" fmla="*/ 989282 h 1353297"/>
              <a:gd name="connsiteX46" fmla="*/ 7258094 w 10678681"/>
              <a:gd name="connsiteY46" fmla="*/ 990679 h 1353297"/>
              <a:gd name="connsiteX47" fmla="*/ 7257893 w 10678681"/>
              <a:gd name="connsiteY47" fmla="*/ 991204 h 1353297"/>
              <a:gd name="connsiteX48" fmla="*/ 7247153 w 10678681"/>
              <a:gd name="connsiteY48" fmla="*/ 991550 h 1353297"/>
              <a:gd name="connsiteX49" fmla="*/ 7193612 w 10678681"/>
              <a:gd name="connsiteY49" fmla="*/ 987042 h 1353297"/>
              <a:gd name="connsiteX50" fmla="*/ 7132632 w 10678681"/>
              <a:gd name="connsiteY50" fmla="*/ 1042036 h 1353297"/>
              <a:gd name="connsiteX51" fmla="*/ 7105610 w 10678681"/>
              <a:gd name="connsiteY51" fmla="*/ 1053537 h 1353297"/>
              <a:gd name="connsiteX52" fmla="*/ 7069148 w 10678681"/>
              <a:gd name="connsiteY52" fmla="*/ 1047163 h 1353297"/>
              <a:gd name="connsiteX53" fmla="*/ 7039634 w 10678681"/>
              <a:gd name="connsiteY53" fmla="*/ 1059971 h 1353297"/>
              <a:gd name="connsiteX54" fmla="*/ 7033445 w 10678681"/>
              <a:gd name="connsiteY54" fmla="*/ 1063314 h 1353297"/>
              <a:gd name="connsiteX55" fmla="*/ 6999157 w 10678681"/>
              <a:gd name="connsiteY55" fmla="*/ 1055282 h 1353297"/>
              <a:gd name="connsiteX56" fmla="*/ 6981874 w 10678681"/>
              <a:gd name="connsiteY56" fmla="*/ 1053827 h 1353297"/>
              <a:gd name="connsiteX57" fmla="*/ 6976102 w 10678681"/>
              <a:gd name="connsiteY57" fmla="*/ 1047854 h 1353297"/>
              <a:gd name="connsiteX58" fmla="*/ 6951040 w 10678681"/>
              <a:gd name="connsiteY58" fmla="*/ 1048531 h 1353297"/>
              <a:gd name="connsiteX59" fmla="*/ 6948497 w 10678681"/>
              <a:gd name="connsiteY59" fmla="*/ 1050706 h 1353297"/>
              <a:gd name="connsiteX60" fmla="*/ 6926582 w 10678681"/>
              <a:gd name="connsiteY60" fmla="*/ 1043462 h 1353297"/>
              <a:gd name="connsiteX61" fmla="*/ 6833743 w 10678681"/>
              <a:gd name="connsiteY61" fmla="*/ 1027960 h 1353297"/>
              <a:gd name="connsiteX62" fmla="*/ 6687090 w 10678681"/>
              <a:gd name="connsiteY62" fmla="*/ 1063250 h 1353297"/>
              <a:gd name="connsiteX63" fmla="*/ 6437450 w 10678681"/>
              <a:gd name="connsiteY63" fmla="*/ 1101075 h 1353297"/>
              <a:gd name="connsiteX64" fmla="*/ 6327795 w 10678681"/>
              <a:gd name="connsiteY64" fmla="*/ 1088142 h 1353297"/>
              <a:gd name="connsiteX65" fmla="*/ 6136549 w 10678681"/>
              <a:gd name="connsiteY65" fmla="*/ 1100268 h 1353297"/>
              <a:gd name="connsiteX66" fmla="*/ 6004655 w 10678681"/>
              <a:gd name="connsiteY66" fmla="*/ 1114946 h 1353297"/>
              <a:gd name="connsiteX67" fmla="*/ 5936643 w 10678681"/>
              <a:gd name="connsiteY67" fmla="*/ 1095428 h 1353297"/>
              <a:gd name="connsiteX68" fmla="*/ 5912484 w 10678681"/>
              <a:gd name="connsiteY68" fmla="*/ 1112624 h 1353297"/>
              <a:gd name="connsiteX69" fmla="*/ 5908387 w 10678681"/>
              <a:gd name="connsiteY69" fmla="*/ 1116018 h 1353297"/>
              <a:gd name="connsiteX70" fmla="*/ 5890495 w 10678681"/>
              <a:gd name="connsiteY70" fmla="*/ 1120268 h 1353297"/>
              <a:gd name="connsiteX71" fmla="*/ 5887318 w 10678681"/>
              <a:gd name="connsiteY71" fmla="*/ 1133134 h 1353297"/>
              <a:gd name="connsiteX72" fmla="*/ 5861726 w 10678681"/>
              <a:gd name="connsiteY72" fmla="*/ 1147891 h 1353297"/>
              <a:gd name="connsiteX73" fmla="*/ 5805823 w 10678681"/>
              <a:gd name="connsiteY73" fmla="*/ 1152457 h 1353297"/>
              <a:gd name="connsiteX74" fmla="*/ 5689841 w 10678681"/>
              <a:gd name="connsiteY74" fmla="*/ 1176232 h 1353297"/>
              <a:gd name="connsiteX75" fmla="*/ 5605119 w 10678681"/>
              <a:gd name="connsiteY75" fmla="*/ 1190202 h 1353297"/>
              <a:gd name="connsiteX76" fmla="*/ 5488513 w 10678681"/>
              <a:gd name="connsiteY76" fmla="*/ 1205367 h 1353297"/>
              <a:gd name="connsiteX77" fmla="*/ 5402905 w 10678681"/>
              <a:gd name="connsiteY77" fmla="*/ 1241191 h 1353297"/>
              <a:gd name="connsiteX78" fmla="*/ 5285593 w 10678681"/>
              <a:gd name="connsiteY78" fmla="*/ 1273569 h 1353297"/>
              <a:gd name="connsiteX79" fmla="*/ 5192893 w 10678681"/>
              <a:gd name="connsiteY79" fmla="*/ 1247188 h 1353297"/>
              <a:gd name="connsiteX80" fmla="*/ 5186475 w 10678681"/>
              <a:gd name="connsiteY80" fmla="*/ 1257028 h 1353297"/>
              <a:gd name="connsiteX81" fmla="*/ 5126038 w 10678681"/>
              <a:gd name="connsiteY81" fmla="*/ 1263189 h 1353297"/>
              <a:gd name="connsiteX82" fmla="*/ 4894688 w 10678681"/>
              <a:gd name="connsiteY82" fmla="*/ 1247184 h 1353297"/>
              <a:gd name="connsiteX83" fmla="*/ 4788036 w 10678681"/>
              <a:gd name="connsiteY83" fmla="*/ 1238182 h 1353297"/>
              <a:gd name="connsiteX84" fmla="*/ 4747555 w 10678681"/>
              <a:gd name="connsiteY84" fmla="*/ 1252768 h 1353297"/>
              <a:gd name="connsiteX85" fmla="*/ 4679644 w 10678681"/>
              <a:gd name="connsiteY85" fmla="*/ 1276603 h 1353297"/>
              <a:gd name="connsiteX86" fmla="*/ 4632222 w 10678681"/>
              <a:gd name="connsiteY86" fmla="*/ 1318360 h 1353297"/>
              <a:gd name="connsiteX87" fmla="*/ 4617358 w 10678681"/>
              <a:gd name="connsiteY87" fmla="*/ 1327690 h 1353297"/>
              <a:gd name="connsiteX88" fmla="*/ 4589102 w 10678681"/>
              <a:gd name="connsiteY88" fmla="*/ 1321223 h 1353297"/>
              <a:gd name="connsiteX89" fmla="*/ 4578184 w 10678681"/>
              <a:gd name="connsiteY89" fmla="*/ 1326745 h 1353297"/>
              <a:gd name="connsiteX90" fmla="*/ 4574270 w 10678681"/>
              <a:gd name="connsiteY90" fmla="*/ 1325878 h 1353297"/>
              <a:gd name="connsiteX91" fmla="*/ 4564919 w 10678681"/>
              <a:gd name="connsiteY91" fmla="*/ 1325507 h 1353297"/>
              <a:gd name="connsiteX92" fmla="*/ 4566586 w 10678681"/>
              <a:gd name="connsiteY92" fmla="*/ 1316963 h 1353297"/>
              <a:gd name="connsiteX93" fmla="*/ 4556303 w 10678681"/>
              <a:gd name="connsiteY93" fmla="*/ 1300262 h 1353297"/>
              <a:gd name="connsiteX94" fmla="*/ 4502358 w 10678681"/>
              <a:gd name="connsiteY94" fmla="*/ 1302558 h 1353297"/>
              <a:gd name="connsiteX95" fmla="*/ 4498919 w 10678681"/>
              <a:gd name="connsiteY95" fmla="*/ 1312115 h 1353297"/>
              <a:gd name="connsiteX96" fmla="*/ 4492075 w 10678681"/>
              <a:gd name="connsiteY96" fmla="*/ 1313357 h 1353297"/>
              <a:gd name="connsiteX97" fmla="*/ 4487466 w 10678681"/>
              <a:gd name="connsiteY97" fmla="*/ 1304102 h 1353297"/>
              <a:gd name="connsiteX98" fmla="*/ 4398292 w 10678681"/>
              <a:gd name="connsiteY98" fmla="*/ 1278410 h 1353297"/>
              <a:gd name="connsiteX99" fmla="*/ 4306088 w 10678681"/>
              <a:gd name="connsiteY99" fmla="*/ 1282512 h 1353297"/>
              <a:gd name="connsiteX100" fmla="*/ 4188995 w 10678681"/>
              <a:gd name="connsiteY100" fmla="*/ 1296718 h 1353297"/>
              <a:gd name="connsiteX101" fmla="*/ 4136582 w 10678681"/>
              <a:gd name="connsiteY101" fmla="*/ 1287687 h 1353297"/>
              <a:gd name="connsiteX102" fmla="*/ 4064614 w 10678681"/>
              <a:gd name="connsiteY102" fmla="*/ 1296118 h 1353297"/>
              <a:gd name="connsiteX103" fmla="*/ 3906561 w 10678681"/>
              <a:gd name="connsiteY103" fmla="*/ 1352435 h 1353297"/>
              <a:gd name="connsiteX104" fmla="*/ 3787890 w 10678681"/>
              <a:gd name="connsiteY104" fmla="*/ 1352442 h 1353297"/>
              <a:gd name="connsiteX105" fmla="*/ 3745993 w 10678681"/>
              <a:gd name="connsiteY105" fmla="*/ 1342630 h 1353297"/>
              <a:gd name="connsiteX106" fmla="*/ 3675785 w 10678681"/>
              <a:gd name="connsiteY106" fmla="*/ 1326802 h 1353297"/>
              <a:gd name="connsiteX107" fmla="*/ 3623856 w 10678681"/>
              <a:gd name="connsiteY107" fmla="*/ 1290804 h 1353297"/>
              <a:gd name="connsiteX108" fmla="*/ 3564933 w 10678681"/>
              <a:gd name="connsiteY108" fmla="*/ 1287147 h 1353297"/>
              <a:gd name="connsiteX109" fmla="*/ 3550537 w 10678681"/>
              <a:gd name="connsiteY109" fmla="*/ 1317552 h 1353297"/>
              <a:gd name="connsiteX110" fmla="*/ 3487736 w 10678681"/>
              <a:gd name="connsiteY110" fmla="*/ 1303493 h 1353297"/>
              <a:gd name="connsiteX111" fmla="*/ 3392548 w 10678681"/>
              <a:gd name="connsiteY111" fmla="*/ 1278741 h 1353297"/>
              <a:gd name="connsiteX112" fmla="*/ 3337466 w 10678681"/>
              <a:gd name="connsiteY112" fmla="*/ 1272537 h 1353297"/>
              <a:gd name="connsiteX113" fmla="*/ 3187206 w 10678681"/>
              <a:gd name="connsiteY113" fmla="*/ 1246821 h 1353297"/>
              <a:gd name="connsiteX114" fmla="*/ 3036856 w 10678681"/>
              <a:gd name="connsiteY114" fmla="*/ 1214383 h 1353297"/>
              <a:gd name="connsiteX115" fmla="*/ 2824973 w 10678681"/>
              <a:gd name="connsiteY115" fmla="*/ 1134864 h 1353297"/>
              <a:gd name="connsiteX116" fmla="*/ 2804398 w 10678681"/>
              <a:gd name="connsiteY116" fmla="*/ 1125556 h 1353297"/>
              <a:gd name="connsiteX117" fmla="*/ 2775396 w 10678681"/>
              <a:gd name="connsiteY117" fmla="*/ 1130148 h 1353297"/>
              <a:gd name="connsiteX118" fmla="*/ 2659096 w 10678681"/>
              <a:gd name="connsiteY118" fmla="*/ 1150294 h 1353297"/>
              <a:gd name="connsiteX119" fmla="*/ 2567088 w 10678681"/>
              <a:gd name="connsiteY119" fmla="*/ 1181781 h 1353297"/>
              <a:gd name="connsiteX120" fmla="*/ 2454501 w 10678681"/>
              <a:gd name="connsiteY120" fmla="*/ 1155455 h 1353297"/>
              <a:gd name="connsiteX121" fmla="*/ 2385161 w 10678681"/>
              <a:gd name="connsiteY121" fmla="*/ 1161312 h 1353297"/>
              <a:gd name="connsiteX122" fmla="*/ 2273361 w 10678681"/>
              <a:gd name="connsiteY122" fmla="*/ 1134090 h 1353297"/>
              <a:gd name="connsiteX123" fmla="*/ 2132003 w 10678681"/>
              <a:gd name="connsiteY123" fmla="*/ 1139225 h 1353297"/>
              <a:gd name="connsiteX124" fmla="*/ 2041224 w 10678681"/>
              <a:gd name="connsiteY124" fmla="*/ 1147536 h 1353297"/>
              <a:gd name="connsiteX125" fmla="*/ 2010157 w 10678681"/>
              <a:gd name="connsiteY125" fmla="*/ 1152767 h 1353297"/>
              <a:gd name="connsiteX126" fmla="*/ 1836762 w 10678681"/>
              <a:gd name="connsiteY126" fmla="*/ 1237387 h 1353297"/>
              <a:gd name="connsiteX127" fmla="*/ 1735877 w 10678681"/>
              <a:gd name="connsiteY127" fmla="*/ 1246527 h 1353297"/>
              <a:gd name="connsiteX128" fmla="*/ 1705069 w 10678681"/>
              <a:gd name="connsiteY128" fmla="*/ 1251989 h 1353297"/>
              <a:gd name="connsiteX129" fmla="*/ 1307888 w 10678681"/>
              <a:gd name="connsiteY129" fmla="*/ 1283156 h 1353297"/>
              <a:gd name="connsiteX130" fmla="*/ 1220734 w 10678681"/>
              <a:gd name="connsiteY130" fmla="*/ 1257811 h 1353297"/>
              <a:gd name="connsiteX131" fmla="*/ 1021737 w 10678681"/>
              <a:gd name="connsiteY131" fmla="*/ 1238739 h 1353297"/>
              <a:gd name="connsiteX132" fmla="*/ 959820 w 10678681"/>
              <a:gd name="connsiteY132" fmla="*/ 1275863 h 1353297"/>
              <a:gd name="connsiteX133" fmla="*/ 929137 w 10678681"/>
              <a:gd name="connsiteY133" fmla="*/ 1273957 h 1353297"/>
              <a:gd name="connsiteX134" fmla="*/ 878849 w 10678681"/>
              <a:gd name="connsiteY134" fmla="*/ 1266740 h 1353297"/>
              <a:gd name="connsiteX135" fmla="*/ 800667 w 10678681"/>
              <a:gd name="connsiteY135" fmla="*/ 1282041 h 1353297"/>
              <a:gd name="connsiteX136" fmla="*/ 644906 w 10678681"/>
              <a:gd name="connsiteY136" fmla="*/ 1273685 h 1353297"/>
              <a:gd name="connsiteX137" fmla="*/ 379869 w 10678681"/>
              <a:gd name="connsiteY137" fmla="*/ 1339165 h 1353297"/>
              <a:gd name="connsiteX138" fmla="*/ 137696 w 10678681"/>
              <a:gd name="connsiteY138" fmla="*/ 1319217 h 1353297"/>
              <a:gd name="connsiteX139" fmla="*/ 54250 w 10678681"/>
              <a:gd name="connsiteY139" fmla="*/ 1315838 h 1353297"/>
              <a:gd name="connsiteX140" fmla="*/ 28042 w 10678681"/>
              <a:gd name="connsiteY140" fmla="*/ 1297822 h 1353297"/>
              <a:gd name="connsiteX141" fmla="*/ 0 w 10678681"/>
              <a:gd name="connsiteY141" fmla="*/ 1294612 h 1353297"/>
              <a:gd name="connsiteX142" fmla="*/ 0 w 10678681"/>
              <a:gd name="connsiteY142" fmla="*/ 0 h 1353297"/>
              <a:gd name="connsiteX0" fmla="*/ 0 w 10678681"/>
              <a:gd name="connsiteY0" fmla="*/ 0 h 1353297"/>
              <a:gd name="connsiteX1" fmla="*/ 10678681 w 10678681"/>
              <a:gd name="connsiteY1" fmla="*/ 0 h 1353297"/>
              <a:gd name="connsiteX2" fmla="*/ 10666019 w 10678681"/>
              <a:gd name="connsiteY2" fmla="*/ 7876 h 1353297"/>
              <a:gd name="connsiteX3" fmla="*/ 10632825 w 10678681"/>
              <a:gd name="connsiteY3" fmla="*/ 32153 h 1353297"/>
              <a:gd name="connsiteX4" fmla="*/ 10510605 w 10678681"/>
              <a:gd name="connsiteY4" fmla="*/ 30449 h 1353297"/>
              <a:gd name="connsiteX5" fmla="*/ 10456989 w 10678681"/>
              <a:gd name="connsiteY5" fmla="*/ 979 h 1353297"/>
              <a:gd name="connsiteX6" fmla="*/ 10438642 w 10678681"/>
              <a:gd name="connsiteY6" fmla="*/ 1524 h 1353297"/>
              <a:gd name="connsiteX7" fmla="*/ 10407146 w 10678681"/>
              <a:gd name="connsiteY7" fmla="*/ 43659 h 1353297"/>
              <a:gd name="connsiteX8" fmla="*/ 10357996 w 10678681"/>
              <a:gd name="connsiteY8" fmla="*/ 50836 h 1353297"/>
              <a:gd name="connsiteX9" fmla="*/ 10306667 w 10678681"/>
              <a:gd name="connsiteY9" fmla="*/ 109739 h 1353297"/>
              <a:gd name="connsiteX10" fmla="*/ 10115334 w 10678681"/>
              <a:gd name="connsiteY10" fmla="*/ 155658 h 1353297"/>
              <a:gd name="connsiteX11" fmla="*/ 10068157 w 10678681"/>
              <a:gd name="connsiteY11" fmla="*/ 215673 h 1353297"/>
              <a:gd name="connsiteX12" fmla="*/ 10045431 w 10678681"/>
              <a:gd name="connsiteY12" fmla="*/ 229568 h 1353297"/>
              <a:gd name="connsiteX13" fmla="*/ 10013265 w 10678681"/>
              <a:gd name="connsiteY13" fmla="*/ 284757 h 1353297"/>
              <a:gd name="connsiteX14" fmla="*/ 9862496 w 10678681"/>
              <a:gd name="connsiteY14" fmla="*/ 223033 h 1353297"/>
              <a:gd name="connsiteX15" fmla="*/ 9679638 w 10678681"/>
              <a:gd name="connsiteY15" fmla="*/ 277462 h 1353297"/>
              <a:gd name="connsiteX16" fmla="*/ 9498347 w 10678681"/>
              <a:gd name="connsiteY16" fmla="*/ 244723 h 1353297"/>
              <a:gd name="connsiteX17" fmla="*/ 9399702 w 10678681"/>
              <a:gd name="connsiteY17" fmla="*/ 276316 h 1353297"/>
              <a:gd name="connsiteX18" fmla="*/ 9378439 w 10678681"/>
              <a:gd name="connsiteY18" fmla="*/ 326244 h 1353297"/>
              <a:gd name="connsiteX19" fmla="*/ 9121744 w 10678681"/>
              <a:gd name="connsiteY19" fmla="*/ 365177 h 1353297"/>
              <a:gd name="connsiteX20" fmla="*/ 9061654 w 10678681"/>
              <a:gd name="connsiteY20" fmla="*/ 393730 h 1353297"/>
              <a:gd name="connsiteX21" fmla="*/ 8997577 w 10678681"/>
              <a:gd name="connsiteY21" fmla="*/ 380865 h 1353297"/>
              <a:gd name="connsiteX22" fmla="*/ 8907968 w 10678681"/>
              <a:gd name="connsiteY22" fmla="*/ 447345 h 1353297"/>
              <a:gd name="connsiteX23" fmla="*/ 8764163 w 10678681"/>
              <a:gd name="connsiteY23" fmla="*/ 471000 h 1353297"/>
              <a:gd name="connsiteX24" fmla="*/ 8680155 w 10678681"/>
              <a:gd name="connsiteY24" fmla="*/ 492404 h 1353297"/>
              <a:gd name="connsiteX25" fmla="*/ 8651436 w 10678681"/>
              <a:gd name="connsiteY25" fmla="*/ 511923 h 1353297"/>
              <a:gd name="connsiteX26" fmla="*/ 8609185 w 10678681"/>
              <a:gd name="connsiteY26" fmla="*/ 531525 h 1353297"/>
              <a:gd name="connsiteX27" fmla="*/ 8537091 w 10678681"/>
              <a:gd name="connsiteY27" fmla="*/ 574933 h 1353297"/>
              <a:gd name="connsiteX28" fmla="*/ 8435931 w 10678681"/>
              <a:gd name="connsiteY28" fmla="*/ 617926 h 1353297"/>
              <a:gd name="connsiteX29" fmla="*/ 8348623 w 10678681"/>
              <a:gd name="connsiteY29" fmla="*/ 600607 h 1353297"/>
              <a:gd name="connsiteX30" fmla="*/ 8344233 w 10678681"/>
              <a:gd name="connsiteY30" fmla="*/ 610922 h 1353297"/>
              <a:gd name="connsiteX31" fmla="*/ 8290622 w 10678681"/>
              <a:gd name="connsiteY31" fmla="*/ 622687 h 1353297"/>
              <a:gd name="connsiteX32" fmla="*/ 8086698 w 10678681"/>
              <a:gd name="connsiteY32" fmla="*/ 605185 h 1353297"/>
              <a:gd name="connsiteX33" fmla="*/ 7982378 w 10678681"/>
              <a:gd name="connsiteY33" fmla="*/ 629799 h 1353297"/>
              <a:gd name="connsiteX34" fmla="*/ 7947952 w 10678681"/>
              <a:gd name="connsiteY34" fmla="*/ 648003 h 1353297"/>
              <a:gd name="connsiteX35" fmla="*/ 7890112 w 10678681"/>
              <a:gd name="connsiteY35" fmla="*/ 677915 h 1353297"/>
              <a:gd name="connsiteX36" fmla="*/ 7853284 w 10678681"/>
              <a:gd name="connsiteY36" fmla="*/ 723588 h 1353297"/>
              <a:gd name="connsiteX37" fmla="*/ 7802383 w 10678681"/>
              <a:gd name="connsiteY37" fmla="*/ 739359 h 1353297"/>
              <a:gd name="connsiteX38" fmla="*/ 7730518 w 10678681"/>
              <a:gd name="connsiteY38" fmla="*/ 739526 h 1353297"/>
              <a:gd name="connsiteX39" fmla="*/ 7652907 w 10678681"/>
              <a:gd name="connsiteY39" fmla="*/ 783273 h 1353297"/>
              <a:gd name="connsiteX40" fmla="*/ 7606008 w 10678681"/>
              <a:gd name="connsiteY40" fmla="*/ 800717 h 1353297"/>
              <a:gd name="connsiteX41" fmla="*/ 7480223 w 10678681"/>
              <a:gd name="connsiteY41" fmla="*/ 856821 h 1353297"/>
              <a:gd name="connsiteX42" fmla="*/ 7356005 w 10678681"/>
              <a:gd name="connsiteY42" fmla="*/ 919462 h 1353297"/>
              <a:gd name="connsiteX43" fmla="*/ 7305396 w 10678681"/>
              <a:gd name="connsiteY43" fmla="*/ 986228 h 1353297"/>
              <a:gd name="connsiteX44" fmla="*/ 7266251 w 10678681"/>
              <a:gd name="connsiteY44" fmla="*/ 967864 h 1353297"/>
              <a:gd name="connsiteX45" fmla="*/ 7269396 w 10678681"/>
              <a:gd name="connsiteY45" fmla="*/ 989282 h 1353297"/>
              <a:gd name="connsiteX46" fmla="*/ 7258094 w 10678681"/>
              <a:gd name="connsiteY46" fmla="*/ 990679 h 1353297"/>
              <a:gd name="connsiteX47" fmla="*/ 7257893 w 10678681"/>
              <a:gd name="connsiteY47" fmla="*/ 991204 h 1353297"/>
              <a:gd name="connsiteX48" fmla="*/ 7247153 w 10678681"/>
              <a:gd name="connsiteY48" fmla="*/ 991550 h 1353297"/>
              <a:gd name="connsiteX49" fmla="*/ 7193612 w 10678681"/>
              <a:gd name="connsiteY49" fmla="*/ 987042 h 1353297"/>
              <a:gd name="connsiteX50" fmla="*/ 7132632 w 10678681"/>
              <a:gd name="connsiteY50" fmla="*/ 1042036 h 1353297"/>
              <a:gd name="connsiteX51" fmla="*/ 7105610 w 10678681"/>
              <a:gd name="connsiteY51" fmla="*/ 1053537 h 1353297"/>
              <a:gd name="connsiteX52" fmla="*/ 7069148 w 10678681"/>
              <a:gd name="connsiteY52" fmla="*/ 1047163 h 1353297"/>
              <a:gd name="connsiteX53" fmla="*/ 7039634 w 10678681"/>
              <a:gd name="connsiteY53" fmla="*/ 1059971 h 1353297"/>
              <a:gd name="connsiteX54" fmla="*/ 7033445 w 10678681"/>
              <a:gd name="connsiteY54" fmla="*/ 1063314 h 1353297"/>
              <a:gd name="connsiteX55" fmla="*/ 6999157 w 10678681"/>
              <a:gd name="connsiteY55" fmla="*/ 1055282 h 1353297"/>
              <a:gd name="connsiteX56" fmla="*/ 6981874 w 10678681"/>
              <a:gd name="connsiteY56" fmla="*/ 1053827 h 1353297"/>
              <a:gd name="connsiteX57" fmla="*/ 6976102 w 10678681"/>
              <a:gd name="connsiteY57" fmla="*/ 1047854 h 1353297"/>
              <a:gd name="connsiteX58" fmla="*/ 6951040 w 10678681"/>
              <a:gd name="connsiteY58" fmla="*/ 1048531 h 1353297"/>
              <a:gd name="connsiteX59" fmla="*/ 6948497 w 10678681"/>
              <a:gd name="connsiteY59" fmla="*/ 1050706 h 1353297"/>
              <a:gd name="connsiteX60" fmla="*/ 6926582 w 10678681"/>
              <a:gd name="connsiteY60" fmla="*/ 1043462 h 1353297"/>
              <a:gd name="connsiteX61" fmla="*/ 6833743 w 10678681"/>
              <a:gd name="connsiteY61" fmla="*/ 1027960 h 1353297"/>
              <a:gd name="connsiteX62" fmla="*/ 6687090 w 10678681"/>
              <a:gd name="connsiteY62" fmla="*/ 1063250 h 1353297"/>
              <a:gd name="connsiteX63" fmla="*/ 6437450 w 10678681"/>
              <a:gd name="connsiteY63" fmla="*/ 1101075 h 1353297"/>
              <a:gd name="connsiteX64" fmla="*/ 6327795 w 10678681"/>
              <a:gd name="connsiteY64" fmla="*/ 1088142 h 1353297"/>
              <a:gd name="connsiteX65" fmla="*/ 6136549 w 10678681"/>
              <a:gd name="connsiteY65" fmla="*/ 1100268 h 1353297"/>
              <a:gd name="connsiteX66" fmla="*/ 6004655 w 10678681"/>
              <a:gd name="connsiteY66" fmla="*/ 1114946 h 1353297"/>
              <a:gd name="connsiteX67" fmla="*/ 5936643 w 10678681"/>
              <a:gd name="connsiteY67" fmla="*/ 1095428 h 1353297"/>
              <a:gd name="connsiteX68" fmla="*/ 5912484 w 10678681"/>
              <a:gd name="connsiteY68" fmla="*/ 1112624 h 1353297"/>
              <a:gd name="connsiteX69" fmla="*/ 5908387 w 10678681"/>
              <a:gd name="connsiteY69" fmla="*/ 1116018 h 1353297"/>
              <a:gd name="connsiteX70" fmla="*/ 5890495 w 10678681"/>
              <a:gd name="connsiteY70" fmla="*/ 1120268 h 1353297"/>
              <a:gd name="connsiteX71" fmla="*/ 5887318 w 10678681"/>
              <a:gd name="connsiteY71" fmla="*/ 1133134 h 1353297"/>
              <a:gd name="connsiteX72" fmla="*/ 5861726 w 10678681"/>
              <a:gd name="connsiteY72" fmla="*/ 1147891 h 1353297"/>
              <a:gd name="connsiteX73" fmla="*/ 5805823 w 10678681"/>
              <a:gd name="connsiteY73" fmla="*/ 1152457 h 1353297"/>
              <a:gd name="connsiteX74" fmla="*/ 5689841 w 10678681"/>
              <a:gd name="connsiteY74" fmla="*/ 1176232 h 1353297"/>
              <a:gd name="connsiteX75" fmla="*/ 5605119 w 10678681"/>
              <a:gd name="connsiteY75" fmla="*/ 1190202 h 1353297"/>
              <a:gd name="connsiteX76" fmla="*/ 5488513 w 10678681"/>
              <a:gd name="connsiteY76" fmla="*/ 1205367 h 1353297"/>
              <a:gd name="connsiteX77" fmla="*/ 5402905 w 10678681"/>
              <a:gd name="connsiteY77" fmla="*/ 1241191 h 1353297"/>
              <a:gd name="connsiteX78" fmla="*/ 5285593 w 10678681"/>
              <a:gd name="connsiteY78" fmla="*/ 1273569 h 1353297"/>
              <a:gd name="connsiteX79" fmla="*/ 5192893 w 10678681"/>
              <a:gd name="connsiteY79" fmla="*/ 1247188 h 1353297"/>
              <a:gd name="connsiteX80" fmla="*/ 5186475 w 10678681"/>
              <a:gd name="connsiteY80" fmla="*/ 1257028 h 1353297"/>
              <a:gd name="connsiteX81" fmla="*/ 5126038 w 10678681"/>
              <a:gd name="connsiteY81" fmla="*/ 1263189 h 1353297"/>
              <a:gd name="connsiteX82" fmla="*/ 4894688 w 10678681"/>
              <a:gd name="connsiteY82" fmla="*/ 1247184 h 1353297"/>
              <a:gd name="connsiteX83" fmla="*/ 4788036 w 10678681"/>
              <a:gd name="connsiteY83" fmla="*/ 1238182 h 1353297"/>
              <a:gd name="connsiteX84" fmla="*/ 4747555 w 10678681"/>
              <a:gd name="connsiteY84" fmla="*/ 1252768 h 1353297"/>
              <a:gd name="connsiteX85" fmla="*/ 4679644 w 10678681"/>
              <a:gd name="connsiteY85" fmla="*/ 1276603 h 1353297"/>
              <a:gd name="connsiteX86" fmla="*/ 4632222 w 10678681"/>
              <a:gd name="connsiteY86" fmla="*/ 1318360 h 1353297"/>
              <a:gd name="connsiteX87" fmla="*/ 4617358 w 10678681"/>
              <a:gd name="connsiteY87" fmla="*/ 1327690 h 1353297"/>
              <a:gd name="connsiteX88" fmla="*/ 4589102 w 10678681"/>
              <a:gd name="connsiteY88" fmla="*/ 1321223 h 1353297"/>
              <a:gd name="connsiteX89" fmla="*/ 4578184 w 10678681"/>
              <a:gd name="connsiteY89" fmla="*/ 1326745 h 1353297"/>
              <a:gd name="connsiteX90" fmla="*/ 4574270 w 10678681"/>
              <a:gd name="connsiteY90" fmla="*/ 1325878 h 1353297"/>
              <a:gd name="connsiteX91" fmla="*/ 4564919 w 10678681"/>
              <a:gd name="connsiteY91" fmla="*/ 1325507 h 1353297"/>
              <a:gd name="connsiteX92" fmla="*/ 4566586 w 10678681"/>
              <a:gd name="connsiteY92" fmla="*/ 1316963 h 1353297"/>
              <a:gd name="connsiteX93" fmla="*/ 4556303 w 10678681"/>
              <a:gd name="connsiteY93" fmla="*/ 1300262 h 1353297"/>
              <a:gd name="connsiteX94" fmla="*/ 4502358 w 10678681"/>
              <a:gd name="connsiteY94" fmla="*/ 1302558 h 1353297"/>
              <a:gd name="connsiteX95" fmla="*/ 4498919 w 10678681"/>
              <a:gd name="connsiteY95" fmla="*/ 1312115 h 1353297"/>
              <a:gd name="connsiteX96" fmla="*/ 4492075 w 10678681"/>
              <a:gd name="connsiteY96" fmla="*/ 1313357 h 1353297"/>
              <a:gd name="connsiteX97" fmla="*/ 4487466 w 10678681"/>
              <a:gd name="connsiteY97" fmla="*/ 1304102 h 1353297"/>
              <a:gd name="connsiteX98" fmla="*/ 4398292 w 10678681"/>
              <a:gd name="connsiteY98" fmla="*/ 1278410 h 1353297"/>
              <a:gd name="connsiteX99" fmla="*/ 4306088 w 10678681"/>
              <a:gd name="connsiteY99" fmla="*/ 1282512 h 1353297"/>
              <a:gd name="connsiteX100" fmla="*/ 4188995 w 10678681"/>
              <a:gd name="connsiteY100" fmla="*/ 1296718 h 1353297"/>
              <a:gd name="connsiteX101" fmla="*/ 4136582 w 10678681"/>
              <a:gd name="connsiteY101" fmla="*/ 1287687 h 1353297"/>
              <a:gd name="connsiteX102" fmla="*/ 4064614 w 10678681"/>
              <a:gd name="connsiteY102" fmla="*/ 1296118 h 1353297"/>
              <a:gd name="connsiteX103" fmla="*/ 3906561 w 10678681"/>
              <a:gd name="connsiteY103" fmla="*/ 1352435 h 1353297"/>
              <a:gd name="connsiteX104" fmla="*/ 3787890 w 10678681"/>
              <a:gd name="connsiteY104" fmla="*/ 1352442 h 1353297"/>
              <a:gd name="connsiteX105" fmla="*/ 3745993 w 10678681"/>
              <a:gd name="connsiteY105" fmla="*/ 1342630 h 1353297"/>
              <a:gd name="connsiteX106" fmla="*/ 3675785 w 10678681"/>
              <a:gd name="connsiteY106" fmla="*/ 1326802 h 1353297"/>
              <a:gd name="connsiteX107" fmla="*/ 3623856 w 10678681"/>
              <a:gd name="connsiteY107" fmla="*/ 1290804 h 1353297"/>
              <a:gd name="connsiteX108" fmla="*/ 3564933 w 10678681"/>
              <a:gd name="connsiteY108" fmla="*/ 1287147 h 1353297"/>
              <a:gd name="connsiteX109" fmla="*/ 3550537 w 10678681"/>
              <a:gd name="connsiteY109" fmla="*/ 1317552 h 1353297"/>
              <a:gd name="connsiteX110" fmla="*/ 3487736 w 10678681"/>
              <a:gd name="connsiteY110" fmla="*/ 1303493 h 1353297"/>
              <a:gd name="connsiteX111" fmla="*/ 3392548 w 10678681"/>
              <a:gd name="connsiteY111" fmla="*/ 1278741 h 1353297"/>
              <a:gd name="connsiteX112" fmla="*/ 3337466 w 10678681"/>
              <a:gd name="connsiteY112" fmla="*/ 1272537 h 1353297"/>
              <a:gd name="connsiteX113" fmla="*/ 3187206 w 10678681"/>
              <a:gd name="connsiteY113" fmla="*/ 1246821 h 1353297"/>
              <a:gd name="connsiteX114" fmla="*/ 3036856 w 10678681"/>
              <a:gd name="connsiteY114" fmla="*/ 1214383 h 1353297"/>
              <a:gd name="connsiteX115" fmla="*/ 2824973 w 10678681"/>
              <a:gd name="connsiteY115" fmla="*/ 1134864 h 1353297"/>
              <a:gd name="connsiteX116" fmla="*/ 2804398 w 10678681"/>
              <a:gd name="connsiteY116" fmla="*/ 1125556 h 1353297"/>
              <a:gd name="connsiteX117" fmla="*/ 2775396 w 10678681"/>
              <a:gd name="connsiteY117" fmla="*/ 1130148 h 1353297"/>
              <a:gd name="connsiteX118" fmla="*/ 2659096 w 10678681"/>
              <a:gd name="connsiteY118" fmla="*/ 1150294 h 1353297"/>
              <a:gd name="connsiteX119" fmla="*/ 2567088 w 10678681"/>
              <a:gd name="connsiteY119" fmla="*/ 1181781 h 1353297"/>
              <a:gd name="connsiteX120" fmla="*/ 2454501 w 10678681"/>
              <a:gd name="connsiteY120" fmla="*/ 1155455 h 1353297"/>
              <a:gd name="connsiteX121" fmla="*/ 2385161 w 10678681"/>
              <a:gd name="connsiteY121" fmla="*/ 1161312 h 1353297"/>
              <a:gd name="connsiteX122" fmla="*/ 2273361 w 10678681"/>
              <a:gd name="connsiteY122" fmla="*/ 1134090 h 1353297"/>
              <a:gd name="connsiteX123" fmla="*/ 2132003 w 10678681"/>
              <a:gd name="connsiteY123" fmla="*/ 1139225 h 1353297"/>
              <a:gd name="connsiteX124" fmla="*/ 2041224 w 10678681"/>
              <a:gd name="connsiteY124" fmla="*/ 1147536 h 1353297"/>
              <a:gd name="connsiteX125" fmla="*/ 2010157 w 10678681"/>
              <a:gd name="connsiteY125" fmla="*/ 1152767 h 1353297"/>
              <a:gd name="connsiteX126" fmla="*/ 1859213 w 10678681"/>
              <a:gd name="connsiteY126" fmla="*/ 1199540 h 1353297"/>
              <a:gd name="connsiteX127" fmla="*/ 1735877 w 10678681"/>
              <a:gd name="connsiteY127" fmla="*/ 1246527 h 1353297"/>
              <a:gd name="connsiteX128" fmla="*/ 1705069 w 10678681"/>
              <a:gd name="connsiteY128" fmla="*/ 1251989 h 1353297"/>
              <a:gd name="connsiteX129" fmla="*/ 1307888 w 10678681"/>
              <a:gd name="connsiteY129" fmla="*/ 1283156 h 1353297"/>
              <a:gd name="connsiteX130" fmla="*/ 1220734 w 10678681"/>
              <a:gd name="connsiteY130" fmla="*/ 1257811 h 1353297"/>
              <a:gd name="connsiteX131" fmla="*/ 1021737 w 10678681"/>
              <a:gd name="connsiteY131" fmla="*/ 1238739 h 1353297"/>
              <a:gd name="connsiteX132" fmla="*/ 959820 w 10678681"/>
              <a:gd name="connsiteY132" fmla="*/ 1275863 h 1353297"/>
              <a:gd name="connsiteX133" fmla="*/ 929137 w 10678681"/>
              <a:gd name="connsiteY133" fmla="*/ 1273957 h 1353297"/>
              <a:gd name="connsiteX134" fmla="*/ 878849 w 10678681"/>
              <a:gd name="connsiteY134" fmla="*/ 1266740 h 1353297"/>
              <a:gd name="connsiteX135" fmla="*/ 800667 w 10678681"/>
              <a:gd name="connsiteY135" fmla="*/ 1282041 h 1353297"/>
              <a:gd name="connsiteX136" fmla="*/ 644906 w 10678681"/>
              <a:gd name="connsiteY136" fmla="*/ 1273685 h 1353297"/>
              <a:gd name="connsiteX137" fmla="*/ 379869 w 10678681"/>
              <a:gd name="connsiteY137" fmla="*/ 1339165 h 1353297"/>
              <a:gd name="connsiteX138" fmla="*/ 137696 w 10678681"/>
              <a:gd name="connsiteY138" fmla="*/ 1319217 h 1353297"/>
              <a:gd name="connsiteX139" fmla="*/ 54250 w 10678681"/>
              <a:gd name="connsiteY139" fmla="*/ 1315838 h 1353297"/>
              <a:gd name="connsiteX140" fmla="*/ 28042 w 10678681"/>
              <a:gd name="connsiteY140" fmla="*/ 1297822 h 1353297"/>
              <a:gd name="connsiteX141" fmla="*/ 0 w 10678681"/>
              <a:gd name="connsiteY141" fmla="*/ 1294612 h 1353297"/>
              <a:gd name="connsiteX142" fmla="*/ 0 w 10678681"/>
              <a:gd name="connsiteY142" fmla="*/ 0 h 1353297"/>
              <a:gd name="connsiteX0" fmla="*/ 0 w 10678681"/>
              <a:gd name="connsiteY0" fmla="*/ 0 h 1353297"/>
              <a:gd name="connsiteX1" fmla="*/ 10678681 w 10678681"/>
              <a:gd name="connsiteY1" fmla="*/ 0 h 1353297"/>
              <a:gd name="connsiteX2" fmla="*/ 10666019 w 10678681"/>
              <a:gd name="connsiteY2" fmla="*/ 7876 h 1353297"/>
              <a:gd name="connsiteX3" fmla="*/ 10632825 w 10678681"/>
              <a:gd name="connsiteY3" fmla="*/ 32153 h 1353297"/>
              <a:gd name="connsiteX4" fmla="*/ 10510605 w 10678681"/>
              <a:gd name="connsiteY4" fmla="*/ 30449 h 1353297"/>
              <a:gd name="connsiteX5" fmla="*/ 10456989 w 10678681"/>
              <a:gd name="connsiteY5" fmla="*/ 979 h 1353297"/>
              <a:gd name="connsiteX6" fmla="*/ 10438642 w 10678681"/>
              <a:gd name="connsiteY6" fmla="*/ 1524 h 1353297"/>
              <a:gd name="connsiteX7" fmla="*/ 10407146 w 10678681"/>
              <a:gd name="connsiteY7" fmla="*/ 43659 h 1353297"/>
              <a:gd name="connsiteX8" fmla="*/ 10357996 w 10678681"/>
              <a:gd name="connsiteY8" fmla="*/ 50836 h 1353297"/>
              <a:gd name="connsiteX9" fmla="*/ 10306667 w 10678681"/>
              <a:gd name="connsiteY9" fmla="*/ 109739 h 1353297"/>
              <a:gd name="connsiteX10" fmla="*/ 10115334 w 10678681"/>
              <a:gd name="connsiteY10" fmla="*/ 155658 h 1353297"/>
              <a:gd name="connsiteX11" fmla="*/ 10068157 w 10678681"/>
              <a:gd name="connsiteY11" fmla="*/ 215673 h 1353297"/>
              <a:gd name="connsiteX12" fmla="*/ 10045431 w 10678681"/>
              <a:gd name="connsiteY12" fmla="*/ 229568 h 1353297"/>
              <a:gd name="connsiteX13" fmla="*/ 10013265 w 10678681"/>
              <a:gd name="connsiteY13" fmla="*/ 284757 h 1353297"/>
              <a:gd name="connsiteX14" fmla="*/ 9862496 w 10678681"/>
              <a:gd name="connsiteY14" fmla="*/ 223033 h 1353297"/>
              <a:gd name="connsiteX15" fmla="*/ 9679638 w 10678681"/>
              <a:gd name="connsiteY15" fmla="*/ 277462 h 1353297"/>
              <a:gd name="connsiteX16" fmla="*/ 9498347 w 10678681"/>
              <a:gd name="connsiteY16" fmla="*/ 244723 h 1353297"/>
              <a:gd name="connsiteX17" fmla="*/ 9399702 w 10678681"/>
              <a:gd name="connsiteY17" fmla="*/ 276316 h 1353297"/>
              <a:gd name="connsiteX18" fmla="*/ 9378439 w 10678681"/>
              <a:gd name="connsiteY18" fmla="*/ 326244 h 1353297"/>
              <a:gd name="connsiteX19" fmla="*/ 9121744 w 10678681"/>
              <a:gd name="connsiteY19" fmla="*/ 365177 h 1353297"/>
              <a:gd name="connsiteX20" fmla="*/ 9061654 w 10678681"/>
              <a:gd name="connsiteY20" fmla="*/ 393730 h 1353297"/>
              <a:gd name="connsiteX21" fmla="*/ 8997577 w 10678681"/>
              <a:gd name="connsiteY21" fmla="*/ 380865 h 1353297"/>
              <a:gd name="connsiteX22" fmla="*/ 8907968 w 10678681"/>
              <a:gd name="connsiteY22" fmla="*/ 447345 h 1353297"/>
              <a:gd name="connsiteX23" fmla="*/ 8764163 w 10678681"/>
              <a:gd name="connsiteY23" fmla="*/ 471000 h 1353297"/>
              <a:gd name="connsiteX24" fmla="*/ 8680155 w 10678681"/>
              <a:gd name="connsiteY24" fmla="*/ 492404 h 1353297"/>
              <a:gd name="connsiteX25" fmla="*/ 8651436 w 10678681"/>
              <a:gd name="connsiteY25" fmla="*/ 511923 h 1353297"/>
              <a:gd name="connsiteX26" fmla="*/ 8609185 w 10678681"/>
              <a:gd name="connsiteY26" fmla="*/ 531525 h 1353297"/>
              <a:gd name="connsiteX27" fmla="*/ 8537091 w 10678681"/>
              <a:gd name="connsiteY27" fmla="*/ 574933 h 1353297"/>
              <a:gd name="connsiteX28" fmla="*/ 8435931 w 10678681"/>
              <a:gd name="connsiteY28" fmla="*/ 617926 h 1353297"/>
              <a:gd name="connsiteX29" fmla="*/ 8348623 w 10678681"/>
              <a:gd name="connsiteY29" fmla="*/ 600607 h 1353297"/>
              <a:gd name="connsiteX30" fmla="*/ 8344233 w 10678681"/>
              <a:gd name="connsiteY30" fmla="*/ 610922 h 1353297"/>
              <a:gd name="connsiteX31" fmla="*/ 8290622 w 10678681"/>
              <a:gd name="connsiteY31" fmla="*/ 622687 h 1353297"/>
              <a:gd name="connsiteX32" fmla="*/ 8086698 w 10678681"/>
              <a:gd name="connsiteY32" fmla="*/ 605185 h 1353297"/>
              <a:gd name="connsiteX33" fmla="*/ 7982378 w 10678681"/>
              <a:gd name="connsiteY33" fmla="*/ 629799 h 1353297"/>
              <a:gd name="connsiteX34" fmla="*/ 7947952 w 10678681"/>
              <a:gd name="connsiteY34" fmla="*/ 648003 h 1353297"/>
              <a:gd name="connsiteX35" fmla="*/ 7890112 w 10678681"/>
              <a:gd name="connsiteY35" fmla="*/ 677915 h 1353297"/>
              <a:gd name="connsiteX36" fmla="*/ 7853284 w 10678681"/>
              <a:gd name="connsiteY36" fmla="*/ 723588 h 1353297"/>
              <a:gd name="connsiteX37" fmla="*/ 7802383 w 10678681"/>
              <a:gd name="connsiteY37" fmla="*/ 739359 h 1353297"/>
              <a:gd name="connsiteX38" fmla="*/ 7730518 w 10678681"/>
              <a:gd name="connsiteY38" fmla="*/ 739526 h 1353297"/>
              <a:gd name="connsiteX39" fmla="*/ 7652907 w 10678681"/>
              <a:gd name="connsiteY39" fmla="*/ 783273 h 1353297"/>
              <a:gd name="connsiteX40" fmla="*/ 7606008 w 10678681"/>
              <a:gd name="connsiteY40" fmla="*/ 800717 h 1353297"/>
              <a:gd name="connsiteX41" fmla="*/ 7480223 w 10678681"/>
              <a:gd name="connsiteY41" fmla="*/ 856821 h 1353297"/>
              <a:gd name="connsiteX42" fmla="*/ 7356005 w 10678681"/>
              <a:gd name="connsiteY42" fmla="*/ 919462 h 1353297"/>
              <a:gd name="connsiteX43" fmla="*/ 7305396 w 10678681"/>
              <a:gd name="connsiteY43" fmla="*/ 986228 h 1353297"/>
              <a:gd name="connsiteX44" fmla="*/ 7266251 w 10678681"/>
              <a:gd name="connsiteY44" fmla="*/ 967864 h 1353297"/>
              <a:gd name="connsiteX45" fmla="*/ 7269396 w 10678681"/>
              <a:gd name="connsiteY45" fmla="*/ 989282 h 1353297"/>
              <a:gd name="connsiteX46" fmla="*/ 7258094 w 10678681"/>
              <a:gd name="connsiteY46" fmla="*/ 990679 h 1353297"/>
              <a:gd name="connsiteX47" fmla="*/ 7257893 w 10678681"/>
              <a:gd name="connsiteY47" fmla="*/ 991204 h 1353297"/>
              <a:gd name="connsiteX48" fmla="*/ 7247153 w 10678681"/>
              <a:gd name="connsiteY48" fmla="*/ 991550 h 1353297"/>
              <a:gd name="connsiteX49" fmla="*/ 7193612 w 10678681"/>
              <a:gd name="connsiteY49" fmla="*/ 987042 h 1353297"/>
              <a:gd name="connsiteX50" fmla="*/ 7132632 w 10678681"/>
              <a:gd name="connsiteY50" fmla="*/ 1042036 h 1353297"/>
              <a:gd name="connsiteX51" fmla="*/ 7105610 w 10678681"/>
              <a:gd name="connsiteY51" fmla="*/ 1053537 h 1353297"/>
              <a:gd name="connsiteX52" fmla="*/ 7069148 w 10678681"/>
              <a:gd name="connsiteY52" fmla="*/ 1047163 h 1353297"/>
              <a:gd name="connsiteX53" fmla="*/ 7039634 w 10678681"/>
              <a:gd name="connsiteY53" fmla="*/ 1059971 h 1353297"/>
              <a:gd name="connsiteX54" fmla="*/ 7033445 w 10678681"/>
              <a:gd name="connsiteY54" fmla="*/ 1063314 h 1353297"/>
              <a:gd name="connsiteX55" fmla="*/ 6999157 w 10678681"/>
              <a:gd name="connsiteY55" fmla="*/ 1055282 h 1353297"/>
              <a:gd name="connsiteX56" fmla="*/ 6981874 w 10678681"/>
              <a:gd name="connsiteY56" fmla="*/ 1053827 h 1353297"/>
              <a:gd name="connsiteX57" fmla="*/ 6976102 w 10678681"/>
              <a:gd name="connsiteY57" fmla="*/ 1047854 h 1353297"/>
              <a:gd name="connsiteX58" fmla="*/ 6951040 w 10678681"/>
              <a:gd name="connsiteY58" fmla="*/ 1048531 h 1353297"/>
              <a:gd name="connsiteX59" fmla="*/ 6948497 w 10678681"/>
              <a:gd name="connsiteY59" fmla="*/ 1050706 h 1353297"/>
              <a:gd name="connsiteX60" fmla="*/ 6926582 w 10678681"/>
              <a:gd name="connsiteY60" fmla="*/ 1043462 h 1353297"/>
              <a:gd name="connsiteX61" fmla="*/ 6833743 w 10678681"/>
              <a:gd name="connsiteY61" fmla="*/ 1027960 h 1353297"/>
              <a:gd name="connsiteX62" fmla="*/ 6687090 w 10678681"/>
              <a:gd name="connsiteY62" fmla="*/ 1063250 h 1353297"/>
              <a:gd name="connsiteX63" fmla="*/ 6437450 w 10678681"/>
              <a:gd name="connsiteY63" fmla="*/ 1101075 h 1353297"/>
              <a:gd name="connsiteX64" fmla="*/ 6327795 w 10678681"/>
              <a:gd name="connsiteY64" fmla="*/ 1088142 h 1353297"/>
              <a:gd name="connsiteX65" fmla="*/ 6136549 w 10678681"/>
              <a:gd name="connsiteY65" fmla="*/ 1100268 h 1353297"/>
              <a:gd name="connsiteX66" fmla="*/ 6004655 w 10678681"/>
              <a:gd name="connsiteY66" fmla="*/ 1114946 h 1353297"/>
              <a:gd name="connsiteX67" fmla="*/ 5936643 w 10678681"/>
              <a:gd name="connsiteY67" fmla="*/ 1095428 h 1353297"/>
              <a:gd name="connsiteX68" fmla="*/ 5912484 w 10678681"/>
              <a:gd name="connsiteY68" fmla="*/ 1112624 h 1353297"/>
              <a:gd name="connsiteX69" fmla="*/ 5908387 w 10678681"/>
              <a:gd name="connsiteY69" fmla="*/ 1116018 h 1353297"/>
              <a:gd name="connsiteX70" fmla="*/ 5890495 w 10678681"/>
              <a:gd name="connsiteY70" fmla="*/ 1120268 h 1353297"/>
              <a:gd name="connsiteX71" fmla="*/ 5887318 w 10678681"/>
              <a:gd name="connsiteY71" fmla="*/ 1133134 h 1353297"/>
              <a:gd name="connsiteX72" fmla="*/ 5861726 w 10678681"/>
              <a:gd name="connsiteY72" fmla="*/ 1147891 h 1353297"/>
              <a:gd name="connsiteX73" fmla="*/ 5805823 w 10678681"/>
              <a:gd name="connsiteY73" fmla="*/ 1152457 h 1353297"/>
              <a:gd name="connsiteX74" fmla="*/ 5689841 w 10678681"/>
              <a:gd name="connsiteY74" fmla="*/ 1176232 h 1353297"/>
              <a:gd name="connsiteX75" fmla="*/ 5605119 w 10678681"/>
              <a:gd name="connsiteY75" fmla="*/ 1190202 h 1353297"/>
              <a:gd name="connsiteX76" fmla="*/ 5488513 w 10678681"/>
              <a:gd name="connsiteY76" fmla="*/ 1205367 h 1353297"/>
              <a:gd name="connsiteX77" fmla="*/ 5402905 w 10678681"/>
              <a:gd name="connsiteY77" fmla="*/ 1241191 h 1353297"/>
              <a:gd name="connsiteX78" fmla="*/ 5285593 w 10678681"/>
              <a:gd name="connsiteY78" fmla="*/ 1273569 h 1353297"/>
              <a:gd name="connsiteX79" fmla="*/ 5192893 w 10678681"/>
              <a:gd name="connsiteY79" fmla="*/ 1247188 h 1353297"/>
              <a:gd name="connsiteX80" fmla="*/ 5186475 w 10678681"/>
              <a:gd name="connsiteY80" fmla="*/ 1257028 h 1353297"/>
              <a:gd name="connsiteX81" fmla="*/ 5126038 w 10678681"/>
              <a:gd name="connsiteY81" fmla="*/ 1263189 h 1353297"/>
              <a:gd name="connsiteX82" fmla="*/ 4894688 w 10678681"/>
              <a:gd name="connsiteY82" fmla="*/ 1247184 h 1353297"/>
              <a:gd name="connsiteX83" fmla="*/ 4788036 w 10678681"/>
              <a:gd name="connsiteY83" fmla="*/ 1238182 h 1353297"/>
              <a:gd name="connsiteX84" fmla="*/ 4747555 w 10678681"/>
              <a:gd name="connsiteY84" fmla="*/ 1252768 h 1353297"/>
              <a:gd name="connsiteX85" fmla="*/ 4679644 w 10678681"/>
              <a:gd name="connsiteY85" fmla="*/ 1276603 h 1353297"/>
              <a:gd name="connsiteX86" fmla="*/ 4632222 w 10678681"/>
              <a:gd name="connsiteY86" fmla="*/ 1318360 h 1353297"/>
              <a:gd name="connsiteX87" fmla="*/ 4617358 w 10678681"/>
              <a:gd name="connsiteY87" fmla="*/ 1327690 h 1353297"/>
              <a:gd name="connsiteX88" fmla="*/ 4589102 w 10678681"/>
              <a:gd name="connsiteY88" fmla="*/ 1321223 h 1353297"/>
              <a:gd name="connsiteX89" fmla="*/ 4578184 w 10678681"/>
              <a:gd name="connsiteY89" fmla="*/ 1326745 h 1353297"/>
              <a:gd name="connsiteX90" fmla="*/ 4574270 w 10678681"/>
              <a:gd name="connsiteY90" fmla="*/ 1325878 h 1353297"/>
              <a:gd name="connsiteX91" fmla="*/ 4564919 w 10678681"/>
              <a:gd name="connsiteY91" fmla="*/ 1325507 h 1353297"/>
              <a:gd name="connsiteX92" fmla="*/ 4566586 w 10678681"/>
              <a:gd name="connsiteY92" fmla="*/ 1316963 h 1353297"/>
              <a:gd name="connsiteX93" fmla="*/ 4556303 w 10678681"/>
              <a:gd name="connsiteY93" fmla="*/ 1300262 h 1353297"/>
              <a:gd name="connsiteX94" fmla="*/ 4502358 w 10678681"/>
              <a:gd name="connsiteY94" fmla="*/ 1302558 h 1353297"/>
              <a:gd name="connsiteX95" fmla="*/ 4498919 w 10678681"/>
              <a:gd name="connsiteY95" fmla="*/ 1312115 h 1353297"/>
              <a:gd name="connsiteX96" fmla="*/ 4492075 w 10678681"/>
              <a:gd name="connsiteY96" fmla="*/ 1313357 h 1353297"/>
              <a:gd name="connsiteX97" fmla="*/ 4487466 w 10678681"/>
              <a:gd name="connsiteY97" fmla="*/ 1304102 h 1353297"/>
              <a:gd name="connsiteX98" fmla="*/ 4398292 w 10678681"/>
              <a:gd name="connsiteY98" fmla="*/ 1278410 h 1353297"/>
              <a:gd name="connsiteX99" fmla="*/ 4306088 w 10678681"/>
              <a:gd name="connsiteY99" fmla="*/ 1282512 h 1353297"/>
              <a:gd name="connsiteX100" fmla="*/ 4188995 w 10678681"/>
              <a:gd name="connsiteY100" fmla="*/ 1296718 h 1353297"/>
              <a:gd name="connsiteX101" fmla="*/ 4136582 w 10678681"/>
              <a:gd name="connsiteY101" fmla="*/ 1287687 h 1353297"/>
              <a:gd name="connsiteX102" fmla="*/ 4064614 w 10678681"/>
              <a:gd name="connsiteY102" fmla="*/ 1296118 h 1353297"/>
              <a:gd name="connsiteX103" fmla="*/ 3906561 w 10678681"/>
              <a:gd name="connsiteY103" fmla="*/ 1352435 h 1353297"/>
              <a:gd name="connsiteX104" fmla="*/ 3787890 w 10678681"/>
              <a:gd name="connsiteY104" fmla="*/ 1352442 h 1353297"/>
              <a:gd name="connsiteX105" fmla="*/ 3745993 w 10678681"/>
              <a:gd name="connsiteY105" fmla="*/ 1342630 h 1353297"/>
              <a:gd name="connsiteX106" fmla="*/ 3675785 w 10678681"/>
              <a:gd name="connsiteY106" fmla="*/ 1326802 h 1353297"/>
              <a:gd name="connsiteX107" fmla="*/ 3623856 w 10678681"/>
              <a:gd name="connsiteY107" fmla="*/ 1290804 h 1353297"/>
              <a:gd name="connsiteX108" fmla="*/ 3564933 w 10678681"/>
              <a:gd name="connsiteY108" fmla="*/ 1287147 h 1353297"/>
              <a:gd name="connsiteX109" fmla="*/ 3550537 w 10678681"/>
              <a:gd name="connsiteY109" fmla="*/ 1317552 h 1353297"/>
              <a:gd name="connsiteX110" fmla="*/ 3487736 w 10678681"/>
              <a:gd name="connsiteY110" fmla="*/ 1303493 h 1353297"/>
              <a:gd name="connsiteX111" fmla="*/ 3392548 w 10678681"/>
              <a:gd name="connsiteY111" fmla="*/ 1278741 h 1353297"/>
              <a:gd name="connsiteX112" fmla="*/ 3337466 w 10678681"/>
              <a:gd name="connsiteY112" fmla="*/ 1272537 h 1353297"/>
              <a:gd name="connsiteX113" fmla="*/ 3187206 w 10678681"/>
              <a:gd name="connsiteY113" fmla="*/ 1246821 h 1353297"/>
              <a:gd name="connsiteX114" fmla="*/ 3036856 w 10678681"/>
              <a:gd name="connsiteY114" fmla="*/ 1214383 h 1353297"/>
              <a:gd name="connsiteX115" fmla="*/ 2824973 w 10678681"/>
              <a:gd name="connsiteY115" fmla="*/ 1134864 h 1353297"/>
              <a:gd name="connsiteX116" fmla="*/ 2804398 w 10678681"/>
              <a:gd name="connsiteY116" fmla="*/ 1125556 h 1353297"/>
              <a:gd name="connsiteX117" fmla="*/ 2736109 w 10678681"/>
              <a:gd name="connsiteY117" fmla="*/ 1137717 h 1353297"/>
              <a:gd name="connsiteX118" fmla="*/ 2659096 w 10678681"/>
              <a:gd name="connsiteY118" fmla="*/ 1150294 h 1353297"/>
              <a:gd name="connsiteX119" fmla="*/ 2567088 w 10678681"/>
              <a:gd name="connsiteY119" fmla="*/ 1181781 h 1353297"/>
              <a:gd name="connsiteX120" fmla="*/ 2454501 w 10678681"/>
              <a:gd name="connsiteY120" fmla="*/ 1155455 h 1353297"/>
              <a:gd name="connsiteX121" fmla="*/ 2385161 w 10678681"/>
              <a:gd name="connsiteY121" fmla="*/ 1161312 h 1353297"/>
              <a:gd name="connsiteX122" fmla="*/ 2273361 w 10678681"/>
              <a:gd name="connsiteY122" fmla="*/ 1134090 h 1353297"/>
              <a:gd name="connsiteX123" fmla="*/ 2132003 w 10678681"/>
              <a:gd name="connsiteY123" fmla="*/ 1139225 h 1353297"/>
              <a:gd name="connsiteX124" fmla="*/ 2041224 w 10678681"/>
              <a:gd name="connsiteY124" fmla="*/ 1147536 h 1353297"/>
              <a:gd name="connsiteX125" fmla="*/ 2010157 w 10678681"/>
              <a:gd name="connsiteY125" fmla="*/ 1152767 h 1353297"/>
              <a:gd name="connsiteX126" fmla="*/ 1859213 w 10678681"/>
              <a:gd name="connsiteY126" fmla="*/ 1199540 h 1353297"/>
              <a:gd name="connsiteX127" fmla="*/ 1735877 w 10678681"/>
              <a:gd name="connsiteY127" fmla="*/ 1246527 h 1353297"/>
              <a:gd name="connsiteX128" fmla="*/ 1705069 w 10678681"/>
              <a:gd name="connsiteY128" fmla="*/ 1251989 h 1353297"/>
              <a:gd name="connsiteX129" fmla="*/ 1307888 w 10678681"/>
              <a:gd name="connsiteY129" fmla="*/ 1283156 h 1353297"/>
              <a:gd name="connsiteX130" fmla="*/ 1220734 w 10678681"/>
              <a:gd name="connsiteY130" fmla="*/ 1257811 h 1353297"/>
              <a:gd name="connsiteX131" fmla="*/ 1021737 w 10678681"/>
              <a:gd name="connsiteY131" fmla="*/ 1238739 h 1353297"/>
              <a:gd name="connsiteX132" fmla="*/ 959820 w 10678681"/>
              <a:gd name="connsiteY132" fmla="*/ 1275863 h 1353297"/>
              <a:gd name="connsiteX133" fmla="*/ 929137 w 10678681"/>
              <a:gd name="connsiteY133" fmla="*/ 1273957 h 1353297"/>
              <a:gd name="connsiteX134" fmla="*/ 878849 w 10678681"/>
              <a:gd name="connsiteY134" fmla="*/ 1266740 h 1353297"/>
              <a:gd name="connsiteX135" fmla="*/ 800667 w 10678681"/>
              <a:gd name="connsiteY135" fmla="*/ 1282041 h 1353297"/>
              <a:gd name="connsiteX136" fmla="*/ 644906 w 10678681"/>
              <a:gd name="connsiteY136" fmla="*/ 1273685 h 1353297"/>
              <a:gd name="connsiteX137" fmla="*/ 379869 w 10678681"/>
              <a:gd name="connsiteY137" fmla="*/ 1339165 h 1353297"/>
              <a:gd name="connsiteX138" fmla="*/ 137696 w 10678681"/>
              <a:gd name="connsiteY138" fmla="*/ 1319217 h 1353297"/>
              <a:gd name="connsiteX139" fmla="*/ 54250 w 10678681"/>
              <a:gd name="connsiteY139" fmla="*/ 1315838 h 1353297"/>
              <a:gd name="connsiteX140" fmla="*/ 28042 w 10678681"/>
              <a:gd name="connsiteY140" fmla="*/ 1297822 h 1353297"/>
              <a:gd name="connsiteX141" fmla="*/ 0 w 10678681"/>
              <a:gd name="connsiteY141" fmla="*/ 1294612 h 1353297"/>
              <a:gd name="connsiteX142" fmla="*/ 0 w 10678681"/>
              <a:gd name="connsiteY142" fmla="*/ 0 h 1353297"/>
              <a:gd name="connsiteX0" fmla="*/ 0 w 10678681"/>
              <a:gd name="connsiteY0" fmla="*/ 0 h 1353297"/>
              <a:gd name="connsiteX1" fmla="*/ 10678681 w 10678681"/>
              <a:gd name="connsiteY1" fmla="*/ 0 h 1353297"/>
              <a:gd name="connsiteX2" fmla="*/ 10666019 w 10678681"/>
              <a:gd name="connsiteY2" fmla="*/ 7876 h 1353297"/>
              <a:gd name="connsiteX3" fmla="*/ 10632825 w 10678681"/>
              <a:gd name="connsiteY3" fmla="*/ 32153 h 1353297"/>
              <a:gd name="connsiteX4" fmla="*/ 10510605 w 10678681"/>
              <a:gd name="connsiteY4" fmla="*/ 30449 h 1353297"/>
              <a:gd name="connsiteX5" fmla="*/ 10456989 w 10678681"/>
              <a:gd name="connsiteY5" fmla="*/ 979 h 1353297"/>
              <a:gd name="connsiteX6" fmla="*/ 10438642 w 10678681"/>
              <a:gd name="connsiteY6" fmla="*/ 1524 h 1353297"/>
              <a:gd name="connsiteX7" fmla="*/ 10407146 w 10678681"/>
              <a:gd name="connsiteY7" fmla="*/ 43659 h 1353297"/>
              <a:gd name="connsiteX8" fmla="*/ 10357996 w 10678681"/>
              <a:gd name="connsiteY8" fmla="*/ 50836 h 1353297"/>
              <a:gd name="connsiteX9" fmla="*/ 10306667 w 10678681"/>
              <a:gd name="connsiteY9" fmla="*/ 109739 h 1353297"/>
              <a:gd name="connsiteX10" fmla="*/ 10115334 w 10678681"/>
              <a:gd name="connsiteY10" fmla="*/ 155658 h 1353297"/>
              <a:gd name="connsiteX11" fmla="*/ 10068157 w 10678681"/>
              <a:gd name="connsiteY11" fmla="*/ 215673 h 1353297"/>
              <a:gd name="connsiteX12" fmla="*/ 10045431 w 10678681"/>
              <a:gd name="connsiteY12" fmla="*/ 229568 h 1353297"/>
              <a:gd name="connsiteX13" fmla="*/ 10013265 w 10678681"/>
              <a:gd name="connsiteY13" fmla="*/ 284757 h 1353297"/>
              <a:gd name="connsiteX14" fmla="*/ 9862496 w 10678681"/>
              <a:gd name="connsiteY14" fmla="*/ 223033 h 1353297"/>
              <a:gd name="connsiteX15" fmla="*/ 9679638 w 10678681"/>
              <a:gd name="connsiteY15" fmla="*/ 277462 h 1353297"/>
              <a:gd name="connsiteX16" fmla="*/ 9498347 w 10678681"/>
              <a:gd name="connsiteY16" fmla="*/ 244723 h 1353297"/>
              <a:gd name="connsiteX17" fmla="*/ 9399702 w 10678681"/>
              <a:gd name="connsiteY17" fmla="*/ 276316 h 1353297"/>
              <a:gd name="connsiteX18" fmla="*/ 9378439 w 10678681"/>
              <a:gd name="connsiteY18" fmla="*/ 326244 h 1353297"/>
              <a:gd name="connsiteX19" fmla="*/ 9121744 w 10678681"/>
              <a:gd name="connsiteY19" fmla="*/ 365177 h 1353297"/>
              <a:gd name="connsiteX20" fmla="*/ 9061654 w 10678681"/>
              <a:gd name="connsiteY20" fmla="*/ 393730 h 1353297"/>
              <a:gd name="connsiteX21" fmla="*/ 8997577 w 10678681"/>
              <a:gd name="connsiteY21" fmla="*/ 380865 h 1353297"/>
              <a:gd name="connsiteX22" fmla="*/ 8907968 w 10678681"/>
              <a:gd name="connsiteY22" fmla="*/ 447345 h 1353297"/>
              <a:gd name="connsiteX23" fmla="*/ 8764163 w 10678681"/>
              <a:gd name="connsiteY23" fmla="*/ 471000 h 1353297"/>
              <a:gd name="connsiteX24" fmla="*/ 8680155 w 10678681"/>
              <a:gd name="connsiteY24" fmla="*/ 492404 h 1353297"/>
              <a:gd name="connsiteX25" fmla="*/ 8651436 w 10678681"/>
              <a:gd name="connsiteY25" fmla="*/ 511923 h 1353297"/>
              <a:gd name="connsiteX26" fmla="*/ 8609185 w 10678681"/>
              <a:gd name="connsiteY26" fmla="*/ 531525 h 1353297"/>
              <a:gd name="connsiteX27" fmla="*/ 8537091 w 10678681"/>
              <a:gd name="connsiteY27" fmla="*/ 574933 h 1353297"/>
              <a:gd name="connsiteX28" fmla="*/ 8435931 w 10678681"/>
              <a:gd name="connsiteY28" fmla="*/ 617926 h 1353297"/>
              <a:gd name="connsiteX29" fmla="*/ 8348623 w 10678681"/>
              <a:gd name="connsiteY29" fmla="*/ 600607 h 1353297"/>
              <a:gd name="connsiteX30" fmla="*/ 8344233 w 10678681"/>
              <a:gd name="connsiteY30" fmla="*/ 610922 h 1353297"/>
              <a:gd name="connsiteX31" fmla="*/ 8290622 w 10678681"/>
              <a:gd name="connsiteY31" fmla="*/ 622687 h 1353297"/>
              <a:gd name="connsiteX32" fmla="*/ 8086698 w 10678681"/>
              <a:gd name="connsiteY32" fmla="*/ 605185 h 1353297"/>
              <a:gd name="connsiteX33" fmla="*/ 7982378 w 10678681"/>
              <a:gd name="connsiteY33" fmla="*/ 629799 h 1353297"/>
              <a:gd name="connsiteX34" fmla="*/ 7947952 w 10678681"/>
              <a:gd name="connsiteY34" fmla="*/ 648003 h 1353297"/>
              <a:gd name="connsiteX35" fmla="*/ 7890112 w 10678681"/>
              <a:gd name="connsiteY35" fmla="*/ 677915 h 1353297"/>
              <a:gd name="connsiteX36" fmla="*/ 7853284 w 10678681"/>
              <a:gd name="connsiteY36" fmla="*/ 723588 h 1353297"/>
              <a:gd name="connsiteX37" fmla="*/ 7802383 w 10678681"/>
              <a:gd name="connsiteY37" fmla="*/ 739359 h 1353297"/>
              <a:gd name="connsiteX38" fmla="*/ 7730518 w 10678681"/>
              <a:gd name="connsiteY38" fmla="*/ 739526 h 1353297"/>
              <a:gd name="connsiteX39" fmla="*/ 7652907 w 10678681"/>
              <a:gd name="connsiteY39" fmla="*/ 783273 h 1353297"/>
              <a:gd name="connsiteX40" fmla="*/ 7606008 w 10678681"/>
              <a:gd name="connsiteY40" fmla="*/ 800717 h 1353297"/>
              <a:gd name="connsiteX41" fmla="*/ 7480223 w 10678681"/>
              <a:gd name="connsiteY41" fmla="*/ 856821 h 1353297"/>
              <a:gd name="connsiteX42" fmla="*/ 7356005 w 10678681"/>
              <a:gd name="connsiteY42" fmla="*/ 919462 h 1353297"/>
              <a:gd name="connsiteX43" fmla="*/ 7305396 w 10678681"/>
              <a:gd name="connsiteY43" fmla="*/ 986228 h 1353297"/>
              <a:gd name="connsiteX44" fmla="*/ 7266251 w 10678681"/>
              <a:gd name="connsiteY44" fmla="*/ 967864 h 1353297"/>
              <a:gd name="connsiteX45" fmla="*/ 7269396 w 10678681"/>
              <a:gd name="connsiteY45" fmla="*/ 989282 h 1353297"/>
              <a:gd name="connsiteX46" fmla="*/ 7258094 w 10678681"/>
              <a:gd name="connsiteY46" fmla="*/ 990679 h 1353297"/>
              <a:gd name="connsiteX47" fmla="*/ 7257893 w 10678681"/>
              <a:gd name="connsiteY47" fmla="*/ 991204 h 1353297"/>
              <a:gd name="connsiteX48" fmla="*/ 7247153 w 10678681"/>
              <a:gd name="connsiteY48" fmla="*/ 991550 h 1353297"/>
              <a:gd name="connsiteX49" fmla="*/ 7193612 w 10678681"/>
              <a:gd name="connsiteY49" fmla="*/ 987042 h 1353297"/>
              <a:gd name="connsiteX50" fmla="*/ 7132632 w 10678681"/>
              <a:gd name="connsiteY50" fmla="*/ 1042036 h 1353297"/>
              <a:gd name="connsiteX51" fmla="*/ 7105610 w 10678681"/>
              <a:gd name="connsiteY51" fmla="*/ 1053537 h 1353297"/>
              <a:gd name="connsiteX52" fmla="*/ 7069148 w 10678681"/>
              <a:gd name="connsiteY52" fmla="*/ 1047163 h 1353297"/>
              <a:gd name="connsiteX53" fmla="*/ 7039634 w 10678681"/>
              <a:gd name="connsiteY53" fmla="*/ 1059971 h 1353297"/>
              <a:gd name="connsiteX54" fmla="*/ 7033445 w 10678681"/>
              <a:gd name="connsiteY54" fmla="*/ 1063314 h 1353297"/>
              <a:gd name="connsiteX55" fmla="*/ 6999157 w 10678681"/>
              <a:gd name="connsiteY55" fmla="*/ 1055282 h 1353297"/>
              <a:gd name="connsiteX56" fmla="*/ 6981874 w 10678681"/>
              <a:gd name="connsiteY56" fmla="*/ 1053827 h 1353297"/>
              <a:gd name="connsiteX57" fmla="*/ 6976102 w 10678681"/>
              <a:gd name="connsiteY57" fmla="*/ 1047854 h 1353297"/>
              <a:gd name="connsiteX58" fmla="*/ 6951040 w 10678681"/>
              <a:gd name="connsiteY58" fmla="*/ 1048531 h 1353297"/>
              <a:gd name="connsiteX59" fmla="*/ 6948497 w 10678681"/>
              <a:gd name="connsiteY59" fmla="*/ 1050706 h 1353297"/>
              <a:gd name="connsiteX60" fmla="*/ 6926582 w 10678681"/>
              <a:gd name="connsiteY60" fmla="*/ 1043462 h 1353297"/>
              <a:gd name="connsiteX61" fmla="*/ 6833743 w 10678681"/>
              <a:gd name="connsiteY61" fmla="*/ 1027960 h 1353297"/>
              <a:gd name="connsiteX62" fmla="*/ 6687090 w 10678681"/>
              <a:gd name="connsiteY62" fmla="*/ 1063250 h 1353297"/>
              <a:gd name="connsiteX63" fmla="*/ 6437450 w 10678681"/>
              <a:gd name="connsiteY63" fmla="*/ 1101075 h 1353297"/>
              <a:gd name="connsiteX64" fmla="*/ 6327795 w 10678681"/>
              <a:gd name="connsiteY64" fmla="*/ 1088142 h 1353297"/>
              <a:gd name="connsiteX65" fmla="*/ 6136549 w 10678681"/>
              <a:gd name="connsiteY65" fmla="*/ 1100268 h 1353297"/>
              <a:gd name="connsiteX66" fmla="*/ 6004655 w 10678681"/>
              <a:gd name="connsiteY66" fmla="*/ 1114946 h 1353297"/>
              <a:gd name="connsiteX67" fmla="*/ 5936643 w 10678681"/>
              <a:gd name="connsiteY67" fmla="*/ 1095428 h 1353297"/>
              <a:gd name="connsiteX68" fmla="*/ 5912484 w 10678681"/>
              <a:gd name="connsiteY68" fmla="*/ 1112624 h 1353297"/>
              <a:gd name="connsiteX69" fmla="*/ 5908387 w 10678681"/>
              <a:gd name="connsiteY69" fmla="*/ 1116018 h 1353297"/>
              <a:gd name="connsiteX70" fmla="*/ 5890495 w 10678681"/>
              <a:gd name="connsiteY70" fmla="*/ 1120268 h 1353297"/>
              <a:gd name="connsiteX71" fmla="*/ 5887318 w 10678681"/>
              <a:gd name="connsiteY71" fmla="*/ 1133134 h 1353297"/>
              <a:gd name="connsiteX72" fmla="*/ 5861726 w 10678681"/>
              <a:gd name="connsiteY72" fmla="*/ 1147891 h 1353297"/>
              <a:gd name="connsiteX73" fmla="*/ 5805823 w 10678681"/>
              <a:gd name="connsiteY73" fmla="*/ 1152457 h 1353297"/>
              <a:gd name="connsiteX74" fmla="*/ 5689841 w 10678681"/>
              <a:gd name="connsiteY74" fmla="*/ 1176232 h 1353297"/>
              <a:gd name="connsiteX75" fmla="*/ 5605119 w 10678681"/>
              <a:gd name="connsiteY75" fmla="*/ 1190202 h 1353297"/>
              <a:gd name="connsiteX76" fmla="*/ 5488513 w 10678681"/>
              <a:gd name="connsiteY76" fmla="*/ 1205367 h 1353297"/>
              <a:gd name="connsiteX77" fmla="*/ 5402905 w 10678681"/>
              <a:gd name="connsiteY77" fmla="*/ 1241191 h 1353297"/>
              <a:gd name="connsiteX78" fmla="*/ 5285593 w 10678681"/>
              <a:gd name="connsiteY78" fmla="*/ 1273569 h 1353297"/>
              <a:gd name="connsiteX79" fmla="*/ 5192893 w 10678681"/>
              <a:gd name="connsiteY79" fmla="*/ 1247188 h 1353297"/>
              <a:gd name="connsiteX80" fmla="*/ 5186475 w 10678681"/>
              <a:gd name="connsiteY80" fmla="*/ 1257028 h 1353297"/>
              <a:gd name="connsiteX81" fmla="*/ 5126038 w 10678681"/>
              <a:gd name="connsiteY81" fmla="*/ 1263189 h 1353297"/>
              <a:gd name="connsiteX82" fmla="*/ 4894688 w 10678681"/>
              <a:gd name="connsiteY82" fmla="*/ 1247184 h 1353297"/>
              <a:gd name="connsiteX83" fmla="*/ 4788036 w 10678681"/>
              <a:gd name="connsiteY83" fmla="*/ 1238182 h 1353297"/>
              <a:gd name="connsiteX84" fmla="*/ 4747555 w 10678681"/>
              <a:gd name="connsiteY84" fmla="*/ 1252768 h 1353297"/>
              <a:gd name="connsiteX85" fmla="*/ 4679644 w 10678681"/>
              <a:gd name="connsiteY85" fmla="*/ 1276603 h 1353297"/>
              <a:gd name="connsiteX86" fmla="*/ 4632222 w 10678681"/>
              <a:gd name="connsiteY86" fmla="*/ 1318360 h 1353297"/>
              <a:gd name="connsiteX87" fmla="*/ 4617358 w 10678681"/>
              <a:gd name="connsiteY87" fmla="*/ 1327690 h 1353297"/>
              <a:gd name="connsiteX88" fmla="*/ 4589102 w 10678681"/>
              <a:gd name="connsiteY88" fmla="*/ 1321223 h 1353297"/>
              <a:gd name="connsiteX89" fmla="*/ 4578184 w 10678681"/>
              <a:gd name="connsiteY89" fmla="*/ 1326745 h 1353297"/>
              <a:gd name="connsiteX90" fmla="*/ 4574270 w 10678681"/>
              <a:gd name="connsiteY90" fmla="*/ 1325878 h 1353297"/>
              <a:gd name="connsiteX91" fmla="*/ 4564919 w 10678681"/>
              <a:gd name="connsiteY91" fmla="*/ 1325507 h 1353297"/>
              <a:gd name="connsiteX92" fmla="*/ 4566586 w 10678681"/>
              <a:gd name="connsiteY92" fmla="*/ 1316963 h 1353297"/>
              <a:gd name="connsiteX93" fmla="*/ 4556303 w 10678681"/>
              <a:gd name="connsiteY93" fmla="*/ 1300262 h 1353297"/>
              <a:gd name="connsiteX94" fmla="*/ 4502358 w 10678681"/>
              <a:gd name="connsiteY94" fmla="*/ 1302558 h 1353297"/>
              <a:gd name="connsiteX95" fmla="*/ 4498919 w 10678681"/>
              <a:gd name="connsiteY95" fmla="*/ 1312115 h 1353297"/>
              <a:gd name="connsiteX96" fmla="*/ 4492075 w 10678681"/>
              <a:gd name="connsiteY96" fmla="*/ 1313357 h 1353297"/>
              <a:gd name="connsiteX97" fmla="*/ 4487466 w 10678681"/>
              <a:gd name="connsiteY97" fmla="*/ 1304102 h 1353297"/>
              <a:gd name="connsiteX98" fmla="*/ 4398292 w 10678681"/>
              <a:gd name="connsiteY98" fmla="*/ 1278410 h 1353297"/>
              <a:gd name="connsiteX99" fmla="*/ 4306088 w 10678681"/>
              <a:gd name="connsiteY99" fmla="*/ 1282512 h 1353297"/>
              <a:gd name="connsiteX100" fmla="*/ 4188995 w 10678681"/>
              <a:gd name="connsiteY100" fmla="*/ 1296718 h 1353297"/>
              <a:gd name="connsiteX101" fmla="*/ 4136582 w 10678681"/>
              <a:gd name="connsiteY101" fmla="*/ 1287687 h 1353297"/>
              <a:gd name="connsiteX102" fmla="*/ 4064614 w 10678681"/>
              <a:gd name="connsiteY102" fmla="*/ 1296118 h 1353297"/>
              <a:gd name="connsiteX103" fmla="*/ 3906561 w 10678681"/>
              <a:gd name="connsiteY103" fmla="*/ 1352435 h 1353297"/>
              <a:gd name="connsiteX104" fmla="*/ 3787890 w 10678681"/>
              <a:gd name="connsiteY104" fmla="*/ 1352442 h 1353297"/>
              <a:gd name="connsiteX105" fmla="*/ 3745993 w 10678681"/>
              <a:gd name="connsiteY105" fmla="*/ 1342630 h 1353297"/>
              <a:gd name="connsiteX106" fmla="*/ 3675785 w 10678681"/>
              <a:gd name="connsiteY106" fmla="*/ 1326802 h 1353297"/>
              <a:gd name="connsiteX107" fmla="*/ 3623856 w 10678681"/>
              <a:gd name="connsiteY107" fmla="*/ 1290804 h 1353297"/>
              <a:gd name="connsiteX108" fmla="*/ 3564933 w 10678681"/>
              <a:gd name="connsiteY108" fmla="*/ 1287147 h 1353297"/>
              <a:gd name="connsiteX109" fmla="*/ 3550537 w 10678681"/>
              <a:gd name="connsiteY109" fmla="*/ 1317552 h 1353297"/>
              <a:gd name="connsiteX110" fmla="*/ 3487736 w 10678681"/>
              <a:gd name="connsiteY110" fmla="*/ 1303493 h 1353297"/>
              <a:gd name="connsiteX111" fmla="*/ 3392548 w 10678681"/>
              <a:gd name="connsiteY111" fmla="*/ 1278741 h 1353297"/>
              <a:gd name="connsiteX112" fmla="*/ 3337466 w 10678681"/>
              <a:gd name="connsiteY112" fmla="*/ 1272537 h 1353297"/>
              <a:gd name="connsiteX113" fmla="*/ 3175981 w 10678681"/>
              <a:gd name="connsiteY113" fmla="*/ 1208973 h 1353297"/>
              <a:gd name="connsiteX114" fmla="*/ 3036856 w 10678681"/>
              <a:gd name="connsiteY114" fmla="*/ 1214383 h 1353297"/>
              <a:gd name="connsiteX115" fmla="*/ 2824973 w 10678681"/>
              <a:gd name="connsiteY115" fmla="*/ 1134864 h 1353297"/>
              <a:gd name="connsiteX116" fmla="*/ 2804398 w 10678681"/>
              <a:gd name="connsiteY116" fmla="*/ 1125556 h 1353297"/>
              <a:gd name="connsiteX117" fmla="*/ 2736109 w 10678681"/>
              <a:gd name="connsiteY117" fmla="*/ 1137717 h 1353297"/>
              <a:gd name="connsiteX118" fmla="*/ 2659096 w 10678681"/>
              <a:gd name="connsiteY118" fmla="*/ 1150294 h 1353297"/>
              <a:gd name="connsiteX119" fmla="*/ 2567088 w 10678681"/>
              <a:gd name="connsiteY119" fmla="*/ 1181781 h 1353297"/>
              <a:gd name="connsiteX120" fmla="*/ 2454501 w 10678681"/>
              <a:gd name="connsiteY120" fmla="*/ 1155455 h 1353297"/>
              <a:gd name="connsiteX121" fmla="*/ 2385161 w 10678681"/>
              <a:gd name="connsiteY121" fmla="*/ 1161312 h 1353297"/>
              <a:gd name="connsiteX122" fmla="*/ 2273361 w 10678681"/>
              <a:gd name="connsiteY122" fmla="*/ 1134090 h 1353297"/>
              <a:gd name="connsiteX123" fmla="*/ 2132003 w 10678681"/>
              <a:gd name="connsiteY123" fmla="*/ 1139225 h 1353297"/>
              <a:gd name="connsiteX124" fmla="*/ 2041224 w 10678681"/>
              <a:gd name="connsiteY124" fmla="*/ 1147536 h 1353297"/>
              <a:gd name="connsiteX125" fmla="*/ 2010157 w 10678681"/>
              <a:gd name="connsiteY125" fmla="*/ 1152767 h 1353297"/>
              <a:gd name="connsiteX126" fmla="*/ 1859213 w 10678681"/>
              <a:gd name="connsiteY126" fmla="*/ 1199540 h 1353297"/>
              <a:gd name="connsiteX127" fmla="*/ 1735877 w 10678681"/>
              <a:gd name="connsiteY127" fmla="*/ 1246527 h 1353297"/>
              <a:gd name="connsiteX128" fmla="*/ 1705069 w 10678681"/>
              <a:gd name="connsiteY128" fmla="*/ 1251989 h 1353297"/>
              <a:gd name="connsiteX129" fmla="*/ 1307888 w 10678681"/>
              <a:gd name="connsiteY129" fmla="*/ 1283156 h 1353297"/>
              <a:gd name="connsiteX130" fmla="*/ 1220734 w 10678681"/>
              <a:gd name="connsiteY130" fmla="*/ 1257811 h 1353297"/>
              <a:gd name="connsiteX131" fmla="*/ 1021737 w 10678681"/>
              <a:gd name="connsiteY131" fmla="*/ 1238739 h 1353297"/>
              <a:gd name="connsiteX132" fmla="*/ 959820 w 10678681"/>
              <a:gd name="connsiteY132" fmla="*/ 1275863 h 1353297"/>
              <a:gd name="connsiteX133" fmla="*/ 929137 w 10678681"/>
              <a:gd name="connsiteY133" fmla="*/ 1273957 h 1353297"/>
              <a:gd name="connsiteX134" fmla="*/ 878849 w 10678681"/>
              <a:gd name="connsiteY134" fmla="*/ 1266740 h 1353297"/>
              <a:gd name="connsiteX135" fmla="*/ 800667 w 10678681"/>
              <a:gd name="connsiteY135" fmla="*/ 1282041 h 1353297"/>
              <a:gd name="connsiteX136" fmla="*/ 644906 w 10678681"/>
              <a:gd name="connsiteY136" fmla="*/ 1273685 h 1353297"/>
              <a:gd name="connsiteX137" fmla="*/ 379869 w 10678681"/>
              <a:gd name="connsiteY137" fmla="*/ 1339165 h 1353297"/>
              <a:gd name="connsiteX138" fmla="*/ 137696 w 10678681"/>
              <a:gd name="connsiteY138" fmla="*/ 1319217 h 1353297"/>
              <a:gd name="connsiteX139" fmla="*/ 54250 w 10678681"/>
              <a:gd name="connsiteY139" fmla="*/ 1315838 h 1353297"/>
              <a:gd name="connsiteX140" fmla="*/ 28042 w 10678681"/>
              <a:gd name="connsiteY140" fmla="*/ 1297822 h 1353297"/>
              <a:gd name="connsiteX141" fmla="*/ 0 w 10678681"/>
              <a:gd name="connsiteY141" fmla="*/ 1294612 h 1353297"/>
              <a:gd name="connsiteX142" fmla="*/ 0 w 10678681"/>
              <a:gd name="connsiteY142" fmla="*/ 0 h 1353297"/>
              <a:gd name="connsiteX0" fmla="*/ 0 w 10678681"/>
              <a:gd name="connsiteY0" fmla="*/ 0 h 1352443"/>
              <a:gd name="connsiteX1" fmla="*/ 10678681 w 10678681"/>
              <a:gd name="connsiteY1" fmla="*/ 0 h 1352443"/>
              <a:gd name="connsiteX2" fmla="*/ 10666019 w 10678681"/>
              <a:gd name="connsiteY2" fmla="*/ 7876 h 1352443"/>
              <a:gd name="connsiteX3" fmla="*/ 10632825 w 10678681"/>
              <a:gd name="connsiteY3" fmla="*/ 32153 h 1352443"/>
              <a:gd name="connsiteX4" fmla="*/ 10510605 w 10678681"/>
              <a:gd name="connsiteY4" fmla="*/ 30449 h 1352443"/>
              <a:gd name="connsiteX5" fmla="*/ 10456989 w 10678681"/>
              <a:gd name="connsiteY5" fmla="*/ 979 h 1352443"/>
              <a:gd name="connsiteX6" fmla="*/ 10438642 w 10678681"/>
              <a:gd name="connsiteY6" fmla="*/ 1524 h 1352443"/>
              <a:gd name="connsiteX7" fmla="*/ 10407146 w 10678681"/>
              <a:gd name="connsiteY7" fmla="*/ 43659 h 1352443"/>
              <a:gd name="connsiteX8" fmla="*/ 10357996 w 10678681"/>
              <a:gd name="connsiteY8" fmla="*/ 50836 h 1352443"/>
              <a:gd name="connsiteX9" fmla="*/ 10306667 w 10678681"/>
              <a:gd name="connsiteY9" fmla="*/ 109739 h 1352443"/>
              <a:gd name="connsiteX10" fmla="*/ 10115334 w 10678681"/>
              <a:gd name="connsiteY10" fmla="*/ 155658 h 1352443"/>
              <a:gd name="connsiteX11" fmla="*/ 10068157 w 10678681"/>
              <a:gd name="connsiteY11" fmla="*/ 215673 h 1352443"/>
              <a:gd name="connsiteX12" fmla="*/ 10045431 w 10678681"/>
              <a:gd name="connsiteY12" fmla="*/ 229568 h 1352443"/>
              <a:gd name="connsiteX13" fmla="*/ 10013265 w 10678681"/>
              <a:gd name="connsiteY13" fmla="*/ 284757 h 1352443"/>
              <a:gd name="connsiteX14" fmla="*/ 9862496 w 10678681"/>
              <a:gd name="connsiteY14" fmla="*/ 223033 h 1352443"/>
              <a:gd name="connsiteX15" fmla="*/ 9679638 w 10678681"/>
              <a:gd name="connsiteY15" fmla="*/ 277462 h 1352443"/>
              <a:gd name="connsiteX16" fmla="*/ 9498347 w 10678681"/>
              <a:gd name="connsiteY16" fmla="*/ 244723 h 1352443"/>
              <a:gd name="connsiteX17" fmla="*/ 9399702 w 10678681"/>
              <a:gd name="connsiteY17" fmla="*/ 276316 h 1352443"/>
              <a:gd name="connsiteX18" fmla="*/ 9378439 w 10678681"/>
              <a:gd name="connsiteY18" fmla="*/ 326244 h 1352443"/>
              <a:gd name="connsiteX19" fmla="*/ 9121744 w 10678681"/>
              <a:gd name="connsiteY19" fmla="*/ 365177 h 1352443"/>
              <a:gd name="connsiteX20" fmla="*/ 9061654 w 10678681"/>
              <a:gd name="connsiteY20" fmla="*/ 393730 h 1352443"/>
              <a:gd name="connsiteX21" fmla="*/ 8997577 w 10678681"/>
              <a:gd name="connsiteY21" fmla="*/ 380865 h 1352443"/>
              <a:gd name="connsiteX22" fmla="*/ 8907968 w 10678681"/>
              <a:gd name="connsiteY22" fmla="*/ 447345 h 1352443"/>
              <a:gd name="connsiteX23" fmla="*/ 8764163 w 10678681"/>
              <a:gd name="connsiteY23" fmla="*/ 471000 h 1352443"/>
              <a:gd name="connsiteX24" fmla="*/ 8680155 w 10678681"/>
              <a:gd name="connsiteY24" fmla="*/ 492404 h 1352443"/>
              <a:gd name="connsiteX25" fmla="*/ 8651436 w 10678681"/>
              <a:gd name="connsiteY25" fmla="*/ 511923 h 1352443"/>
              <a:gd name="connsiteX26" fmla="*/ 8609185 w 10678681"/>
              <a:gd name="connsiteY26" fmla="*/ 531525 h 1352443"/>
              <a:gd name="connsiteX27" fmla="*/ 8537091 w 10678681"/>
              <a:gd name="connsiteY27" fmla="*/ 574933 h 1352443"/>
              <a:gd name="connsiteX28" fmla="*/ 8435931 w 10678681"/>
              <a:gd name="connsiteY28" fmla="*/ 617926 h 1352443"/>
              <a:gd name="connsiteX29" fmla="*/ 8348623 w 10678681"/>
              <a:gd name="connsiteY29" fmla="*/ 600607 h 1352443"/>
              <a:gd name="connsiteX30" fmla="*/ 8344233 w 10678681"/>
              <a:gd name="connsiteY30" fmla="*/ 610922 h 1352443"/>
              <a:gd name="connsiteX31" fmla="*/ 8290622 w 10678681"/>
              <a:gd name="connsiteY31" fmla="*/ 622687 h 1352443"/>
              <a:gd name="connsiteX32" fmla="*/ 8086698 w 10678681"/>
              <a:gd name="connsiteY32" fmla="*/ 605185 h 1352443"/>
              <a:gd name="connsiteX33" fmla="*/ 7982378 w 10678681"/>
              <a:gd name="connsiteY33" fmla="*/ 629799 h 1352443"/>
              <a:gd name="connsiteX34" fmla="*/ 7947952 w 10678681"/>
              <a:gd name="connsiteY34" fmla="*/ 648003 h 1352443"/>
              <a:gd name="connsiteX35" fmla="*/ 7890112 w 10678681"/>
              <a:gd name="connsiteY35" fmla="*/ 677915 h 1352443"/>
              <a:gd name="connsiteX36" fmla="*/ 7853284 w 10678681"/>
              <a:gd name="connsiteY36" fmla="*/ 723588 h 1352443"/>
              <a:gd name="connsiteX37" fmla="*/ 7802383 w 10678681"/>
              <a:gd name="connsiteY37" fmla="*/ 739359 h 1352443"/>
              <a:gd name="connsiteX38" fmla="*/ 7730518 w 10678681"/>
              <a:gd name="connsiteY38" fmla="*/ 739526 h 1352443"/>
              <a:gd name="connsiteX39" fmla="*/ 7652907 w 10678681"/>
              <a:gd name="connsiteY39" fmla="*/ 783273 h 1352443"/>
              <a:gd name="connsiteX40" fmla="*/ 7606008 w 10678681"/>
              <a:gd name="connsiteY40" fmla="*/ 800717 h 1352443"/>
              <a:gd name="connsiteX41" fmla="*/ 7480223 w 10678681"/>
              <a:gd name="connsiteY41" fmla="*/ 856821 h 1352443"/>
              <a:gd name="connsiteX42" fmla="*/ 7356005 w 10678681"/>
              <a:gd name="connsiteY42" fmla="*/ 919462 h 1352443"/>
              <a:gd name="connsiteX43" fmla="*/ 7305396 w 10678681"/>
              <a:gd name="connsiteY43" fmla="*/ 986228 h 1352443"/>
              <a:gd name="connsiteX44" fmla="*/ 7266251 w 10678681"/>
              <a:gd name="connsiteY44" fmla="*/ 967864 h 1352443"/>
              <a:gd name="connsiteX45" fmla="*/ 7269396 w 10678681"/>
              <a:gd name="connsiteY45" fmla="*/ 989282 h 1352443"/>
              <a:gd name="connsiteX46" fmla="*/ 7258094 w 10678681"/>
              <a:gd name="connsiteY46" fmla="*/ 990679 h 1352443"/>
              <a:gd name="connsiteX47" fmla="*/ 7257893 w 10678681"/>
              <a:gd name="connsiteY47" fmla="*/ 991204 h 1352443"/>
              <a:gd name="connsiteX48" fmla="*/ 7247153 w 10678681"/>
              <a:gd name="connsiteY48" fmla="*/ 991550 h 1352443"/>
              <a:gd name="connsiteX49" fmla="*/ 7193612 w 10678681"/>
              <a:gd name="connsiteY49" fmla="*/ 987042 h 1352443"/>
              <a:gd name="connsiteX50" fmla="*/ 7132632 w 10678681"/>
              <a:gd name="connsiteY50" fmla="*/ 1042036 h 1352443"/>
              <a:gd name="connsiteX51" fmla="*/ 7105610 w 10678681"/>
              <a:gd name="connsiteY51" fmla="*/ 1053537 h 1352443"/>
              <a:gd name="connsiteX52" fmla="*/ 7069148 w 10678681"/>
              <a:gd name="connsiteY52" fmla="*/ 1047163 h 1352443"/>
              <a:gd name="connsiteX53" fmla="*/ 7039634 w 10678681"/>
              <a:gd name="connsiteY53" fmla="*/ 1059971 h 1352443"/>
              <a:gd name="connsiteX54" fmla="*/ 7033445 w 10678681"/>
              <a:gd name="connsiteY54" fmla="*/ 1063314 h 1352443"/>
              <a:gd name="connsiteX55" fmla="*/ 6999157 w 10678681"/>
              <a:gd name="connsiteY55" fmla="*/ 1055282 h 1352443"/>
              <a:gd name="connsiteX56" fmla="*/ 6981874 w 10678681"/>
              <a:gd name="connsiteY56" fmla="*/ 1053827 h 1352443"/>
              <a:gd name="connsiteX57" fmla="*/ 6976102 w 10678681"/>
              <a:gd name="connsiteY57" fmla="*/ 1047854 h 1352443"/>
              <a:gd name="connsiteX58" fmla="*/ 6951040 w 10678681"/>
              <a:gd name="connsiteY58" fmla="*/ 1048531 h 1352443"/>
              <a:gd name="connsiteX59" fmla="*/ 6948497 w 10678681"/>
              <a:gd name="connsiteY59" fmla="*/ 1050706 h 1352443"/>
              <a:gd name="connsiteX60" fmla="*/ 6926582 w 10678681"/>
              <a:gd name="connsiteY60" fmla="*/ 1043462 h 1352443"/>
              <a:gd name="connsiteX61" fmla="*/ 6833743 w 10678681"/>
              <a:gd name="connsiteY61" fmla="*/ 1027960 h 1352443"/>
              <a:gd name="connsiteX62" fmla="*/ 6687090 w 10678681"/>
              <a:gd name="connsiteY62" fmla="*/ 1063250 h 1352443"/>
              <a:gd name="connsiteX63" fmla="*/ 6437450 w 10678681"/>
              <a:gd name="connsiteY63" fmla="*/ 1101075 h 1352443"/>
              <a:gd name="connsiteX64" fmla="*/ 6327795 w 10678681"/>
              <a:gd name="connsiteY64" fmla="*/ 1088142 h 1352443"/>
              <a:gd name="connsiteX65" fmla="*/ 6136549 w 10678681"/>
              <a:gd name="connsiteY65" fmla="*/ 1100268 h 1352443"/>
              <a:gd name="connsiteX66" fmla="*/ 6004655 w 10678681"/>
              <a:gd name="connsiteY66" fmla="*/ 1114946 h 1352443"/>
              <a:gd name="connsiteX67" fmla="*/ 5936643 w 10678681"/>
              <a:gd name="connsiteY67" fmla="*/ 1095428 h 1352443"/>
              <a:gd name="connsiteX68" fmla="*/ 5912484 w 10678681"/>
              <a:gd name="connsiteY68" fmla="*/ 1112624 h 1352443"/>
              <a:gd name="connsiteX69" fmla="*/ 5908387 w 10678681"/>
              <a:gd name="connsiteY69" fmla="*/ 1116018 h 1352443"/>
              <a:gd name="connsiteX70" fmla="*/ 5890495 w 10678681"/>
              <a:gd name="connsiteY70" fmla="*/ 1120268 h 1352443"/>
              <a:gd name="connsiteX71" fmla="*/ 5887318 w 10678681"/>
              <a:gd name="connsiteY71" fmla="*/ 1133134 h 1352443"/>
              <a:gd name="connsiteX72" fmla="*/ 5861726 w 10678681"/>
              <a:gd name="connsiteY72" fmla="*/ 1147891 h 1352443"/>
              <a:gd name="connsiteX73" fmla="*/ 5805823 w 10678681"/>
              <a:gd name="connsiteY73" fmla="*/ 1152457 h 1352443"/>
              <a:gd name="connsiteX74" fmla="*/ 5689841 w 10678681"/>
              <a:gd name="connsiteY74" fmla="*/ 1176232 h 1352443"/>
              <a:gd name="connsiteX75" fmla="*/ 5605119 w 10678681"/>
              <a:gd name="connsiteY75" fmla="*/ 1190202 h 1352443"/>
              <a:gd name="connsiteX76" fmla="*/ 5488513 w 10678681"/>
              <a:gd name="connsiteY76" fmla="*/ 1205367 h 1352443"/>
              <a:gd name="connsiteX77" fmla="*/ 5402905 w 10678681"/>
              <a:gd name="connsiteY77" fmla="*/ 1241191 h 1352443"/>
              <a:gd name="connsiteX78" fmla="*/ 5285593 w 10678681"/>
              <a:gd name="connsiteY78" fmla="*/ 1273569 h 1352443"/>
              <a:gd name="connsiteX79" fmla="*/ 5192893 w 10678681"/>
              <a:gd name="connsiteY79" fmla="*/ 1247188 h 1352443"/>
              <a:gd name="connsiteX80" fmla="*/ 5186475 w 10678681"/>
              <a:gd name="connsiteY80" fmla="*/ 1257028 h 1352443"/>
              <a:gd name="connsiteX81" fmla="*/ 5126038 w 10678681"/>
              <a:gd name="connsiteY81" fmla="*/ 1263189 h 1352443"/>
              <a:gd name="connsiteX82" fmla="*/ 4894688 w 10678681"/>
              <a:gd name="connsiteY82" fmla="*/ 1247184 h 1352443"/>
              <a:gd name="connsiteX83" fmla="*/ 4788036 w 10678681"/>
              <a:gd name="connsiteY83" fmla="*/ 1238182 h 1352443"/>
              <a:gd name="connsiteX84" fmla="*/ 4747555 w 10678681"/>
              <a:gd name="connsiteY84" fmla="*/ 1252768 h 1352443"/>
              <a:gd name="connsiteX85" fmla="*/ 4679644 w 10678681"/>
              <a:gd name="connsiteY85" fmla="*/ 1276603 h 1352443"/>
              <a:gd name="connsiteX86" fmla="*/ 4632222 w 10678681"/>
              <a:gd name="connsiteY86" fmla="*/ 1318360 h 1352443"/>
              <a:gd name="connsiteX87" fmla="*/ 4617358 w 10678681"/>
              <a:gd name="connsiteY87" fmla="*/ 1327690 h 1352443"/>
              <a:gd name="connsiteX88" fmla="*/ 4589102 w 10678681"/>
              <a:gd name="connsiteY88" fmla="*/ 1321223 h 1352443"/>
              <a:gd name="connsiteX89" fmla="*/ 4578184 w 10678681"/>
              <a:gd name="connsiteY89" fmla="*/ 1326745 h 1352443"/>
              <a:gd name="connsiteX90" fmla="*/ 4574270 w 10678681"/>
              <a:gd name="connsiteY90" fmla="*/ 1325878 h 1352443"/>
              <a:gd name="connsiteX91" fmla="*/ 4564919 w 10678681"/>
              <a:gd name="connsiteY91" fmla="*/ 1325507 h 1352443"/>
              <a:gd name="connsiteX92" fmla="*/ 4566586 w 10678681"/>
              <a:gd name="connsiteY92" fmla="*/ 1316963 h 1352443"/>
              <a:gd name="connsiteX93" fmla="*/ 4556303 w 10678681"/>
              <a:gd name="connsiteY93" fmla="*/ 1300262 h 1352443"/>
              <a:gd name="connsiteX94" fmla="*/ 4502358 w 10678681"/>
              <a:gd name="connsiteY94" fmla="*/ 1302558 h 1352443"/>
              <a:gd name="connsiteX95" fmla="*/ 4498919 w 10678681"/>
              <a:gd name="connsiteY95" fmla="*/ 1312115 h 1352443"/>
              <a:gd name="connsiteX96" fmla="*/ 4492075 w 10678681"/>
              <a:gd name="connsiteY96" fmla="*/ 1313357 h 1352443"/>
              <a:gd name="connsiteX97" fmla="*/ 4487466 w 10678681"/>
              <a:gd name="connsiteY97" fmla="*/ 1304102 h 1352443"/>
              <a:gd name="connsiteX98" fmla="*/ 4398292 w 10678681"/>
              <a:gd name="connsiteY98" fmla="*/ 1278410 h 1352443"/>
              <a:gd name="connsiteX99" fmla="*/ 4306088 w 10678681"/>
              <a:gd name="connsiteY99" fmla="*/ 1282512 h 1352443"/>
              <a:gd name="connsiteX100" fmla="*/ 4188995 w 10678681"/>
              <a:gd name="connsiteY100" fmla="*/ 1296718 h 1352443"/>
              <a:gd name="connsiteX101" fmla="*/ 4136582 w 10678681"/>
              <a:gd name="connsiteY101" fmla="*/ 1287687 h 1352443"/>
              <a:gd name="connsiteX102" fmla="*/ 4064614 w 10678681"/>
              <a:gd name="connsiteY102" fmla="*/ 1296118 h 1352443"/>
              <a:gd name="connsiteX103" fmla="*/ 3900948 w 10678681"/>
              <a:gd name="connsiteY103" fmla="*/ 1322156 h 1352443"/>
              <a:gd name="connsiteX104" fmla="*/ 3787890 w 10678681"/>
              <a:gd name="connsiteY104" fmla="*/ 1352442 h 1352443"/>
              <a:gd name="connsiteX105" fmla="*/ 3745993 w 10678681"/>
              <a:gd name="connsiteY105" fmla="*/ 1342630 h 1352443"/>
              <a:gd name="connsiteX106" fmla="*/ 3675785 w 10678681"/>
              <a:gd name="connsiteY106" fmla="*/ 1326802 h 1352443"/>
              <a:gd name="connsiteX107" fmla="*/ 3623856 w 10678681"/>
              <a:gd name="connsiteY107" fmla="*/ 1290804 h 1352443"/>
              <a:gd name="connsiteX108" fmla="*/ 3564933 w 10678681"/>
              <a:gd name="connsiteY108" fmla="*/ 1287147 h 1352443"/>
              <a:gd name="connsiteX109" fmla="*/ 3550537 w 10678681"/>
              <a:gd name="connsiteY109" fmla="*/ 1317552 h 1352443"/>
              <a:gd name="connsiteX110" fmla="*/ 3487736 w 10678681"/>
              <a:gd name="connsiteY110" fmla="*/ 1303493 h 1352443"/>
              <a:gd name="connsiteX111" fmla="*/ 3392548 w 10678681"/>
              <a:gd name="connsiteY111" fmla="*/ 1278741 h 1352443"/>
              <a:gd name="connsiteX112" fmla="*/ 3337466 w 10678681"/>
              <a:gd name="connsiteY112" fmla="*/ 1272537 h 1352443"/>
              <a:gd name="connsiteX113" fmla="*/ 3175981 w 10678681"/>
              <a:gd name="connsiteY113" fmla="*/ 1208973 h 1352443"/>
              <a:gd name="connsiteX114" fmla="*/ 3036856 w 10678681"/>
              <a:gd name="connsiteY114" fmla="*/ 1214383 h 1352443"/>
              <a:gd name="connsiteX115" fmla="*/ 2824973 w 10678681"/>
              <a:gd name="connsiteY115" fmla="*/ 1134864 h 1352443"/>
              <a:gd name="connsiteX116" fmla="*/ 2804398 w 10678681"/>
              <a:gd name="connsiteY116" fmla="*/ 1125556 h 1352443"/>
              <a:gd name="connsiteX117" fmla="*/ 2736109 w 10678681"/>
              <a:gd name="connsiteY117" fmla="*/ 1137717 h 1352443"/>
              <a:gd name="connsiteX118" fmla="*/ 2659096 w 10678681"/>
              <a:gd name="connsiteY118" fmla="*/ 1150294 h 1352443"/>
              <a:gd name="connsiteX119" fmla="*/ 2567088 w 10678681"/>
              <a:gd name="connsiteY119" fmla="*/ 1181781 h 1352443"/>
              <a:gd name="connsiteX120" fmla="*/ 2454501 w 10678681"/>
              <a:gd name="connsiteY120" fmla="*/ 1155455 h 1352443"/>
              <a:gd name="connsiteX121" fmla="*/ 2385161 w 10678681"/>
              <a:gd name="connsiteY121" fmla="*/ 1161312 h 1352443"/>
              <a:gd name="connsiteX122" fmla="*/ 2273361 w 10678681"/>
              <a:gd name="connsiteY122" fmla="*/ 1134090 h 1352443"/>
              <a:gd name="connsiteX123" fmla="*/ 2132003 w 10678681"/>
              <a:gd name="connsiteY123" fmla="*/ 1139225 h 1352443"/>
              <a:gd name="connsiteX124" fmla="*/ 2041224 w 10678681"/>
              <a:gd name="connsiteY124" fmla="*/ 1147536 h 1352443"/>
              <a:gd name="connsiteX125" fmla="*/ 2010157 w 10678681"/>
              <a:gd name="connsiteY125" fmla="*/ 1152767 h 1352443"/>
              <a:gd name="connsiteX126" fmla="*/ 1859213 w 10678681"/>
              <a:gd name="connsiteY126" fmla="*/ 1199540 h 1352443"/>
              <a:gd name="connsiteX127" fmla="*/ 1735877 w 10678681"/>
              <a:gd name="connsiteY127" fmla="*/ 1246527 h 1352443"/>
              <a:gd name="connsiteX128" fmla="*/ 1705069 w 10678681"/>
              <a:gd name="connsiteY128" fmla="*/ 1251989 h 1352443"/>
              <a:gd name="connsiteX129" fmla="*/ 1307888 w 10678681"/>
              <a:gd name="connsiteY129" fmla="*/ 1283156 h 1352443"/>
              <a:gd name="connsiteX130" fmla="*/ 1220734 w 10678681"/>
              <a:gd name="connsiteY130" fmla="*/ 1257811 h 1352443"/>
              <a:gd name="connsiteX131" fmla="*/ 1021737 w 10678681"/>
              <a:gd name="connsiteY131" fmla="*/ 1238739 h 1352443"/>
              <a:gd name="connsiteX132" fmla="*/ 959820 w 10678681"/>
              <a:gd name="connsiteY132" fmla="*/ 1275863 h 1352443"/>
              <a:gd name="connsiteX133" fmla="*/ 929137 w 10678681"/>
              <a:gd name="connsiteY133" fmla="*/ 1273957 h 1352443"/>
              <a:gd name="connsiteX134" fmla="*/ 878849 w 10678681"/>
              <a:gd name="connsiteY134" fmla="*/ 1266740 h 1352443"/>
              <a:gd name="connsiteX135" fmla="*/ 800667 w 10678681"/>
              <a:gd name="connsiteY135" fmla="*/ 1282041 h 1352443"/>
              <a:gd name="connsiteX136" fmla="*/ 644906 w 10678681"/>
              <a:gd name="connsiteY136" fmla="*/ 1273685 h 1352443"/>
              <a:gd name="connsiteX137" fmla="*/ 379869 w 10678681"/>
              <a:gd name="connsiteY137" fmla="*/ 1339165 h 1352443"/>
              <a:gd name="connsiteX138" fmla="*/ 137696 w 10678681"/>
              <a:gd name="connsiteY138" fmla="*/ 1319217 h 1352443"/>
              <a:gd name="connsiteX139" fmla="*/ 54250 w 10678681"/>
              <a:gd name="connsiteY139" fmla="*/ 1315838 h 1352443"/>
              <a:gd name="connsiteX140" fmla="*/ 28042 w 10678681"/>
              <a:gd name="connsiteY140" fmla="*/ 1297822 h 1352443"/>
              <a:gd name="connsiteX141" fmla="*/ 0 w 10678681"/>
              <a:gd name="connsiteY141" fmla="*/ 1294612 h 1352443"/>
              <a:gd name="connsiteX142" fmla="*/ 0 w 10678681"/>
              <a:gd name="connsiteY142" fmla="*/ 0 h 1352443"/>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0605 w 10678681"/>
              <a:gd name="connsiteY4" fmla="*/ 30449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57996 w 10678681"/>
              <a:gd name="connsiteY8" fmla="*/ 50836 h 1342734"/>
              <a:gd name="connsiteX9" fmla="*/ 10306667 w 10678681"/>
              <a:gd name="connsiteY9" fmla="*/ 10973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10013265 w 10678681"/>
              <a:gd name="connsiteY13" fmla="*/ 284757 h 1342734"/>
              <a:gd name="connsiteX14" fmla="*/ 9862496 w 10678681"/>
              <a:gd name="connsiteY14" fmla="*/ 223033 h 1342734"/>
              <a:gd name="connsiteX15" fmla="*/ 9679638 w 10678681"/>
              <a:gd name="connsiteY15" fmla="*/ 277462 h 1342734"/>
              <a:gd name="connsiteX16" fmla="*/ 9498347 w 10678681"/>
              <a:gd name="connsiteY16" fmla="*/ 244723 h 1342734"/>
              <a:gd name="connsiteX17" fmla="*/ 9399702 w 10678681"/>
              <a:gd name="connsiteY17" fmla="*/ 276316 h 1342734"/>
              <a:gd name="connsiteX18" fmla="*/ 9378439 w 10678681"/>
              <a:gd name="connsiteY18" fmla="*/ 326244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0605 w 10678681"/>
              <a:gd name="connsiteY4" fmla="*/ 30449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57996 w 10678681"/>
              <a:gd name="connsiteY8" fmla="*/ 50836 h 1342734"/>
              <a:gd name="connsiteX9" fmla="*/ 10306667 w 10678681"/>
              <a:gd name="connsiteY9" fmla="*/ 10973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10013265 w 10678681"/>
              <a:gd name="connsiteY13" fmla="*/ 284757 h 1342734"/>
              <a:gd name="connsiteX14" fmla="*/ 9862496 w 10678681"/>
              <a:gd name="connsiteY14" fmla="*/ 223033 h 1342734"/>
              <a:gd name="connsiteX15" fmla="*/ 9679638 w 10678681"/>
              <a:gd name="connsiteY15" fmla="*/ 277462 h 1342734"/>
              <a:gd name="connsiteX16" fmla="*/ 9498347 w 10678681"/>
              <a:gd name="connsiteY16" fmla="*/ 244723 h 1342734"/>
              <a:gd name="connsiteX17" fmla="*/ 9399702 w 10678681"/>
              <a:gd name="connsiteY17" fmla="*/ 276316 h 1342734"/>
              <a:gd name="connsiteX18" fmla="*/ 9378439 w 10678681"/>
              <a:gd name="connsiteY18" fmla="*/ 326244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0605 w 10678681"/>
              <a:gd name="connsiteY4" fmla="*/ 30449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57996 w 10678681"/>
              <a:gd name="connsiteY8" fmla="*/ 50836 h 1342734"/>
              <a:gd name="connsiteX9" fmla="*/ 10306667 w 10678681"/>
              <a:gd name="connsiteY9" fmla="*/ 10973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10013265 w 10678681"/>
              <a:gd name="connsiteY13" fmla="*/ 284757 h 1342734"/>
              <a:gd name="connsiteX14" fmla="*/ 9862496 w 10678681"/>
              <a:gd name="connsiteY14" fmla="*/ 223033 h 1342734"/>
              <a:gd name="connsiteX15" fmla="*/ 9679638 w 10678681"/>
              <a:gd name="connsiteY15" fmla="*/ 277462 h 1342734"/>
              <a:gd name="connsiteX16" fmla="*/ 9498347 w 10678681"/>
              <a:gd name="connsiteY16" fmla="*/ 244723 h 1342734"/>
              <a:gd name="connsiteX17" fmla="*/ 9399702 w 10678681"/>
              <a:gd name="connsiteY17" fmla="*/ 276316 h 1342734"/>
              <a:gd name="connsiteX18" fmla="*/ 9378439 w 10678681"/>
              <a:gd name="connsiteY18" fmla="*/ 326244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0605 w 10678681"/>
              <a:gd name="connsiteY4" fmla="*/ 30449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57996 w 10678681"/>
              <a:gd name="connsiteY8" fmla="*/ 50836 h 1342734"/>
              <a:gd name="connsiteX9" fmla="*/ 10306667 w 10678681"/>
              <a:gd name="connsiteY9" fmla="*/ 10973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10013265 w 10678681"/>
              <a:gd name="connsiteY13" fmla="*/ 284757 h 1342734"/>
              <a:gd name="connsiteX14" fmla="*/ 9862496 w 10678681"/>
              <a:gd name="connsiteY14" fmla="*/ 223033 h 1342734"/>
              <a:gd name="connsiteX15" fmla="*/ 9679638 w 10678681"/>
              <a:gd name="connsiteY15" fmla="*/ 277462 h 1342734"/>
              <a:gd name="connsiteX16" fmla="*/ 9498347 w 10678681"/>
              <a:gd name="connsiteY16" fmla="*/ 244723 h 1342734"/>
              <a:gd name="connsiteX17" fmla="*/ 9399702 w 10678681"/>
              <a:gd name="connsiteY17" fmla="*/ 276316 h 1342734"/>
              <a:gd name="connsiteX18" fmla="*/ 9378439 w 10678681"/>
              <a:gd name="connsiteY18" fmla="*/ 326244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0605 w 10678681"/>
              <a:gd name="connsiteY4" fmla="*/ 30449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57996 w 10678681"/>
              <a:gd name="connsiteY8" fmla="*/ 50836 h 1342734"/>
              <a:gd name="connsiteX9" fmla="*/ 10306667 w 10678681"/>
              <a:gd name="connsiteY9" fmla="*/ 10973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10013265 w 10678681"/>
              <a:gd name="connsiteY13" fmla="*/ 284757 h 1342734"/>
              <a:gd name="connsiteX14" fmla="*/ 9862496 w 10678681"/>
              <a:gd name="connsiteY14" fmla="*/ 223033 h 1342734"/>
              <a:gd name="connsiteX15" fmla="*/ 9679638 w 10678681"/>
              <a:gd name="connsiteY15" fmla="*/ 277462 h 1342734"/>
              <a:gd name="connsiteX16" fmla="*/ 9498347 w 10678681"/>
              <a:gd name="connsiteY16" fmla="*/ 244723 h 1342734"/>
              <a:gd name="connsiteX17" fmla="*/ 9399702 w 10678681"/>
              <a:gd name="connsiteY17" fmla="*/ 276316 h 1342734"/>
              <a:gd name="connsiteX18" fmla="*/ 9378439 w 10678681"/>
              <a:gd name="connsiteY18" fmla="*/ 326244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0605 w 10678681"/>
              <a:gd name="connsiteY4" fmla="*/ 30449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57996 w 10678681"/>
              <a:gd name="connsiteY8" fmla="*/ 50836 h 1342734"/>
              <a:gd name="connsiteX9" fmla="*/ 10306667 w 10678681"/>
              <a:gd name="connsiteY9" fmla="*/ 10973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10013265 w 10678681"/>
              <a:gd name="connsiteY13" fmla="*/ 284757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99702 w 10678681"/>
              <a:gd name="connsiteY17" fmla="*/ 276316 h 1342734"/>
              <a:gd name="connsiteX18" fmla="*/ 9378439 w 10678681"/>
              <a:gd name="connsiteY18" fmla="*/ 326244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0605 w 10678681"/>
              <a:gd name="connsiteY4" fmla="*/ 30449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57996 w 10678681"/>
              <a:gd name="connsiteY8" fmla="*/ 50836 h 1342734"/>
              <a:gd name="connsiteX9" fmla="*/ 10306667 w 10678681"/>
              <a:gd name="connsiteY9" fmla="*/ 10973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99702 w 10678681"/>
              <a:gd name="connsiteY17" fmla="*/ 276316 h 1342734"/>
              <a:gd name="connsiteX18" fmla="*/ 9378439 w 10678681"/>
              <a:gd name="connsiteY18" fmla="*/ 326244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0605 w 10678681"/>
              <a:gd name="connsiteY4" fmla="*/ 30449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57996 w 10678681"/>
              <a:gd name="connsiteY8" fmla="*/ 50836 h 1342734"/>
              <a:gd name="connsiteX9" fmla="*/ 10306667 w 10678681"/>
              <a:gd name="connsiteY9" fmla="*/ 10973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99702 w 10678681"/>
              <a:gd name="connsiteY17" fmla="*/ 276316 h 1342734"/>
              <a:gd name="connsiteX18" fmla="*/ 9378439 w 10678681"/>
              <a:gd name="connsiteY18" fmla="*/ 326244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0605 w 10678681"/>
              <a:gd name="connsiteY4" fmla="*/ 30449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57996 w 10678681"/>
              <a:gd name="connsiteY8" fmla="*/ 50836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99702 w 10678681"/>
              <a:gd name="connsiteY17" fmla="*/ 276316 h 1342734"/>
              <a:gd name="connsiteX18" fmla="*/ 9378439 w 10678681"/>
              <a:gd name="connsiteY18" fmla="*/ 326244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0605 w 10678681"/>
              <a:gd name="connsiteY4" fmla="*/ 30449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99702 w 10678681"/>
              <a:gd name="connsiteY17" fmla="*/ 276316 h 1342734"/>
              <a:gd name="connsiteX18" fmla="*/ 9378439 w 10678681"/>
              <a:gd name="connsiteY18" fmla="*/ 326244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99702 w 10678681"/>
              <a:gd name="connsiteY17" fmla="*/ 276316 h 1342734"/>
              <a:gd name="connsiteX18" fmla="*/ 9378439 w 10678681"/>
              <a:gd name="connsiteY18" fmla="*/ 326244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99702 w 10678681"/>
              <a:gd name="connsiteY17" fmla="*/ 276316 h 1342734"/>
              <a:gd name="connsiteX18" fmla="*/ 9378439 w 10678681"/>
              <a:gd name="connsiteY18" fmla="*/ 326244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99702 w 10678681"/>
              <a:gd name="connsiteY17" fmla="*/ 276316 h 1342734"/>
              <a:gd name="connsiteX18" fmla="*/ 9322314 w 10678681"/>
              <a:gd name="connsiteY18" fmla="*/ 333814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99702 w 10678681"/>
              <a:gd name="connsiteY17" fmla="*/ 276316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99702 w 10678681"/>
              <a:gd name="connsiteY17" fmla="*/ 276316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1838 w 10678681"/>
              <a:gd name="connsiteY63" fmla="*/ 1063226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1838 w 10678681"/>
              <a:gd name="connsiteY63" fmla="*/ 1063226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1838 w 10678681"/>
              <a:gd name="connsiteY63" fmla="*/ 1063226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285593 w 10678681"/>
              <a:gd name="connsiteY77" fmla="*/ 1273569 h 1342734"/>
              <a:gd name="connsiteX78" fmla="*/ 5192893 w 10678681"/>
              <a:gd name="connsiteY78" fmla="*/ 1247188 h 1342734"/>
              <a:gd name="connsiteX79" fmla="*/ 5186475 w 10678681"/>
              <a:gd name="connsiteY79" fmla="*/ 1257028 h 1342734"/>
              <a:gd name="connsiteX80" fmla="*/ 5126038 w 10678681"/>
              <a:gd name="connsiteY80" fmla="*/ 1263189 h 1342734"/>
              <a:gd name="connsiteX81" fmla="*/ 4894688 w 10678681"/>
              <a:gd name="connsiteY81" fmla="*/ 1247184 h 1342734"/>
              <a:gd name="connsiteX82" fmla="*/ 4788036 w 10678681"/>
              <a:gd name="connsiteY82" fmla="*/ 1238182 h 1342734"/>
              <a:gd name="connsiteX83" fmla="*/ 4747555 w 10678681"/>
              <a:gd name="connsiteY83" fmla="*/ 1252768 h 1342734"/>
              <a:gd name="connsiteX84" fmla="*/ 4679644 w 10678681"/>
              <a:gd name="connsiteY84" fmla="*/ 1276603 h 1342734"/>
              <a:gd name="connsiteX85" fmla="*/ 4632222 w 10678681"/>
              <a:gd name="connsiteY85" fmla="*/ 1318360 h 1342734"/>
              <a:gd name="connsiteX86" fmla="*/ 4617358 w 10678681"/>
              <a:gd name="connsiteY86" fmla="*/ 1327690 h 1342734"/>
              <a:gd name="connsiteX87" fmla="*/ 4589102 w 10678681"/>
              <a:gd name="connsiteY87" fmla="*/ 1321223 h 1342734"/>
              <a:gd name="connsiteX88" fmla="*/ 4578184 w 10678681"/>
              <a:gd name="connsiteY88" fmla="*/ 1326745 h 1342734"/>
              <a:gd name="connsiteX89" fmla="*/ 4574270 w 10678681"/>
              <a:gd name="connsiteY89" fmla="*/ 1325878 h 1342734"/>
              <a:gd name="connsiteX90" fmla="*/ 4564919 w 10678681"/>
              <a:gd name="connsiteY90" fmla="*/ 1325507 h 1342734"/>
              <a:gd name="connsiteX91" fmla="*/ 4566586 w 10678681"/>
              <a:gd name="connsiteY91" fmla="*/ 1316963 h 1342734"/>
              <a:gd name="connsiteX92" fmla="*/ 4556303 w 10678681"/>
              <a:gd name="connsiteY92" fmla="*/ 1300262 h 1342734"/>
              <a:gd name="connsiteX93" fmla="*/ 4502358 w 10678681"/>
              <a:gd name="connsiteY93" fmla="*/ 1302558 h 1342734"/>
              <a:gd name="connsiteX94" fmla="*/ 4498919 w 10678681"/>
              <a:gd name="connsiteY94" fmla="*/ 1312115 h 1342734"/>
              <a:gd name="connsiteX95" fmla="*/ 4492075 w 10678681"/>
              <a:gd name="connsiteY95" fmla="*/ 1313357 h 1342734"/>
              <a:gd name="connsiteX96" fmla="*/ 4487466 w 10678681"/>
              <a:gd name="connsiteY96" fmla="*/ 1304102 h 1342734"/>
              <a:gd name="connsiteX97" fmla="*/ 4398292 w 10678681"/>
              <a:gd name="connsiteY97" fmla="*/ 1278410 h 1342734"/>
              <a:gd name="connsiteX98" fmla="*/ 4306088 w 10678681"/>
              <a:gd name="connsiteY98" fmla="*/ 1282512 h 1342734"/>
              <a:gd name="connsiteX99" fmla="*/ 4188995 w 10678681"/>
              <a:gd name="connsiteY99" fmla="*/ 1296718 h 1342734"/>
              <a:gd name="connsiteX100" fmla="*/ 4136582 w 10678681"/>
              <a:gd name="connsiteY100" fmla="*/ 1287687 h 1342734"/>
              <a:gd name="connsiteX101" fmla="*/ 4064614 w 10678681"/>
              <a:gd name="connsiteY101" fmla="*/ 1296118 h 1342734"/>
              <a:gd name="connsiteX102" fmla="*/ 3900948 w 10678681"/>
              <a:gd name="connsiteY102" fmla="*/ 1322156 h 1342734"/>
              <a:gd name="connsiteX103" fmla="*/ 3787890 w 10678681"/>
              <a:gd name="connsiteY103" fmla="*/ 1322164 h 1342734"/>
              <a:gd name="connsiteX104" fmla="*/ 3745993 w 10678681"/>
              <a:gd name="connsiteY104" fmla="*/ 1342630 h 1342734"/>
              <a:gd name="connsiteX105" fmla="*/ 3675785 w 10678681"/>
              <a:gd name="connsiteY105" fmla="*/ 1326802 h 1342734"/>
              <a:gd name="connsiteX106" fmla="*/ 3623856 w 10678681"/>
              <a:gd name="connsiteY106" fmla="*/ 1290804 h 1342734"/>
              <a:gd name="connsiteX107" fmla="*/ 3564933 w 10678681"/>
              <a:gd name="connsiteY107" fmla="*/ 1287147 h 1342734"/>
              <a:gd name="connsiteX108" fmla="*/ 3550537 w 10678681"/>
              <a:gd name="connsiteY108" fmla="*/ 1317552 h 1342734"/>
              <a:gd name="connsiteX109" fmla="*/ 3487736 w 10678681"/>
              <a:gd name="connsiteY109" fmla="*/ 1303493 h 1342734"/>
              <a:gd name="connsiteX110" fmla="*/ 3392548 w 10678681"/>
              <a:gd name="connsiteY110" fmla="*/ 1278741 h 1342734"/>
              <a:gd name="connsiteX111" fmla="*/ 3337466 w 10678681"/>
              <a:gd name="connsiteY111" fmla="*/ 1272537 h 1342734"/>
              <a:gd name="connsiteX112" fmla="*/ 3175981 w 10678681"/>
              <a:gd name="connsiteY112" fmla="*/ 1208973 h 1342734"/>
              <a:gd name="connsiteX113" fmla="*/ 3036856 w 10678681"/>
              <a:gd name="connsiteY113" fmla="*/ 1214383 h 1342734"/>
              <a:gd name="connsiteX114" fmla="*/ 2824973 w 10678681"/>
              <a:gd name="connsiteY114" fmla="*/ 1134864 h 1342734"/>
              <a:gd name="connsiteX115" fmla="*/ 2804398 w 10678681"/>
              <a:gd name="connsiteY115" fmla="*/ 1125556 h 1342734"/>
              <a:gd name="connsiteX116" fmla="*/ 2736109 w 10678681"/>
              <a:gd name="connsiteY116" fmla="*/ 1137717 h 1342734"/>
              <a:gd name="connsiteX117" fmla="*/ 2659096 w 10678681"/>
              <a:gd name="connsiteY117" fmla="*/ 1150294 h 1342734"/>
              <a:gd name="connsiteX118" fmla="*/ 2567088 w 10678681"/>
              <a:gd name="connsiteY118" fmla="*/ 1181781 h 1342734"/>
              <a:gd name="connsiteX119" fmla="*/ 2454501 w 10678681"/>
              <a:gd name="connsiteY119" fmla="*/ 1155455 h 1342734"/>
              <a:gd name="connsiteX120" fmla="*/ 2385161 w 10678681"/>
              <a:gd name="connsiteY120" fmla="*/ 1161312 h 1342734"/>
              <a:gd name="connsiteX121" fmla="*/ 2273361 w 10678681"/>
              <a:gd name="connsiteY121" fmla="*/ 1134090 h 1342734"/>
              <a:gd name="connsiteX122" fmla="*/ 2132003 w 10678681"/>
              <a:gd name="connsiteY122" fmla="*/ 1139225 h 1342734"/>
              <a:gd name="connsiteX123" fmla="*/ 2041224 w 10678681"/>
              <a:gd name="connsiteY123" fmla="*/ 1147536 h 1342734"/>
              <a:gd name="connsiteX124" fmla="*/ 2010157 w 10678681"/>
              <a:gd name="connsiteY124" fmla="*/ 1152767 h 1342734"/>
              <a:gd name="connsiteX125" fmla="*/ 1859213 w 10678681"/>
              <a:gd name="connsiteY125" fmla="*/ 1199540 h 1342734"/>
              <a:gd name="connsiteX126" fmla="*/ 1735877 w 10678681"/>
              <a:gd name="connsiteY126" fmla="*/ 1246527 h 1342734"/>
              <a:gd name="connsiteX127" fmla="*/ 1705069 w 10678681"/>
              <a:gd name="connsiteY127" fmla="*/ 1251989 h 1342734"/>
              <a:gd name="connsiteX128" fmla="*/ 1307888 w 10678681"/>
              <a:gd name="connsiteY128" fmla="*/ 1283156 h 1342734"/>
              <a:gd name="connsiteX129" fmla="*/ 1220734 w 10678681"/>
              <a:gd name="connsiteY129" fmla="*/ 1257811 h 1342734"/>
              <a:gd name="connsiteX130" fmla="*/ 1021737 w 10678681"/>
              <a:gd name="connsiteY130" fmla="*/ 1238739 h 1342734"/>
              <a:gd name="connsiteX131" fmla="*/ 959820 w 10678681"/>
              <a:gd name="connsiteY131" fmla="*/ 1275863 h 1342734"/>
              <a:gd name="connsiteX132" fmla="*/ 929137 w 10678681"/>
              <a:gd name="connsiteY132" fmla="*/ 1273957 h 1342734"/>
              <a:gd name="connsiteX133" fmla="*/ 878849 w 10678681"/>
              <a:gd name="connsiteY133" fmla="*/ 1266740 h 1342734"/>
              <a:gd name="connsiteX134" fmla="*/ 800667 w 10678681"/>
              <a:gd name="connsiteY134" fmla="*/ 1282041 h 1342734"/>
              <a:gd name="connsiteX135" fmla="*/ 644906 w 10678681"/>
              <a:gd name="connsiteY135" fmla="*/ 1273685 h 1342734"/>
              <a:gd name="connsiteX136" fmla="*/ 379869 w 10678681"/>
              <a:gd name="connsiteY136" fmla="*/ 1339165 h 1342734"/>
              <a:gd name="connsiteX137" fmla="*/ 137696 w 10678681"/>
              <a:gd name="connsiteY137" fmla="*/ 1319217 h 1342734"/>
              <a:gd name="connsiteX138" fmla="*/ 54250 w 10678681"/>
              <a:gd name="connsiteY138" fmla="*/ 1315838 h 1342734"/>
              <a:gd name="connsiteX139" fmla="*/ 28042 w 10678681"/>
              <a:gd name="connsiteY139" fmla="*/ 1297822 h 1342734"/>
              <a:gd name="connsiteX140" fmla="*/ 0 w 10678681"/>
              <a:gd name="connsiteY140" fmla="*/ 1294612 h 1342734"/>
              <a:gd name="connsiteX141" fmla="*/ 0 w 10678681"/>
              <a:gd name="connsiteY141"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720084 w 10678681"/>
              <a:gd name="connsiteY39" fmla="*/ 760750 h 1342734"/>
              <a:gd name="connsiteX40" fmla="*/ 7652907 w 10678681"/>
              <a:gd name="connsiteY40" fmla="*/ 783273 h 1342734"/>
              <a:gd name="connsiteX41" fmla="*/ 7606008 w 10678681"/>
              <a:gd name="connsiteY41" fmla="*/ 800717 h 1342734"/>
              <a:gd name="connsiteX42" fmla="*/ 7480223 w 10678681"/>
              <a:gd name="connsiteY42" fmla="*/ 856821 h 1342734"/>
              <a:gd name="connsiteX43" fmla="*/ 7356005 w 10678681"/>
              <a:gd name="connsiteY43" fmla="*/ 919462 h 1342734"/>
              <a:gd name="connsiteX44" fmla="*/ 7305396 w 10678681"/>
              <a:gd name="connsiteY44" fmla="*/ 986228 h 1342734"/>
              <a:gd name="connsiteX45" fmla="*/ 7266251 w 10678681"/>
              <a:gd name="connsiteY45" fmla="*/ 967864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1838 w 10678681"/>
              <a:gd name="connsiteY63" fmla="*/ 1063226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086698 w 10678681"/>
              <a:gd name="connsiteY31" fmla="*/ 605185 h 1342734"/>
              <a:gd name="connsiteX32" fmla="*/ 7982378 w 10678681"/>
              <a:gd name="connsiteY32" fmla="*/ 629799 h 1342734"/>
              <a:gd name="connsiteX33" fmla="*/ 7947952 w 10678681"/>
              <a:gd name="connsiteY33" fmla="*/ 648003 h 1342734"/>
              <a:gd name="connsiteX34" fmla="*/ 7890112 w 10678681"/>
              <a:gd name="connsiteY34" fmla="*/ 677915 h 1342734"/>
              <a:gd name="connsiteX35" fmla="*/ 7853284 w 10678681"/>
              <a:gd name="connsiteY35" fmla="*/ 723588 h 1342734"/>
              <a:gd name="connsiteX36" fmla="*/ 7802383 w 10678681"/>
              <a:gd name="connsiteY36" fmla="*/ 739359 h 1342734"/>
              <a:gd name="connsiteX37" fmla="*/ 7730518 w 10678681"/>
              <a:gd name="connsiteY37" fmla="*/ 739526 h 1342734"/>
              <a:gd name="connsiteX38" fmla="*/ 7720084 w 10678681"/>
              <a:gd name="connsiteY38" fmla="*/ 760750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285593 w 10678681"/>
              <a:gd name="connsiteY77" fmla="*/ 1273569 h 1342734"/>
              <a:gd name="connsiteX78" fmla="*/ 5192893 w 10678681"/>
              <a:gd name="connsiteY78" fmla="*/ 1247188 h 1342734"/>
              <a:gd name="connsiteX79" fmla="*/ 5186475 w 10678681"/>
              <a:gd name="connsiteY79" fmla="*/ 1257028 h 1342734"/>
              <a:gd name="connsiteX80" fmla="*/ 5126038 w 10678681"/>
              <a:gd name="connsiteY80" fmla="*/ 1263189 h 1342734"/>
              <a:gd name="connsiteX81" fmla="*/ 4894688 w 10678681"/>
              <a:gd name="connsiteY81" fmla="*/ 1247184 h 1342734"/>
              <a:gd name="connsiteX82" fmla="*/ 4788036 w 10678681"/>
              <a:gd name="connsiteY82" fmla="*/ 1238182 h 1342734"/>
              <a:gd name="connsiteX83" fmla="*/ 4747555 w 10678681"/>
              <a:gd name="connsiteY83" fmla="*/ 1252768 h 1342734"/>
              <a:gd name="connsiteX84" fmla="*/ 4679644 w 10678681"/>
              <a:gd name="connsiteY84" fmla="*/ 1276603 h 1342734"/>
              <a:gd name="connsiteX85" fmla="*/ 4632222 w 10678681"/>
              <a:gd name="connsiteY85" fmla="*/ 1318360 h 1342734"/>
              <a:gd name="connsiteX86" fmla="*/ 4617358 w 10678681"/>
              <a:gd name="connsiteY86" fmla="*/ 1327690 h 1342734"/>
              <a:gd name="connsiteX87" fmla="*/ 4589102 w 10678681"/>
              <a:gd name="connsiteY87" fmla="*/ 1321223 h 1342734"/>
              <a:gd name="connsiteX88" fmla="*/ 4578184 w 10678681"/>
              <a:gd name="connsiteY88" fmla="*/ 1326745 h 1342734"/>
              <a:gd name="connsiteX89" fmla="*/ 4574270 w 10678681"/>
              <a:gd name="connsiteY89" fmla="*/ 1325878 h 1342734"/>
              <a:gd name="connsiteX90" fmla="*/ 4564919 w 10678681"/>
              <a:gd name="connsiteY90" fmla="*/ 1325507 h 1342734"/>
              <a:gd name="connsiteX91" fmla="*/ 4566586 w 10678681"/>
              <a:gd name="connsiteY91" fmla="*/ 1316963 h 1342734"/>
              <a:gd name="connsiteX92" fmla="*/ 4556303 w 10678681"/>
              <a:gd name="connsiteY92" fmla="*/ 1300262 h 1342734"/>
              <a:gd name="connsiteX93" fmla="*/ 4502358 w 10678681"/>
              <a:gd name="connsiteY93" fmla="*/ 1302558 h 1342734"/>
              <a:gd name="connsiteX94" fmla="*/ 4498919 w 10678681"/>
              <a:gd name="connsiteY94" fmla="*/ 1312115 h 1342734"/>
              <a:gd name="connsiteX95" fmla="*/ 4492075 w 10678681"/>
              <a:gd name="connsiteY95" fmla="*/ 1313357 h 1342734"/>
              <a:gd name="connsiteX96" fmla="*/ 4487466 w 10678681"/>
              <a:gd name="connsiteY96" fmla="*/ 1304102 h 1342734"/>
              <a:gd name="connsiteX97" fmla="*/ 4398292 w 10678681"/>
              <a:gd name="connsiteY97" fmla="*/ 1278410 h 1342734"/>
              <a:gd name="connsiteX98" fmla="*/ 4306088 w 10678681"/>
              <a:gd name="connsiteY98" fmla="*/ 1282512 h 1342734"/>
              <a:gd name="connsiteX99" fmla="*/ 4188995 w 10678681"/>
              <a:gd name="connsiteY99" fmla="*/ 1296718 h 1342734"/>
              <a:gd name="connsiteX100" fmla="*/ 4136582 w 10678681"/>
              <a:gd name="connsiteY100" fmla="*/ 1287687 h 1342734"/>
              <a:gd name="connsiteX101" fmla="*/ 4064614 w 10678681"/>
              <a:gd name="connsiteY101" fmla="*/ 1296118 h 1342734"/>
              <a:gd name="connsiteX102" fmla="*/ 3900948 w 10678681"/>
              <a:gd name="connsiteY102" fmla="*/ 1322156 h 1342734"/>
              <a:gd name="connsiteX103" fmla="*/ 3787890 w 10678681"/>
              <a:gd name="connsiteY103" fmla="*/ 1322164 h 1342734"/>
              <a:gd name="connsiteX104" fmla="*/ 3745993 w 10678681"/>
              <a:gd name="connsiteY104" fmla="*/ 1342630 h 1342734"/>
              <a:gd name="connsiteX105" fmla="*/ 3675785 w 10678681"/>
              <a:gd name="connsiteY105" fmla="*/ 1326802 h 1342734"/>
              <a:gd name="connsiteX106" fmla="*/ 3623856 w 10678681"/>
              <a:gd name="connsiteY106" fmla="*/ 1290804 h 1342734"/>
              <a:gd name="connsiteX107" fmla="*/ 3564933 w 10678681"/>
              <a:gd name="connsiteY107" fmla="*/ 1287147 h 1342734"/>
              <a:gd name="connsiteX108" fmla="*/ 3550537 w 10678681"/>
              <a:gd name="connsiteY108" fmla="*/ 1317552 h 1342734"/>
              <a:gd name="connsiteX109" fmla="*/ 3487736 w 10678681"/>
              <a:gd name="connsiteY109" fmla="*/ 1303493 h 1342734"/>
              <a:gd name="connsiteX110" fmla="*/ 3392548 w 10678681"/>
              <a:gd name="connsiteY110" fmla="*/ 1278741 h 1342734"/>
              <a:gd name="connsiteX111" fmla="*/ 3337466 w 10678681"/>
              <a:gd name="connsiteY111" fmla="*/ 1272537 h 1342734"/>
              <a:gd name="connsiteX112" fmla="*/ 3175981 w 10678681"/>
              <a:gd name="connsiteY112" fmla="*/ 1208973 h 1342734"/>
              <a:gd name="connsiteX113" fmla="*/ 3036856 w 10678681"/>
              <a:gd name="connsiteY113" fmla="*/ 1214383 h 1342734"/>
              <a:gd name="connsiteX114" fmla="*/ 2824973 w 10678681"/>
              <a:gd name="connsiteY114" fmla="*/ 1134864 h 1342734"/>
              <a:gd name="connsiteX115" fmla="*/ 2804398 w 10678681"/>
              <a:gd name="connsiteY115" fmla="*/ 1125556 h 1342734"/>
              <a:gd name="connsiteX116" fmla="*/ 2736109 w 10678681"/>
              <a:gd name="connsiteY116" fmla="*/ 1137717 h 1342734"/>
              <a:gd name="connsiteX117" fmla="*/ 2659096 w 10678681"/>
              <a:gd name="connsiteY117" fmla="*/ 1150294 h 1342734"/>
              <a:gd name="connsiteX118" fmla="*/ 2567088 w 10678681"/>
              <a:gd name="connsiteY118" fmla="*/ 1181781 h 1342734"/>
              <a:gd name="connsiteX119" fmla="*/ 2454501 w 10678681"/>
              <a:gd name="connsiteY119" fmla="*/ 1155455 h 1342734"/>
              <a:gd name="connsiteX120" fmla="*/ 2385161 w 10678681"/>
              <a:gd name="connsiteY120" fmla="*/ 1161312 h 1342734"/>
              <a:gd name="connsiteX121" fmla="*/ 2273361 w 10678681"/>
              <a:gd name="connsiteY121" fmla="*/ 1134090 h 1342734"/>
              <a:gd name="connsiteX122" fmla="*/ 2132003 w 10678681"/>
              <a:gd name="connsiteY122" fmla="*/ 1139225 h 1342734"/>
              <a:gd name="connsiteX123" fmla="*/ 2041224 w 10678681"/>
              <a:gd name="connsiteY123" fmla="*/ 1147536 h 1342734"/>
              <a:gd name="connsiteX124" fmla="*/ 2010157 w 10678681"/>
              <a:gd name="connsiteY124" fmla="*/ 1152767 h 1342734"/>
              <a:gd name="connsiteX125" fmla="*/ 1859213 w 10678681"/>
              <a:gd name="connsiteY125" fmla="*/ 1199540 h 1342734"/>
              <a:gd name="connsiteX126" fmla="*/ 1735877 w 10678681"/>
              <a:gd name="connsiteY126" fmla="*/ 1246527 h 1342734"/>
              <a:gd name="connsiteX127" fmla="*/ 1705069 w 10678681"/>
              <a:gd name="connsiteY127" fmla="*/ 1251989 h 1342734"/>
              <a:gd name="connsiteX128" fmla="*/ 1307888 w 10678681"/>
              <a:gd name="connsiteY128" fmla="*/ 1283156 h 1342734"/>
              <a:gd name="connsiteX129" fmla="*/ 1220734 w 10678681"/>
              <a:gd name="connsiteY129" fmla="*/ 1257811 h 1342734"/>
              <a:gd name="connsiteX130" fmla="*/ 1021737 w 10678681"/>
              <a:gd name="connsiteY130" fmla="*/ 1238739 h 1342734"/>
              <a:gd name="connsiteX131" fmla="*/ 959820 w 10678681"/>
              <a:gd name="connsiteY131" fmla="*/ 1275863 h 1342734"/>
              <a:gd name="connsiteX132" fmla="*/ 929137 w 10678681"/>
              <a:gd name="connsiteY132" fmla="*/ 1273957 h 1342734"/>
              <a:gd name="connsiteX133" fmla="*/ 878849 w 10678681"/>
              <a:gd name="connsiteY133" fmla="*/ 1266740 h 1342734"/>
              <a:gd name="connsiteX134" fmla="*/ 800667 w 10678681"/>
              <a:gd name="connsiteY134" fmla="*/ 1282041 h 1342734"/>
              <a:gd name="connsiteX135" fmla="*/ 644906 w 10678681"/>
              <a:gd name="connsiteY135" fmla="*/ 1273685 h 1342734"/>
              <a:gd name="connsiteX136" fmla="*/ 379869 w 10678681"/>
              <a:gd name="connsiteY136" fmla="*/ 1339165 h 1342734"/>
              <a:gd name="connsiteX137" fmla="*/ 137696 w 10678681"/>
              <a:gd name="connsiteY137" fmla="*/ 1319217 h 1342734"/>
              <a:gd name="connsiteX138" fmla="*/ 54250 w 10678681"/>
              <a:gd name="connsiteY138" fmla="*/ 1315838 h 1342734"/>
              <a:gd name="connsiteX139" fmla="*/ 28042 w 10678681"/>
              <a:gd name="connsiteY139" fmla="*/ 1297822 h 1342734"/>
              <a:gd name="connsiteX140" fmla="*/ 0 w 10678681"/>
              <a:gd name="connsiteY140" fmla="*/ 1294612 h 1342734"/>
              <a:gd name="connsiteX141" fmla="*/ 0 w 10678681"/>
              <a:gd name="connsiteY141"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276883 w 10678681"/>
              <a:gd name="connsiteY30" fmla="*/ 588214 h 1342734"/>
              <a:gd name="connsiteX31" fmla="*/ 8086698 w 10678681"/>
              <a:gd name="connsiteY31" fmla="*/ 605185 h 1342734"/>
              <a:gd name="connsiteX32" fmla="*/ 7982378 w 10678681"/>
              <a:gd name="connsiteY32" fmla="*/ 629799 h 1342734"/>
              <a:gd name="connsiteX33" fmla="*/ 7947952 w 10678681"/>
              <a:gd name="connsiteY33" fmla="*/ 648003 h 1342734"/>
              <a:gd name="connsiteX34" fmla="*/ 7890112 w 10678681"/>
              <a:gd name="connsiteY34" fmla="*/ 677915 h 1342734"/>
              <a:gd name="connsiteX35" fmla="*/ 7853284 w 10678681"/>
              <a:gd name="connsiteY35" fmla="*/ 723588 h 1342734"/>
              <a:gd name="connsiteX36" fmla="*/ 7802383 w 10678681"/>
              <a:gd name="connsiteY36" fmla="*/ 739359 h 1342734"/>
              <a:gd name="connsiteX37" fmla="*/ 7730518 w 10678681"/>
              <a:gd name="connsiteY37" fmla="*/ 739526 h 1342734"/>
              <a:gd name="connsiteX38" fmla="*/ 7720084 w 10678681"/>
              <a:gd name="connsiteY38" fmla="*/ 760750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285593 w 10678681"/>
              <a:gd name="connsiteY77" fmla="*/ 1273569 h 1342734"/>
              <a:gd name="connsiteX78" fmla="*/ 5192893 w 10678681"/>
              <a:gd name="connsiteY78" fmla="*/ 1247188 h 1342734"/>
              <a:gd name="connsiteX79" fmla="*/ 5186475 w 10678681"/>
              <a:gd name="connsiteY79" fmla="*/ 1257028 h 1342734"/>
              <a:gd name="connsiteX80" fmla="*/ 5126038 w 10678681"/>
              <a:gd name="connsiteY80" fmla="*/ 1263189 h 1342734"/>
              <a:gd name="connsiteX81" fmla="*/ 4894688 w 10678681"/>
              <a:gd name="connsiteY81" fmla="*/ 1247184 h 1342734"/>
              <a:gd name="connsiteX82" fmla="*/ 4788036 w 10678681"/>
              <a:gd name="connsiteY82" fmla="*/ 1238182 h 1342734"/>
              <a:gd name="connsiteX83" fmla="*/ 4747555 w 10678681"/>
              <a:gd name="connsiteY83" fmla="*/ 1252768 h 1342734"/>
              <a:gd name="connsiteX84" fmla="*/ 4679644 w 10678681"/>
              <a:gd name="connsiteY84" fmla="*/ 1276603 h 1342734"/>
              <a:gd name="connsiteX85" fmla="*/ 4632222 w 10678681"/>
              <a:gd name="connsiteY85" fmla="*/ 1318360 h 1342734"/>
              <a:gd name="connsiteX86" fmla="*/ 4617358 w 10678681"/>
              <a:gd name="connsiteY86" fmla="*/ 1327690 h 1342734"/>
              <a:gd name="connsiteX87" fmla="*/ 4589102 w 10678681"/>
              <a:gd name="connsiteY87" fmla="*/ 1321223 h 1342734"/>
              <a:gd name="connsiteX88" fmla="*/ 4578184 w 10678681"/>
              <a:gd name="connsiteY88" fmla="*/ 1326745 h 1342734"/>
              <a:gd name="connsiteX89" fmla="*/ 4574270 w 10678681"/>
              <a:gd name="connsiteY89" fmla="*/ 1325878 h 1342734"/>
              <a:gd name="connsiteX90" fmla="*/ 4564919 w 10678681"/>
              <a:gd name="connsiteY90" fmla="*/ 1325507 h 1342734"/>
              <a:gd name="connsiteX91" fmla="*/ 4566586 w 10678681"/>
              <a:gd name="connsiteY91" fmla="*/ 1316963 h 1342734"/>
              <a:gd name="connsiteX92" fmla="*/ 4556303 w 10678681"/>
              <a:gd name="connsiteY92" fmla="*/ 1300262 h 1342734"/>
              <a:gd name="connsiteX93" fmla="*/ 4502358 w 10678681"/>
              <a:gd name="connsiteY93" fmla="*/ 1302558 h 1342734"/>
              <a:gd name="connsiteX94" fmla="*/ 4498919 w 10678681"/>
              <a:gd name="connsiteY94" fmla="*/ 1312115 h 1342734"/>
              <a:gd name="connsiteX95" fmla="*/ 4492075 w 10678681"/>
              <a:gd name="connsiteY95" fmla="*/ 1313357 h 1342734"/>
              <a:gd name="connsiteX96" fmla="*/ 4487466 w 10678681"/>
              <a:gd name="connsiteY96" fmla="*/ 1304102 h 1342734"/>
              <a:gd name="connsiteX97" fmla="*/ 4398292 w 10678681"/>
              <a:gd name="connsiteY97" fmla="*/ 1278410 h 1342734"/>
              <a:gd name="connsiteX98" fmla="*/ 4306088 w 10678681"/>
              <a:gd name="connsiteY98" fmla="*/ 1282512 h 1342734"/>
              <a:gd name="connsiteX99" fmla="*/ 4188995 w 10678681"/>
              <a:gd name="connsiteY99" fmla="*/ 1296718 h 1342734"/>
              <a:gd name="connsiteX100" fmla="*/ 4136582 w 10678681"/>
              <a:gd name="connsiteY100" fmla="*/ 1287687 h 1342734"/>
              <a:gd name="connsiteX101" fmla="*/ 4064614 w 10678681"/>
              <a:gd name="connsiteY101" fmla="*/ 1296118 h 1342734"/>
              <a:gd name="connsiteX102" fmla="*/ 3900948 w 10678681"/>
              <a:gd name="connsiteY102" fmla="*/ 1322156 h 1342734"/>
              <a:gd name="connsiteX103" fmla="*/ 3787890 w 10678681"/>
              <a:gd name="connsiteY103" fmla="*/ 1322164 h 1342734"/>
              <a:gd name="connsiteX104" fmla="*/ 3745993 w 10678681"/>
              <a:gd name="connsiteY104" fmla="*/ 1342630 h 1342734"/>
              <a:gd name="connsiteX105" fmla="*/ 3675785 w 10678681"/>
              <a:gd name="connsiteY105" fmla="*/ 1326802 h 1342734"/>
              <a:gd name="connsiteX106" fmla="*/ 3623856 w 10678681"/>
              <a:gd name="connsiteY106" fmla="*/ 1290804 h 1342734"/>
              <a:gd name="connsiteX107" fmla="*/ 3564933 w 10678681"/>
              <a:gd name="connsiteY107" fmla="*/ 1287147 h 1342734"/>
              <a:gd name="connsiteX108" fmla="*/ 3550537 w 10678681"/>
              <a:gd name="connsiteY108" fmla="*/ 1317552 h 1342734"/>
              <a:gd name="connsiteX109" fmla="*/ 3487736 w 10678681"/>
              <a:gd name="connsiteY109" fmla="*/ 1303493 h 1342734"/>
              <a:gd name="connsiteX110" fmla="*/ 3392548 w 10678681"/>
              <a:gd name="connsiteY110" fmla="*/ 1278741 h 1342734"/>
              <a:gd name="connsiteX111" fmla="*/ 3337466 w 10678681"/>
              <a:gd name="connsiteY111" fmla="*/ 1272537 h 1342734"/>
              <a:gd name="connsiteX112" fmla="*/ 3175981 w 10678681"/>
              <a:gd name="connsiteY112" fmla="*/ 1208973 h 1342734"/>
              <a:gd name="connsiteX113" fmla="*/ 3036856 w 10678681"/>
              <a:gd name="connsiteY113" fmla="*/ 1214383 h 1342734"/>
              <a:gd name="connsiteX114" fmla="*/ 2824973 w 10678681"/>
              <a:gd name="connsiteY114" fmla="*/ 1134864 h 1342734"/>
              <a:gd name="connsiteX115" fmla="*/ 2804398 w 10678681"/>
              <a:gd name="connsiteY115" fmla="*/ 1125556 h 1342734"/>
              <a:gd name="connsiteX116" fmla="*/ 2736109 w 10678681"/>
              <a:gd name="connsiteY116" fmla="*/ 1137717 h 1342734"/>
              <a:gd name="connsiteX117" fmla="*/ 2659096 w 10678681"/>
              <a:gd name="connsiteY117" fmla="*/ 1150294 h 1342734"/>
              <a:gd name="connsiteX118" fmla="*/ 2567088 w 10678681"/>
              <a:gd name="connsiteY118" fmla="*/ 1181781 h 1342734"/>
              <a:gd name="connsiteX119" fmla="*/ 2454501 w 10678681"/>
              <a:gd name="connsiteY119" fmla="*/ 1155455 h 1342734"/>
              <a:gd name="connsiteX120" fmla="*/ 2385161 w 10678681"/>
              <a:gd name="connsiteY120" fmla="*/ 1161312 h 1342734"/>
              <a:gd name="connsiteX121" fmla="*/ 2273361 w 10678681"/>
              <a:gd name="connsiteY121" fmla="*/ 1134090 h 1342734"/>
              <a:gd name="connsiteX122" fmla="*/ 2132003 w 10678681"/>
              <a:gd name="connsiteY122" fmla="*/ 1139225 h 1342734"/>
              <a:gd name="connsiteX123" fmla="*/ 2041224 w 10678681"/>
              <a:gd name="connsiteY123" fmla="*/ 1147536 h 1342734"/>
              <a:gd name="connsiteX124" fmla="*/ 2010157 w 10678681"/>
              <a:gd name="connsiteY124" fmla="*/ 1152767 h 1342734"/>
              <a:gd name="connsiteX125" fmla="*/ 1859213 w 10678681"/>
              <a:gd name="connsiteY125" fmla="*/ 1199540 h 1342734"/>
              <a:gd name="connsiteX126" fmla="*/ 1735877 w 10678681"/>
              <a:gd name="connsiteY126" fmla="*/ 1246527 h 1342734"/>
              <a:gd name="connsiteX127" fmla="*/ 1705069 w 10678681"/>
              <a:gd name="connsiteY127" fmla="*/ 1251989 h 1342734"/>
              <a:gd name="connsiteX128" fmla="*/ 1307888 w 10678681"/>
              <a:gd name="connsiteY128" fmla="*/ 1283156 h 1342734"/>
              <a:gd name="connsiteX129" fmla="*/ 1220734 w 10678681"/>
              <a:gd name="connsiteY129" fmla="*/ 1257811 h 1342734"/>
              <a:gd name="connsiteX130" fmla="*/ 1021737 w 10678681"/>
              <a:gd name="connsiteY130" fmla="*/ 1238739 h 1342734"/>
              <a:gd name="connsiteX131" fmla="*/ 959820 w 10678681"/>
              <a:gd name="connsiteY131" fmla="*/ 1275863 h 1342734"/>
              <a:gd name="connsiteX132" fmla="*/ 929137 w 10678681"/>
              <a:gd name="connsiteY132" fmla="*/ 1273957 h 1342734"/>
              <a:gd name="connsiteX133" fmla="*/ 878849 w 10678681"/>
              <a:gd name="connsiteY133" fmla="*/ 1266740 h 1342734"/>
              <a:gd name="connsiteX134" fmla="*/ 800667 w 10678681"/>
              <a:gd name="connsiteY134" fmla="*/ 1282041 h 1342734"/>
              <a:gd name="connsiteX135" fmla="*/ 644906 w 10678681"/>
              <a:gd name="connsiteY135" fmla="*/ 1273685 h 1342734"/>
              <a:gd name="connsiteX136" fmla="*/ 379869 w 10678681"/>
              <a:gd name="connsiteY136" fmla="*/ 1339165 h 1342734"/>
              <a:gd name="connsiteX137" fmla="*/ 137696 w 10678681"/>
              <a:gd name="connsiteY137" fmla="*/ 1319217 h 1342734"/>
              <a:gd name="connsiteX138" fmla="*/ 54250 w 10678681"/>
              <a:gd name="connsiteY138" fmla="*/ 1315838 h 1342734"/>
              <a:gd name="connsiteX139" fmla="*/ 28042 w 10678681"/>
              <a:gd name="connsiteY139" fmla="*/ 1297822 h 1342734"/>
              <a:gd name="connsiteX140" fmla="*/ 0 w 10678681"/>
              <a:gd name="connsiteY140" fmla="*/ 1294612 h 1342734"/>
              <a:gd name="connsiteX141" fmla="*/ 0 w 10678681"/>
              <a:gd name="connsiteY141"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09062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276883 w 10678681"/>
              <a:gd name="connsiteY30" fmla="*/ 588214 h 1342734"/>
              <a:gd name="connsiteX31" fmla="*/ 8086698 w 10678681"/>
              <a:gd name="connsiteY31" fmla="*/ 605185 h 1342734"/>
              <a:gd name="connsiteX32" fmla="*/ 7982378 w 10678681"/>
              <a:gd name="connsiteY32" fmla="*/ 629799 h 1342734"/>
              <a:gd name="connsiteX33" fmla="*/ 7947952 w 10678681"/>
              <a:gd name="connsiteY33" fmla="*/ 648003 h 1342734"/>
              <a:gd name="connsiteX34" fmla="*/ 7890112 w 10678681"/>
              <a:gd name="connsiteY34" fmla="*/ 677915 h 1342734"/>
              <a:gd name="connsiteX35" fmla="*/ 7853284 w 10678681"/>
              <a:gd name="connsiteY35" fmla="*/ 723588 h 1342734"/>
              <a:gd name="connsiteX36" fmla="*/ 7802383 w 10678681"/>
              <a:gd name="connsiteY36" fmla="*/ 739359 h 1342734"/>
              <a:gd name="connsiteX37" fmla="*/ 7730518 w 10678681"/>
              <a:gd name="connsiteY37" fmla="*/ 739526 h 1342734"/>
              <a:gd name="connsiteX38" fmla="*/ 7720084 w 10678681"/>
              <a:gd name="connsiteY38" fmla="*/ 760750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285593 w 10678681"/>
              <a:gd name="connsiteY77" fmla="*/ 1273569 h 1342734"/>
              <a:gd name="connsiteX78" fmla="*/ 5192893 w 10678681"/>
              <a:gd name="connsiteY78" fmla="*/ 1247188 h 1342734"/>
              <a:gd name="connsiteX79" fmla="*/ 5186475 w 10678681"/>
              <a:gd name="connsiteY79" fmla="*/ 1257028 h 1342734"/>
              <a:gd name="connsiteX80" fmla="*/ 5126038 w 10678681"/>
              <a:gd name="connsiteY80" fmla="*/ 1263189 h 1342734"/>
              <a:gd name="connsiteX81" fmla="*/ 4894688 w 10678681"/>
              <a:gd name="connsiteY81" fmla="*/ 1247184 h 1342734"/>
              <a:gd name="connsiteX82" fmla="*/ 4788036 w 10678681"/>
              <a:gd name="connsiteY82" fmla="*/ 1238182 h 1342734"/>
              <a:gd name="connsiteX83" fmla="*/ 4747555 w 10678681"/>
              <a:gd name="connsiteY83" fmla="*/ 1252768 h 1342734"/>
              <a:gd name="connsiteX84" fmla="*/ 4679644 w 10678681"/>
              <a:gd name="connsiteY84" fmla="*/ 1276603 h 1342734"/>
              <a:gd name="connsiteX85" fmla="*/ 4632222 w 10678681"/>
              <a:gd name="connsiteY85" fmla="*/ 1318360 h 1342734"/>
              <a:gd name="connsiteX86" fmla="*/ 4617358 w 10678681"/>
              <a:gd name="connsiteY86" fmla="*/ 1327690 h 1342734"/>
              <a:gd name="connsiteX87" fmla="*/ 4589102 w 10678681"/>
              <a:gd name="connsiteY87" fmla="*/ 1321223 h 1342734"/>
              <a:gd name="connsiteX88" fmla="*/ 4578184 w 10678681"/>
              <a:gd name="connsiteY88" fmla="*/ 1326745 h 1342734"/>
              <a:gd name="connsiteX89" fmla="*/ 4574270 w 10678681"/>
              <a:gd name="connsiteY89" fmla="*/ 1325878 h 1342734"/>
              <a:gd name="connsiteX90" fmla="*/ 4564919 w 10678681"/>
              <a:gd name="connsiteY90" fmla="*/ 1325507 h 1342734"/>
              <a:gd name="connsiteX91" fmla="*/ 4566586 w 10678681"/>
              <a:gd name="connsiteY91" fmla="*/ 1316963 h 1342734"/>
              <a:gd name="connsiteX92" fmla="*/ 4556303 w 10678681"/>
              <a:gd name="connsiteY92" fmla="*/ 1300262 h 1342734"/>
              <a:gd name="connsiteX93" fmla="*/ 4502358 w 10678681"/>
              <a:gd name="connsiteY93" fmla="*/ 1302558 h 1342734"/>
              <a:gd name="connsiteX94" fmla="*/ 4498919 w 10678681"/>
              <a:gd name="connsiteY94" fmla="*/ 1312115 h 1342734"/>
              <a:gd name="connsiteX95" fmla="*/ 4492075 w 10678681"/>
              <a:gd name="connsiteY95" fmla="*/ 1313357 h 1342734"/>
              <a:gd name="connsiteX96" fmla="*/ 4487466 w 10678681"/>
              <a:gd name="connsiteY96" fmla="*/ 1304102 h 1342734"/>
              <a:gd name="connsiteX97" fmla="*/ 4398292 w 10678681"/>
              <a:gd name="connsiteY97" fmla="*/ 1278410 h 1342734"/>
              <a:gd name="connsiteX98" fmla="*/ 4306088 w 10678681"/>
              <a:gd name="connsiteY98" fmla="*/ 1282512 h 1342734"/>
              <a:gd name="connsiteX99" fmla="*/ 4188995 w 10678681"/>
              <a:gd name="connsiteY99" fmla="*/ 1296718 h 1342734"/>
              <a:gd name="connsiteX100" fmla="*/ 4136582 w 10678681"/>
              <a:gd name="connsiteY100" fmla="*/ 1287687 h 1342734"/>
              <a:gd name="connsiteX101" fmla="*/ 4064614 w 10678681"/>
              <a:gd name="connsiteY101" fmla="*/ 1296118 h 1342734"/>
              <a:gd name="connsiteX102" fmla="*/ 3900948 w 10678681"/>
              <a:gd name="connsiteY102" fmla="*/ 1322156 h 1342734"/>
              <a:gd name="connsiteX103" fmla="*/ 3787890 w 10678681"/>
              <a:gd name="connsiteY103" fmla="*/ 1322164 h 1342734"/>
              <a:gd name="connsiteX104" fmla="*/ 3745993 w 10678681"/>
              <a:gd name="connsiteY104" fmla="*/ 1342630 h 1342734"/>
              <a:gd name="connsiteX105" fmla="*/ 3675785 w 10678681"/>
              <a:gd name="connsiteY105" fmla="*/ 1326802 h 1342734"/>
              <a:gd name="connsiteX106" fmla="*/ 3623856 w 10678681"/>
              <a:gd name="connsiteY106" fmla="*/ 1290804 h 1342734"/>
              <a:gd name="connsiteX107" fmla="*/ 3564933 w 10678681"/>
              <a:gd name="connsiteY107" fmla="*/ 1287147 h 1342734"/>
              <a:gd name="connsiteX108" fmla="*/ 3550537 w 10678681"/>
              <a:gd name="connsiteY108" fmla="*/ 1317552 h 1342734"/>
              <a:gd name="connsiteX109" fmla="*/ 3487736 w 10678681"/>
              <a:gd name="connsiteY109" fmla="*/ 1303493 h 1342734"/>
              <a:gd name="connsiteX110" fmla="*/ 3392548 w 10678681"/>
              <a:gd name="connsiteY110" fmla="*/ 1278741 h 1342734"/>
              <a:gd name="connsiteX111" fmla="*/ 3337466 w 10678681"/>
              <a:gd name="connsiteY111" fmla="*/ 1272537 h 1342734"/>
              <a:gd name="connsiteX112" fmla="*/ 3175981 w 10678681"/>
              <a:gd name="connsiteY112" fmla="*/ 1208973 h 1342734"/>
              <a:gd name="connsiteX113" fmla="*/ 3036856 w 10678681"/>
              <a:gd name="connsiteY113" fmla="*/ 1214383 h 1342734"/>
              <a:gd name="connsiteX114" fmla="*/ 2824973 w 10678681"/>
              <a:gd name="connsiteY114" fmla="*/ 1134864 h 1342734"/>
              <a:gd name="connsiteX115" fmla="*/ 2804398 w 10678681"/>
              <a:gd name="connsiteY115" fmla="*/ 1125556 h 1342734"/>
              <a:gd name="connsiteX116" fmla="*/ 2736109 w 10678681"/>
              <a:gd name="connsiteY116" fmla="*/ 1137717 h 1342734"/>
              <a:gd name="connsiteX117" fmla="*/ 2659096 w 10678681"/>
              <a:gd name="connsiteY117" fmla="*/ 1150294 h 1342734"/>
              <a:gd name="connsiteX118" fmla="*/ 2567088 w 10678681"/>
              <a:gd name="connsiteY118" fmla="*/ 1181781 h 1342734"/>
              <a:gd name="connsiteX119" fmla="*/ 2454501 w 10678681"/>
              <a:gd name="connsiteY119" fmla="*/ 1155455 h 1342734"/>
              <a:gd name="connsiteX120" fmla="*/ 2385161 w 10678681"/>
              <a:gd name="connsiteY120" fmla="*/ 1161312 h 1342734"/>
              <a:gd name="connsiteX121" fmla="*/ 2273361 w 10678681"/>
              <a:gd name="connsiteY121" fmla="*/ 1134090 h 1342734"/>
              <a:gd name="connsiteX122" fmla="*/ 2132003 w 10678681"/>
              <a:gd name="connsiteY122" fmla="*/ 1139225 h 1342734"/>
              <a:gd name="connsiteX123" fmla="*/ 2041224 w 10678681"/>
              <a:gd name="connsiteY123" fmla="*/ 1147536 h 1342734"/>
              <a:gd name="connsiteX124" fmla="*/ 2010157 w 10678681"/>
              <a:gd name="connsiteY124" fmla="*/ 1152767 h 1342734"/>
              <a:gd name="connsiteX125" fmla="*/ 1859213 w 10678681"/>
              <a:gd name="connsiteY125" fmla="*/ 1199540 h 1342734"/>
              <a:gd name="connsiteX126" fmla="*/ 1735877 w 10678681"/>
              <a:gd name="connsiteY126" fmla="*/ 1246527 h 1342734"/>
              <a:gd name="connsiteX127" fmla="*/ 1705069 w 10678681"/>
              <a:gd name="connsiteY127" fmla="*/ 1251989 h 1342734"/>
              <a:gd name="connsiteX128" fmla="*/ 1307888 w 10678681"/>
              <a:gd name="connsiteY128" fmla="*/ 1283156 h 1342734"/>
              <a:gd name="connsiteX129" fmla="*/ 1220734 w 10678681"/>
              <a:gd name="connsiteY129" fmla="*/ 1257811 h 1342734"/>
              <a:gd name="connsiteX130" fmla="*/ 1021737 w 10678681"/>
              <a:gd name="connsiteY130" fmla="*/ 1238739 h 1342734"/>
              <a:gd name="connsiteX131" fmla="*/ 959820 w 10678681"/>
              <a:gd name="connsiteY131" fmla="*/ 1275863 h 1342734"/>
              <a:gd name="connsiteX132" fmla="*/ 929137 w 10678681"/>
              <a:gd name="connsiteY132" fmla="*/ 1273957 h 1342734"/>
              <a:gd name="connsiteX133" fmla="*/ 878849 w 10678681"/>
              <a:gd name="connsiteY133" fmla="*/ 1266740 h 1342734"/>
              <a:gd name="connsiteX134" fmla="*/ 800667 w 10678681"/>
              <a:gd name="connsiteY134" fmla="*/ 1282041 h 1342734"/>
              <a:gd name="connsiteX135" fmla="*/ 644906 w 10678681"/>
              <a:gd name="connsiteY135" fmla="*/ 1273685 h 1342734"/>
              <a:gd name="connsiteX136" fmla="*/ 379869 w 10678681"/>
              <a:gd name="connsiteY136" fmla="*/ 1339165 h 1342734"/>
              <a:gd name="connsiteX137" fmla="*/ 137696 w 10678681"/>
              <a:gd name="connsiteY137" fmla="*/ 1319217 h 1342734"/>
              <a:gd name="connsiteX138" fmla="*/ 54250 w 10678681"/>
              <a:gd name="connsiteY138" fmla="*/ 1315838 h 1342734"/>
              <a:gd name="connsiteX139" fmla="*/ 28042 w 10678681"/>
              <a:gd name="connsiteY139" fmla="*/ 1297822 h 1342734"/>
              <a:gd name="connsiteX140" fmla="*/ 0 w 10678681"/>
              <a:gd name="connsiteY140" fmla="*/ 1294612 h 1342734"/>
              <a:gd name="connsiteX141" fmla="*/ 0 w 10678681"/>
              <a:gd name="connsiteY141"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09062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276883 w 10678681"/>
              <a:gd name="connsiteY30" fmla="*/ 588214 h 1342734"/>
              <a:gd name="connsiteX31" fmla="*/ 8086698 w 10678681"/>
              <a:gd name="connsiteY31" fmla="*/ 605185 h 1342734"/>
              <a:gd name="connsiteX32" fmla="*/ 7982378 w 10678681"/>
              <a:gd name="connsiteY32" fmla="*/ 629799 h 1342734"/>
              <a:gd name="connsiteX33" fmla="*/ 7947952 w 10678681"/>
              <a:gd name="connsiteY33" fmla="*/ 648003 h 1342734"/>
              <a:gd name="connsiteX34" fmla="*/ 7890112 w 10678681"/>
              <a:gd name="connsiteY34" fmla="*/ 677915 h 1342734"/>
              <a:gd name="connsiteX35" fmla="*/ 7853284 w 10678681"/>
              <a:gd name="connsiteY35" fmla="*/ 723588 h 1342734"/>
              <a:gd name="connsiteX36" fmla="*/ 7802383 w 10678681"/>
              <a:gd name="connsiteY36" fmla="*/ 739359 h 1342734"/>
              <a:gd name="connsiteX37" fmla="*/ 7730518 w 10678681"/>
              <a:gd name="connsiteY37" fmla="*/ 739526 h 1342734"/>
              <a:gd name="connsiteX38" fmla="*/ 7720084 w 10678681"/>
              <a:gd name="connsiteY38" fmla="*/ 760750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285593 w 10678681"/>
              <a:gd name="connsiteY77" fmla="*/ 1273569 h 1342734"/>
              <a:gd name="connsiteX78" fmla="*/ 5192893 w 10678681"/>
              <a:gd name="connsiteY78" fmla="*/ 1247188 h 1342734"/>
              <a:gd name="connsiteX79" fmla="*/ 5186475 w 10678681"/>
              <a:gd name="connsiteY79" fmla="*/ 1257028 h 1342734"/>
              <a:gd name="connsiteX80" fmla="*/ 5126038 w 10678681"/>
              <a:gd name="connsiteY80" fmla="*/ 1263189 h 1342734"/>
              <a:gd name="connsiteX81" fmla="*/ 4894688 w 10678681"/>
              <a:gd name="connsiteY81" fmla="*/ 1247184 h 1342734"/>
              <a:gd name="connsiteX82" fmla="*/ 4788036 w 10678681"/>
              <a:gd name="connsiteY82" fmla="*/ 1238182 h 1342734"/>
              <a:gd name="connsiteX83" fmla="*/ 4747555 w 10678681"/>
              <a:gd name="connsiteY83" fmla="*/ 1252768 h 1342734"/>
              <a:gd name="connsiteX84" fmla="*/ 4679644 w 10678681"/>
              <a:gd name="connsiteY84" fmla="*/ 1276603 h 1342734"/>
              <a:gd name="connsiteX85" fmla="*/ 4632222 w 10678681"/>
              <a:gd name="connsiteY85" fmla="*/ 1318360 h 1342734"/>
              <a:gd name="connsiteX86" fmla="*/ 4617358 w 10678681"/>
              <a:gd name="connsiteY86" fmla="*/ 1327690 h 1342734"/>
              <a:gd name="connsiteX87" fmla="*/ 4589102 w 10678681"/>
              <a:gd name="connsiteY87" fmla="*/ 1321223 h 1342734"/>
              <a:gd name="connsiteX88" fmla="*/ 4578184 w 10678681"/>
              <a:gd name="connsiteY88" fmla="*/ 1326745 h 1342734"/>
              <a:gd name="connsiteX89" fmla="*/ 4574270 w 10678681"/>
              <a:gd name="connsiteY89" fmla="*/ 1325878 h 1342734"/>
              <a:gd name="connsiteX90" fmla="*/ 4564919 w 10678681"/>
              <a:gd name="connsiteY90" fmla="*/ 1325507 h 1342734"/>
              <a:gd name="connsiteX91" fmla="*/ 4566586 w 10678681"/>
              <a:gd name="connsiteY91" fmla="*/ 1316963 h 1342734"/>
              <a:gd name="connsiteX92" fmla="*/ 4556303 w 10678681"/>
              <a:gd name="connsiteY92" fmla="*/ 1300262 h 1342734"/>
              <a:gd name="connsiteX93" fmla="*/ 4502358 w 10678681"/>
              <a:gd name="connsiteY93" fmla="*/ 1302558 h 1342734"/>
              <a:gd name="connsiteX94" fmla="*/ 4498919 w 10678681"/>
              <a:gd name="connsiteY94" fmla="*/ 1312115 h 1342734"/>
              <a:gd name="connsiteX95" fmla="*/ 4492075 w 10678681"/>
              <a:gd name="connsiteY95" fmla="*/ 1313357 h 1342734"/>
              <a:gd name="connsiteX96" fmla="*/ 4487466 w 10678681"/>
              <a:gd name="connsiteY96" fmla="*/ 1304102 h 1342734"/>
              <a:gd name="connsiteX97" fmla="*/ 4398292 w 10678681"/>
              <a:gd name="connsiteY97" fmla="*/ 1278410 h 1342734"/>
              <a:gd name="connsiteX98" fmla="*/ 4306088 w 10678681"/>
              <a:gd name="connsiteY98" fmla="*/ 1282512 h 1342734"/>
              <a:gd name="connsiteX99" fmla="*/ 4188995 w 10678681"/>
              <a:gd name="connsiteY99" fmla="*/ 1296718 h 1342734"/>
              <a:gd name="connsiteX100" fmla="*/ 4136582 w 10678681"/>
              <a:gd name="connsiteY100" fmla="*/ 1287687 h 1342734"/>
              <a:gd name="connsiteX101" fmla="*/ 4064614 w 10678681"/>
              <a:gd name="connsiteY101" fmla="*/ 1296118 h 1342734"/>
              <a:gd name="connsiteX102" fmla="*/ 3900948 w 10678681"/>
              <a:gd name="connsiteY102" fmla="*/ 1322156 h 1342734"/>
              <a:gd name="connsiteX103" fmla="*/ 3787890 w 10678681"/>
              <a:gd name="connsiteY103" fmla="*/ 1322164 h 1342734"/>
              <a:gd name="connsiteX104" fmla="*/ 3745993 w 10678681"/>
              <a:gd name="connsiteY104" fmla="*/ 1342630 h 1342734"/>
              <a:gd name="connsiteX105" fmla="*/ 3675785 w 10678681"/>
              <a:gd name="connsiteY105" fmla="*/ 1326802 h 1342734"/>
              <a:gd name="connsiteX106" fmla="*/ 3623856 w 10678681"/>
              <a:gd name="connsiteY106" fmla="*/ 1290804 h 1342734"/>
              <a:gd name="connsiteX107" fmla="*/ 3564933 w 10678681"/>
              <a:gd name="connsiteY107" fmla="*/ 1287147 h 1342734"/>
              <a:gd name="connsiteX108" fmla="*/ 3550537 w 10678681"/>
              <a:gd name="connsiteY108" fmla="*/ 1317552 h 1342734"/>
              <a:gd name="connsiteX109" fmla="*/ 3487736 w 10678681"/>
              <a:gd name="connsiteY109" fmla="*/ 1303493 h 1342734"/>
              <a:gd name="connsiteX110" fmla="*/ 3392548 w 10678681"/>
              <a:gd name="connsiteY110" fmla="*/ 1278741 h 1342734"/>
              <a:gd name="connsiteX111" fmla="*/ 3337466 w 10678681"/>
              <a:gd name="connsiteY111" fmla="*/ 1272537 h 1342734"/>
              <a:gd name="connsiteX112" fmla="*/ 3175981 w 10678681"/>
              <a:gd name="connsiteY112" fmla="*/ 1208973 h 1342734"/>
              <a:gd name="connsiteX113" fmla="*/ 3036856 w 10678681"/>
              <a:gd name="connsiteY113" fmla="*/ 1214383 h 1342734"/>
              <a:gd name="connsiteX114" fmla="*/ 2824973 w 10678681"/>
              <a:gd name="connsiteY114" fmla="*/ 1134864 h 1342734"/>
              <a:gd name="connsiteX115" fmla="*/ 2804398 w 10678681"/>
              <a:gd name="connsiteY115" fmla="*/ 1125556 h 1342734"/>
              <a:gd name="connsiteX116" fmla="*/ 2736109 w 10678681"/>
              <a:gd name="connsiteY116" fmla="*/ 1137717 h 1342734"/>
              <a:gd name="connsiteX117" fmla="*/ 2659096 w 10678681"/>
              <a:gd name="connsiteY117" fmla="*/ 1150294 h 1342734"/>
              <a:gd name="connsiteX118" fmla="*/ 2567088 w 10678681"/>
              <a:gd name="connsiteY118" fmla="*/ 1181781 h 1342734"/>
              <a:gd name="connsiteX119" fmla="*/ 2454501 w 10678681"/>
              <a:gd name="connsiteY119" fmla="*/ 1155455 h 1342734"/>
              <a:gd name="connsiteX120" fmla="*/ 2385161 w 10678681"/>
              <a:gd name="connsiteY120" fmla="*/ 1161312 h 1342734"/>
              <a:gd name="connsiteX121" fmla="*/ 2273361 w 10678681"/>
              <a:gd name="connsiteY121" fmla="*/ 1134090 h 1342734"/>
              <a:gd name="connsiteX122" fmla="*/ 2132003 w 10678681"/>
              <a:gd name="connsiteY122" fmla="*/ 1139225 h 1342734"/>
              <a:gd name="connsiteX123" fmla="*/ 2041224 w 10678681"/>
              <a:gd name="connsiteY123" fmla="*/ 1147536 h 1342734"/>
              <a:gd name="connsiteX124" fmla="*/ 2010157 w 10678681"/>
              <a:gd name="connsiteY124" fmla="*/ 1152767 h 1342734"/>
              <a:gd name="connsiteX125" fmla="*/ 1859213 w 10678681"/>
              <a:gd name="connsiteY125" fmla="*/ 1199540 h 1342734"/>
              <a:gd name="connsiteX126" fmla="*/ 1735877 w 10678681"/>
              <a:gd name="connsiteY126" fmla="*/ 1246527 h 1342734"/>
              <a:gd name="connsiteX127" fmla="*/ 1705069 w 10678681"/>
              <a:gd name="connsiteY127" fmla="*/ 1251989 h 1342734"/>
              <a:gd name="connsiteX128" fmla="*/ 1307888 w 10678681"/>
              <a:gd name="connsiteY128" fmla="*/ 1283156 h 1342734"/>
              <a:gd name="connsiteX129" fmla="*/ 1220734 w 10678681"/>
              <a:gd name="connsiteY129" fmla="*/ 1257811 h 1342734"/>
              <a:gd name="connsiteX130" fmla="*/ 1021737 w 10678681"/>
              <a:gd name="connsiteY130" fmla="*/ 1238739 h 1342734"/>
              <a:gd name="connsiteX131" fmla="*/ 959820 w 10678681"/>
              <a:gd name="connsiteY131" fmla="*/ 1275863 h 1342734"/>
              <a:gd name="connsiteX132" fmla="*/ 929137 w 10678681"/>
              <a:gd name="connsiteY132" fmla="*/ 1273957 h 1342734"/>
              <a:gd name="connsiteX133" fmla="*/ 878849 w 10678681"/>
              <a:gd name="connsiteY133" fmla="*/ 1266740 h 1342734"/>
              <a:gd name="connsiteX134" fmla="*/ 800667 w 10678681"/>
              <a:gd name="connsiteY134" fmla="*/ 1282041 h 1342734"/>
              <a:gd name="connsiteX135" fmla="*/ 644906 w 10678681"/>
              <a:gd name="connsiteY135" fmla="*/ 1273685 h 1342734"/>
              <a:gd name="connsiteX136" fmla="*/ 379869 w 10678681"/>
              <a:gd name="connsiteY136" fmla="*/ 1339165 h 1342734"/>
              <a:gd name="connsiteX137" fmla="*/ 137696 w 10678681"/>
              <a:gd name="connsiteY137" fmla="*/ 1319217 h 1342734"/>
              <a:gd name="connsiteX138" fmla="*/ 54250 w 10678681"/>
              <a:gd name="connsiteY138" fmla="*/ 1315838 h 1342734"/>
              <a:gd name="connsiteX139" fmla="*/ 28042 w 10678681"/>
              <a:gd name="connsiteY139" fmla="*/ 1297822 h 1342734"/>
              <a:gd name="connsiteX140" fmla="*/ 0 w 10678681"/>
              <a:gd name="connsiteY140" fmla="*/ 1294612 h 1342734"/>
              <a:gd name="connsiteX141" fmla="*/ 0 w 10678681"/>
              <a:gd name="connsiteY141"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09062 h 1342734"/>
              <a:gd name="connsiteX14" fmla="*/ 9840045 w 10678681"/>
              <a:gd name="connsiteY14" fmla="*/ 223033 h 1342734"/>
              <a:gd name="connsiteX15" fmla="*/ 9679639 w 10678681"/>
              <a:gd name="connsiteY15" fmla="*/ 24718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276883 w 10678681"/>
              <a:gd name="connsiteY30" fmla="*/ 588214 h 1342734"/>
              <a:gd name="connsiteX31" fmla="*/ 8086698 w 10678681"/>
              <a:gd name="connsiteY31" fmla="*/ 605185 h 1342734"/>
              <a:gd name="connsiteX32" fmla="*/ 7982378 w 10678681"/>
              <a:gd name="connsiteY32" fmla="*/ 629799 h 1342734"/>
              <a:gd name="connsiteX33" fmla="*/ 7947952 w 10678681"/>
              <a:gd name="connsiteY33" fmla="*/ 648003 h 1342734"/>
              <a:gd name="connsiteX34" fmla="*/ 7890112 w 10678681"/>
              <a:gd name="connsiteY34" fmla="*/ 677915 h 1342734"/>
              <a:gd name="connsiteX35" fmla="*/ 7853284 w 10678681"/>
              <a:gd name="connsiteY35" fmla="*/ 723588 h 1342734"/>
              <a:gd name="connsiteX36" fmla="*/ 7802383 w 10678681"/>
              <a:gd name="connsiteY36" fmla="*/ 739359 h 1342734"/>
              <a:gd name="connsiteX37" fmla="*/ 7730518 w 10678681"/>
              <a:gd name="connsiteY37" fmla="*/ 739526 h 1342734"/>
              <a:gd name="connsiteX38" fmla="*/ 7720084 w 10678681"/>
              <a:gd name="connsiteY38" fmla="*/ 760750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285593 w 10678681"/>
              <a:gd name="connsiteY77" fmla="*/ 1273569 h 1342734"/>
              <a:gd name="connsiteX78" fmla="*/ 5192893 w 10678681"/>
              <a:gd name="connsiteY78" fmla="*/ 1247188 h 1342734"/>
              <a:gd name="connsiteX79" fmla="*/ 5186475 w 10678681"/>
              <a:gd name="connsiteY79" fmla="*/ 1257028 h 1342734"/>
              <a:gd name="connsiteX80" fmla="*/ 5126038 w 10678681"/>
              <a:gd name="connsiteY80" fmla="*/ 1263189 h 1342734"/>
              <a:gd name="connsiteX81" fmla="*/ 4894688 w 10678681"/>
              <a:gd name="connsiteY81" fmla="*/ 1247184 h 1342734"/>
              <a:gd name="connsiteX82" fmla="*/ 4788036 w 10678681"/>
              <a:gd name="connsiteY82" fmla="*/ 1238182 h 1342734"/>
              <a:gd name="connsiteX83" fmla="*/ 4747555 w 10678681"/>
              <a:gd name="connsiteY83" fmla="*/ 1252768 h 1342734"/>
              <a:gd name="connsiteX84" fmla="*/ 4679644 w 10678681"/>
              <a:gd name="connsiteY84" fmla="*/ 1276603 h 1342734"/>
              <a:gd name="connsiteX85" fmla="*/ 4632222 w 10678681"/>
              <a:gd name="connsiteY85" fmla="*/ 1318360 h 1342734"/>
              <a:gd name="connsiteX86" fmla="*/ 4617358 w 10678681"/>
              <a:gd name="connsiteY86" fmla="*/ 1327690 h 1342734"/>
              <a:gd name="connsiteX87" fmla="*/ 4589102 w 10678681"/>
              <a:gd name="connsiteY87" fmla="*/ 1321223 h 1342734"/>
              <a:gd name="connsiteX88" fmla="*/ 4578184 w 10678681"/>
              <a:gd name="connsiteY88" fmla="*/ 1326745 h 1342734"/>
              <a:gd name="connsiteX89" fmla="*/ 4574270 w 10678681"/>
              <a:gd name="connsiteY89" fmla="*/ 1325878 h 1342734"/>
              <a:gd name="connsiteX90" fmla="*/ 4564919 w 10678681"/>
              <a:gd name="connsiteY90" fmla="*/ 1325507 h 1342734"/>
              <a:gd name="connsiteX91" fmla="*/ 4566586 w 10678681"/>
              <a:gd name="connsiteY91" fmla="*/ 1316963 h 1342734"/>
              <a:gd name="connsiteX92" fmla="*/ 4556303 w 10678681"/>
              <a:gd name="connsiteY92" fmla="*/ 1300262 h 1342734"/>
              <a:gd name="connsiteX93" fmla="*/ 4502358 w 10678681"/>
              <a:gd name="connsiteY93" fmla="*/ 1302558 h 1342734"/>
              <a:gd name="connsiteX94" fmla="*/ 4498919 w 10678681"/>
              <a:gd name="connsiteY94" fmla="*/ 1312115 h 1342734"/>
              <a:gd name="connsiteX95" fmla="*/ 4492075 w 10678681"/>
              <a:gd name="connsiteY95" fmla="*/ 1313357 h 1342734"/>
              <a:gd name="connsiteX96" fmla="*/ 4487466 w 10678681"/>
              <a:gd name="connsiteY96" fmla="*/ 1304102 h 1342734"/>
              <a:gd name="connsiteX97" fmla="*/ 4398292 w 10678681"/>
              <a:gd name="connsiteY97" fmla="*/ 1278410 h 1342734"/>
              <a:gd name="connsiteX98" fmla="*/ 4306088 w 10678681"/>
              <a:gd name="connsiteY98" fmla="*/ 1282512 h 1342734"/>
              <a:gd name="connsiteX99" fmla="*/ 4188995 w 10678681"/>
              <a:gd name="connsiteY99" fmla="*/ 1296718 h 1342734"/>
              <a:gd name="connsiteX100" fmla="*/ 4136582 w 10678681"/>
              <a:gd name="connsiteY100" fmla="*/ 1287687 h 1342734"/>
              <a:gd name="connsiteX101" fmla="*/ 4064614 w 10678681"/>
              <a:gd name="connsiteY101" fmla="*/ 1296118 h 1342734"/>
              <a:gd name="connsiteX102" fmla="*/ 3900948 w 10678681"/>
              <a:gd name="connsiteY102" fmla="*/ 1322156 h 1342734"/>
              <a:gd name="connsiteX103" fmla="*/ 3787890 w 10678681"/>
              <a:gd name="connsiteY103" fmla="*/ 1322164 h 1342734"/>
              <a:gd name="connsiteX104" fmla="*/ 3745993 w 10678681"/>
              <a:gd name="connsiteY104" fmla="*/ 1342630 h 1342734"/>
              <a:gd name="connsiteX105" fmla="*/ 3675785 w 10678681"/>
              <a:gd name="connsiteY105" fmla="*/ 1326802 h 1342734"/>
              <a:gd name="connsiteX106" fmla="*/ 3623856 w 10678681"/>
              <a:gd name="connsiteY106" fmla="*/ 1290804 h 1342734"/>
              <a:gd name="connsiteX107" fmla="*/ 3564933 w 10678681"/>
              <a:gd name="connsiteY107" fmla="*/ 1287147 h 1342734"/>
              <a:gd name="connsiteX108" fmla="*/ 3550537 w 10678681"/>
              <a:gd name="connsiteY108" fmla="*/ 1317552 h 1342734"/>
              <a:gd name="connsiteX109" fmla="*/ 3487736 w 10678681"/>
              <a:gd name="connsiteY109" fmla="*/ 1303493 h 1342734"/>
              <a:gd name="connsiteX110" fmla="*/ 3392548 w 10678681"/>
              <a:gd name="connsiteY110" fmla="*/ 1278741 h 1342734"/>
              <a:gd name="connsiteX111" fmla="*/ 3337466 w 10678681"/>
              <a:gd name="connsiteY111" fmla="*/ 1272537 h 1342734"/>
              <a:gd name="connsiteX112" fmla="*/ 3175981 w 10678681"/>
              <a:gd name="connsiteY112" fmla="*/ 1208973 h 1342734"/>
              <a:gd name="connsiteX113" fmla="*/ 3036856 w 10678681"/>
              <a:gd name="connsiteY113" fmla="*/ 1214383 h 1342734"/>
              <a:gd name="connsiteX114" fmla="*/ 2824973 w 10678681"/>
              <a:gd name="connsiteY114" fmla="*/ 1134864 h 1342734"/>
              <a:gd name="connsiteX115" fmla="*/ 2804398 w 10678681"/>
              <a:gd name="connsiteY115" fmla="*/ 1125556 h 1342734"/>
              <a:gd name="connsiteX116" fmla="*/ 2736109 w 10678681"/>
              <a:gd name="connsiteY116" fmla="*/ 1137717 h 1342734"/>
              <a:gd name="connsiteX117" fmla="*/ 2659096 w 10678681"/>
              <a:gd name="connsiteY117" fmla="*/ 1150294 h 1342734"/>
              <a:gd name="connsiteX118" fmla="*/ 2567088 w 10678681"/>
              <a:gd name="connsiteY118" fmla="*/ 1181781 h 1342734"/>
              <a:gd name="connsiteX119" fmla="*/ 2454501 w 10678681"/>
              <a:gd name="connsiteY119" fmla="*/ 1155455 h 1342734"/>
              <a:gd name="connsiteX120" fmla="*/ 2385161 w 10678681"/>
              <a:gd name="connsiteY120" fmla="*/ 1161312 h 1342734"/>
              <a:gd name="connsiteX121" fmla="*/ 2273361 w 10678681"/>
              <a:gd name="connsiteY121" fmla="*/ 1134090 h 1342734"/>
              <a:gd name="connsiteX122" fmla="*/ 2132003 w 10678681"/>
              <a:gd name="connsiteY122" fmla="*/ 1139225 h 1342734"/>
              <a:gd name="connsiteX123" fmla="*/ 2041224 w 10678681"/>
              <a:gd name="connsiteY123" fmla="*/ 1147536 h 1342734"/>
              <a:gd name="connsiteX124" fmla="*/ 2010157 w 10678681"/>
              <a:gd name="connsiteY124" fmla="*/ 1152767 h 1342734"/>
              <a:gd name="connsiteX125" fmla="*/ 1859213 w 10678681"/>
              <a:gd name="connsiteY125" fmla="*/ 1199540 h 1342734"/>
              <a:gd name="connsiteX126" fmla="*/ 1735877 w 10678681"/>
              <a:gd name="connsiteY126" fmla="*/ 1246527 h 1342734"/>
              <a:gd name="connsiteX127" fmla="*/ 1705069 w 10678681"/>
              <a:gd name="connsiteY127" fmla="*/ 1251989 h 1342734"/>
              <a:gd name="connsiteX128" fmla="*/ 1307888 w 10678681"/>
              <a:gd name="connsiteY128" fmla="*/ 1283156 h 1342734"/>
              <a:gd name="connsiteX129" fmla="*/ 1220734 w 10678681"/>
              <a:gd name="connsiteY129" fmla="*/ 1257811 h 1342734"/>
              <a:gd name="connsiteX130" fmla="*/ 1021737 w 10678681"/>
              <a:gd name="connsiteY130" fmla="*/ 1238739 h 1342734"/>
              <a:gd name="connsiteX131" fmla="*/ 959820 w 10678681"/>
              <a:gd name="connsiteY131" fmla="*/ 1275863 h 1342734"/>
              <a:gd name="connsiteX132" fmla="*/ 929137 w 10678681"/>
              <a:gd name="connsiteY132" fmla="*/ 1273957 h 1342734"/>
              <a:gd name="connsiteX133" fmla="*/ 878849 w 10678681"/>
              <a:gd name="connsiteY133" fmla="*/ 1266740 h 1342734"/>
              <a:gd name="connsiteX134" fmla="*/ 800667 w 10678681"/>
              <a:gd name="connsiteY134" fmla="*/ 1282041 h 1342734"/>
              <a:gd name="connsiteX135" fmla="*/ 644906 w 10678681"/>
              <a:gd name="connsiteY135" fmla="*/ 1273685 h 1342734"/>
              <a:gd name="connsiteX136" fmla="*/ 379869 w 10678681"/>
              <a:gd name="connsiteY136" fmla="*/ 1339165 h 1342734"/>
              <a:gd name="connsiteX137" fmla="*/ 137696 w 10678681"/>
              <a:gd name="connsiteY137" fmla="*/ 1319217 h 1342734"/>
              <a:gd name="connsiteX138" fmla="*/ 54250 w 10678681"/>
              <a:gd name="connsiteY138" fmla="*/ 1315838 h 1342734"/>
              <a:gd name="connsiteX139" fmla="*/ 28042 w 10678681"/>
              <a:gd name="connsiteY139" fmla="*/ 1297822 h 1342734"/>
              <a:gd name="connsiteX140" fmla="*/ 0 w 10678681"/>
              <a:gd name="connsiteY140" fmla="*/ 1294612 h 1342734"/>
              <a:gd name="connsiteX141" fmla="*/ 0 w 10678681"/>
              <a:gd name="connsiteY141"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09062 h 1342734"/>
              <a:gd name="connsiteX14" fmla="*/ 9840045 w 10678681"/>
              <a:gd name="connsiteY14" fmla="*/ 223033 h 1342734"/>
              <a:gd name="connsiteX15" fmla="*/ 9679639 w 10678681"/>
              <a:gd name="connsiteY15" fmla="*/ 24718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276883 w 10678681"/>
              <a:gd name="connsiteY30" fmla="*/ 588214 h 1342734"/>
              <a:gd name="connsiteX31" fmla="*/ 8086698 w 10678681"/>
              <a:gd name="connsiteY31" fmla="*/ 605185 h 1342734"/>
              <a:gd name="connsiteX32" fmla="*/ 7982378 w 10678681"/>
              <a:gd name="connsiteY32" fmla="*/ 629799 h 1342734"/>
              <a:gd name="connsiteX33" fmla="*/ 7947952 w 10678681"/>
              <a:gd name="connsiteY33" fmla="*/ 648003 h 1342734"/>
              <a:gd name="connsiteX34" fmla="*/ 7890112 w 10678681"/>
              <a:gd name="connsiteY34" fmla="*/ 677915 h 1342734"/>
              <a:gd name="connsiteX35" fmla="*/ 7853284 w 10678681"/>
              <a:gd name="connsiteY35" fmla="*/ 723588 h 1342734"/>
              <a:gd name="connsiteX36" fmla="*/ 7802383 w 10678681"/>
              <a:gd name="connsiteY36" fmla="*/ 739359 h 1342734"/>
              <a:gd name="connsiteX37" fmla="*/ 7730518 w 10678681"/>
              <a:gd name="connsiteY37" fmla="*/ 739526 h 1342734"/>
              <a:gd name="connsiteX38" fmla="*/ 7720084 w 10678681"/>
              <a:gd name="connsiteY38" fmla="*/ 760750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285593 w 10678681"/>
              <a:gd name="connsiteY77" fmla="*/ 1273569 h 1342734"/>
              <a:gd name="connsiteX78" fmla="*/ 5192893 w 10678681"/>
              <a:gd name="connsiteY78" fmla="*/ 1247188 h 1342734"/>
              <a:gd name="connsiteX79" fmla="*/ 5186475 w 10678681"/>
              <a:gd name="connsiteY79" fmla="*/ 1257028 h 1342734"/>
              <a:gd name="connsiteX80" fmla="*/ 5126038 w 10678681"/>
              <a:gd name="connsiteY80" fmla="*/ 1263189 h 1342734"/>
              <a:gd name="connsiteX81" fmla="*/ 4894688 w 10678681"/>
              <a:gd name="connsiteY81" fmla="*/ 1247184 h 1342734"/>
              <a:gd name="connsiteX82" fmla="*/ 4788036 w 10678681"/>
              <a:gd name="connsiteY82" fmla="*/ 1238182 h 1342734"/>
              <a:gd name="connsiteX83" fmla="*/ 4747555 w 10678681"/>
              <a:gd name="connsiteY83" fmla="*/ 1252768 h 1342734"/>
              <a:gd name="connsiteX84" fmla="*/ 4679644 w 10678681"/>
              <a:gd name="connsiteY84" fmla="*/ 1276603 h 1342734"/>
              <a:gd name="connsiteX85" fmla="*/ 4632222 w 10678681"/>
              <a:gd name="connsiteY85" fmla="*/ 1318360 h 1342734"/>
              <a:gd name="connsiteX86" fmla="*/ 4617358 w 10678681"/>
              <a:gd name="connsiteY86" fmla="*/ 1327690 h 1342734"/>
              <a:gd name="connsiteX87" fmla="*/ 4589102 w 10678681"/>
              <a:gd name="connsiteY87" fmla="*/ 1321223 h 1342734"/>
              <a:gd name="connsiteX88" fmla="*/ 4578184 w 10678681"/>
              <a:gd name="connsiteY88" fmla="*/ 1326745 h 1342734"/>
              <a:gd name="connsiteX89" fmla="*/ 4564919 w 10678681"/>
              <a:gd name="connsiteY89" fmla="*/ 1325507 h 1342734"/>
              <a:gd name="connsiteX90" fmla="*/ 4566586 w 10678681"/>
              <a:gd name="connsiteY90" fmla="*/ 1316963 h 1342734"/>
              <a:gd name="connsiteX91" fmla="*/ 4556303 w 10678681"/>
              <a:gd name="connsiteY91" fmla="*/ 1300262 h 1342734"/>
              <a:gd name="connsiteX92" fmla="*/ 4502358 w 10678681"/>
              <a:gd name="connsiteY92" fmla="*/ 1302558 h 1342734"/>
              <a:gd name="connsiteX93" fmla="*/ 4498919 w 10678681"/>
              <a:gd name="connsiteY93" fmla="*/ 1312115 h 1342734"/>
              <a:gd name="connsiteX94" fmla="*/ 4492075 w 10678681"/>
              <a:gd name="connsiteY94" fmla="*/ 1313357 h 1342734"/>
              <a:gd name="connsiteX95" fmla="*/ 4487466 w 10678681"/>
              <a:gd name="connsiteY95" fmla="*/ 1304102 h 1342734"/>
              <a:gd name="connsiteX96" fmla="*/ 4398292 w 10678681"/>
              <a:gd name="connsiteY96" fmla="*/ 1278410 h 1342734"/>
              <a:gd name="connsiteX97" fmla="*/ 4306088 w 10678681"/>
              <a:gd name="connsiteY97" fmla="*/ 1282512 h 1342734"/>
              <a:gd name="connsiteX98" fmla="*/ 4188995 w 10678681"/>
              <a:gd name="connsiteY98" fmla="*/ 1296718 h 1342734"/>
              <a:gd name="connsiteX99" fmla="*/ 4136582 w 10678681"/>
              <a:gd name="connsiteY99" fmla="*/ 1287687 h 1342734"/>
              <a:gd name="connsiteX100" fmla="*/ 4064614 w 10678681"/>
              <a:gd name="connsiteY100" fmla="*/ 1296118 h 1342734"/>
              <a:gd name="connsiteX101" fmla="*/ 3900948 w 10678681"/>
              <a:gd name="connsiteY101" fmla="*/ 1322156 h 1342734"/>
              <a:gd name="connsiteX102" fmla="*/ 3787890 w 10678681"/>
              <a:gd name="connsiteY102" fmla="*/ 1322164 h 1342734"/>
              <a:gd name="connsiteX103" fmla="*/ 3745993 w 10678681"/>
              <a:gd name="connsiteY103" fmla="*/ 1342630 h 1342734"/>
              <a:gd name="connsiteX104" fmla="*/ 3675785 w 10678681"/>
              <a:gd name="connsiteY104" fmla="*/ 1326802 h 1342734"/>
              <a:gd name="connsiteX105" fmla="*/ 3623856 w 10678681"/>
              <a:gd name="connsiteY105" fmla="*/ 1290804 h 1342734"/>
              <a:gd name="connsiteX106" fmla="*/ 3564933 w 10678681"/>
              <a:gd name="connsiteY106" fmla="*/ 1287147 h 1342734"/>
              <a:gd name="connsiteX107" fmla="*/ 3550537 w 10678681"/>
              <a:gd name="connsiteY107" fmla="*/ 1317552 h 1342734"/>
              <a:gd name="connsiteX108" fmla="*/ 3487736 w 10678681"/>
              <a:gd name="connsiteY108" fmla="*/ 1303493 h 1342734"/>
              <a:gd name="connsiteX109" fmla="*/ 3392548 w 10678681"/>
              <a:gd name="connsiteY109" fmla="*/ 1278741 h 1342734"/>
              <a:gd name="connsiteX110" fmla="*/ 3337466 w 10678681"/>
              <a:gd name="connsiteY110" fmla="*/ 1272537 h 1342734"/>
              <a:gd name="connsiteX111" fmla="*/ 3175981 w 10678681"/>
              <a:gd name="connsiteY111" fmla="*/ 1208973 h 1342734"/>
              <a:gd name="connsiteX112" fmla="*/ 3036856 w 10678681"/>
              <a:gd name="connsiteY112" fmla="*/ 1214383 h 1342734"/>
              <a:gd name="connsiteX113" fmla="*/ 2824973 w 10678681"/>
              <a:gd name="connsiteY113" fmla="*/ 1134864 h 1342734"/>
              <a:gd name="connsiteX114" fmla="*/ 2804398 w 10678681"/>
              <a:gd name="connsiteY114" fmla="*/ 1125556 h 1342734"/>
              <a:gd name="connsiteX115" fmla="*/ 2736109 w 10678681"/>
              <a:gd name="connsiteY115" fmla="*/ 1137717 h 1342734"/>
              <a:gd name="connsiteX116" fmla="*/ 2659096 w 10678681"/>
              <a:gd name="connsiteY116" fmla="*/ 1150294 h 1342734"/>
              <a:gd name="connsiteX117" fmla="*/ 2567088 w 10678681"/>
              <a:gd name="connsiteY117" fmla="*/ 1181781 h 1342734"/>
              <a:gd name="connsiteX118" fmla="*/ 2454501 w 10678681"/>
              <a:gd name="connsiteY118" fmla="*/ 1155455 h 1342734"/>
              <a:gd name="connsiteX119" fmla="*/ 2385161 w 10678681"/>
              <a:gd name="connsiteY119" fmla="*/ 1161312 h 1342734"/>
              <a:gd name="connsiteX120" fmla="*/ 2273361 w 10678681"/>
              <a:gd name="connsiteY120" fmla="*/ 1134090 h 1342734"/>
              <a:gd name="connsiteX121" fmla="*/ 2132003 w 10678681"/>
              <a:gd name="connsiteY121" fmla="*/ 1139225 h 1342734"/>
              <a:gd name="connsiteX122" fmla="*/ 2041224 w 10678681"/>
              <a:gd name="connsiteY122" fmla="*/ 1147536 h 1342734"/>
              <a:gd name="connsiteX123" fmla="*/ 2010157 w 10678681"/>
              <a:gd name="connsiteY123" fmla="*/ 1152767 h 1342734"/>
              <a:gd name="connsiteX124" fmla="*/ 1859213 w 10678681"/>
              <a:gd name="connsiteY124" fmla="*/ 1199540 h 1342734"/>
              <a:gd name="connsiteX125" fmla="*/ 1735877 w 10678681"/>
              <a:gd name="connsiteY125" fmla="*/ 1246527 h 1342734"/>
              <a:gd name="connsiteX126" fmla="*/ 1705069 w 10678681"/>
              <a:gd name="connsiteY126" fmla="*/ 1251989 h 1342734"/>
              <a:gd name="connsiteX127" fmla="*/ 1307888 w 10678681"/>
              <a:gd name="connsiteY127" fmla="*/ 1283156 h 1342734"/>
              <a:gd name="connsiteX128" fmla="*/ 1220734 w 10678681"/>
              <a:gd name="connsiteY128" fmla="*/ 1257811 h 1342734"/>
              <a:gd name="connsiteX129" fmla="*/ 1021737 w 10678681"/>
              <a:gd name="connsiteY129" fmla="*/ 1238739 h 1342734"/>
              <a:gd name="connsiteX130" fmla="*/ 959820 w 10678681"/>
              <a:gd name="connsiteY130" fmla="*/ 1275863 h 1342734"/>
              <a:gd name="connsiteX131" fmla="*/ 929137 w 10678681"/>
              <a:gd name="connsiteY131" fmla="*/ 1273957 h 1342734"/>
              <a:gd name="connsiteX132" fmla="*/ 878849 w 10678681"/>
              <a:gd name="connsiteY132" fmla="*/ 1266740 h 1342734"/>
              <a:gd name="connsiteX133" fmla="*/ 800667 w 10678681"/>
              <a:gd name="connsiteY133" fmla="*/ 1282041 h 1342734"/>
              <a:gd name="connsiteX134" fmla="*/ 644906 w 10678681"/>
              <a:gd name="connsiteY134" fmla="*/ 1273685 h 1342734"/>
              <a:gd name="connsiteX135" fmla="*/ 379869 w 10678681"/>
              <a:gd name="connsiteY135" fmla="*/ 1339165 h 1342734"/>
              <a:gd name="connsiteX136" fmla="*/ 137696 w 10678681"/>
              <a:gd name="connsiteY136" fmla="*/ 1319217 h 1342734"/>
              <a:gd name="connsiteX137" fmla="*/ 54250 w 10678681"/>
              <a:gd name="connsiteY137" fmla="*/ 1315838 h 1342734"/>
              <a:gd name="connsiteX138" fmla="*/ 28042 w 10678681"/>
              <a:gd name="connsiteY138" fmla="*/ 1297822 h 1342734"/>
              <a:gd name="connsiteX139" fmla="*/ 0 w 10678681"/>
              <a:gd name="connsiteY139" fmla="*/ 1294612 h 1342734"/>
              <a:gd name="connsiteX140" fmla="*/ 0 w 10678681"/>
              <a:gd name="connsiteY140"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09062 h 1342734"/>
              <a:gd name="connsiteX14" fmla="*/ 9840045 w 10678681"/>
              <a:gd name="connsiteY14" fmla="*/ 223033 h 1342734"/>
              <a:gd name="connsiteX15" fmla="*/ 9679639 w 10678681"/>
              <a:gd name="connsiteY15" fmla="*/ 24718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276883 w 10678681"/>
              <a:gd name="connsiteY30" fmla="*/ 588214 h 1342734"/>
              <a:gd name="connsiteX31" fmla="*/ 8086698 w 10678681"/>
              <a:gd name="connsiteY31" fmla="*/ 605185 h 1342734"/>
              <a:gd name="connsiteX32" fmla="*/ 7982378 w 10678681"/>
              <a:gd name="connsiteY32" fmla="*/ 629799 h 1342734"/>
              <a:gd name="connsiteX33" fmla="*/ 7947952 w 10678681"/>
              <a:gd name="connsiteY33" fmla="*/ 648003 h 1342734"/>
              <a:gd name="connsiteX34" fmla="*/ 7890112 w 10678681"/>
              <a:gd name="connsiteY34" fmla="*/ 677915 h 1342734"/>
              <a:gd name="connsiteX35" fmla="*/ 7853284 w 10678681"/>
              <a:gd name="connsiteY35" fmla="*/ 723588 h 1342734"/>
              <a:gd name="connsiteX36" fmla="*/ 7802383 w 10678681"/>
              <a:gd name="connsiteY36" fmla="*/ 739359 h 1342734"/>
              <a:gd name="connsiteX37" fmla="*/ 7730518 w 10678681"/>
              <a:gd name="connsiteY37" fmla="*/ 739526 h 1342734"/>
              <a:gd name="connsiteX38" fmla="*/ 7720084 w 10678681"/>
              <a:gd name="connsiteY38" fmla="*/ 760750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285593 w 10678681"/>
              <a:gd name="connsiteY77" fmla="*/ 1273569 h 1342734"/>
              <a:gd name="connsiteX78" fmla="*/ 5192893 w 10678681"/>
              <a:gd name="connsiteY78" fmla="*/ 1247188 h 1342734"/>
              <a:gd name="connsiteX79" fmla="*/ 5186475 w 10678681"/>
              <a:gd name="connsiteY79" fmla="*/ 1257028 h 1342734"/>
              <a:gd name="connsiteX80" fmla="*/ 5126038 w 10678681"/>
              <a:gd name="connsiteY80" fmla="*/ 1263189 h 1342734"/>
              <a:gd name="connsiteX81" fmla="*/ 4894688 w 10678681"/>
              <a:gd name="connsiteY81" fmla="*/ 1247184 h 1342734"/>
              <a:gd name="connsiteX82" fmla="*/ 4788036 w 10678681"/>
              <a:gd name="connsiteY82" fmla="*/ 1238182 h 1342734"/>
              <a:gd name="connsiteX83" fmla="*/ 4747555 w 10678681"/>
              <a:gd name="connsiteY83" fmla="*/ 1252768 h 1342734"/>
              <a:gd name="connsiteX84" fmla="*/ 4679644 w 10678681"/>
              <a:gd name="connsiteY84" fmla="*/ 1276603 h 1342734"/>
              <a:gd name="connsiteX85" fmla="*/ 4632222 w 10678681"/>
              <a:gd name="connsiteY85" fmla="*/ 1318360 h 1342734"/>
              <a:gd name="connsiteX86" fmla="*/ 4617358 w 10678681"/>
              <a:gd name="connsiteY86" fmla="*/ 1327690 h 1342734"/>
              <a:gd name="connsiteX87" fmla="*/ 4578184 w 10678681"/>
              <a:gd name="connsiteY87" fmla="*/ 1326745 h 1342734"/>
              <a:gd name="connsiteX88" fmla="*/ 4564919 w 10678681"/>
              <a:gd name="connsiteY88" fmla="*/ 1325507 h 1342734"/>
              <a:gd name="connsiteX89" fmla="*/ 4566586 w 10678681"/>
              <a:gd name="connsiteY89" fmla="*/ 1316963 h 1342734"/>
              <a:gd name="connsiteX90" fmla="*/ 4556303 w 10678681"/>
              <a:gd name="connsiteY90" fmla="*/ 1300262 h 1342734"/>
              <a:gd name="connsiteX91" fmla="*/ 4502358 w 10678681"/>
              <a:gd name="connsiteY91" fmla="*/ 1302558 h 1342734"/>
              <a:gd name="connsiteX92" fmla="*/ 4498919 w 10678681"/>
              <a:gd name="connsiteY92" fmla="*/ 1312115 h 1342734"/>
              <a:gd name="connsiteX93" fmla="*/ 4492075 w 10678681"/>
              <a:gd name="connsiteY93" fmla="*/ 1313357 h 1342734"/>
              <a:gd name="connsiteX94" fmla="*/ 4487466 w 10678681"/>
              <a:gd name="connsiteY94" fmla="*/ 1304102 h 1342734"/>
              <a:gd name="connsiteX95" fmla="*/ 4398292 w 10678681"/>
              <a:gd name="connsiteY95" fmla="*/ 1278410 h 1342734"/>
              <a:gd name="connsiteX96" fmla="*/ 4306088 w 10678681"/>
              <a:gd name="connsiteY96" fmla="*/ 1282512 h 1342734"/>
              <a:gd name="connsiteX97" fmla="*/ 4188995 w 10678681"/>
              <a:gd name="connsiteY97" fmla="*/ 1296718 h 1342734"/>
              <a:gd name="connsiteX98" fmla="*/ 4136582 w 10678681"/>
              <a:gd name="connsiteY98" fmla="*/ 1287687 h 1342734"/>
              <a:gd name="connsiteX99" fmla="*/ 4064614 w 10678681"/>
              <a:gd name="connsiteY99" fmla="*/ 1296118 h 1342734"/>
              <a:gd name="connsiteX100" fmla="*/ 3900948 w 10678681"/>
              <a:gd name="connsiteY100" fmla="*/ 1322156 h 1342734"/>
              <a:gd name="connsiteX101" fmla="*/ 3787890 w 10678681"/>
              <a:gd name="connsiteY101" fmla="*/ 1322164 h 1342734"/>
              <a:gd name="connsiteX102" fmla="*/ 3745993 w 10678681"/>
              <a:gd name="connsiteY102" fmla="*/ 1342630 h 1342734"/>
              <a:gd name="connsiteX103" fmla="*/ 3675785 w 10678681"/>
              <a:gd name="connsiteY103" fmla="*/ 1326802 h 1342734"/>
              <a:gd name="connsiteX104" fmla="*/ 3623856 w 10678681"/>
              <a:gd name="connsiteY104" fmla="*/ 1290804 h 1342734"/>
              <a:gd name="connsiteX105" fmla="*/ 3564933 w 10678681"/>
              <a:gd name="connsiteY105" fmla="*/ 1287147 h 1342734"/>
              <a:gd name="connsiteX106" fmla="*/ 3550537 w 10678681"/>
              <a:gd name="connsiteY106" fmla="*/ 1317552 h 1342734"/>
              <a:gd name="connsiteX107" fmla="*/ 3487736 w 10678681"/>
              <a:gd name="connsiteY107" fmla="*/ 1303493 h 1342734"/>
              <a:gd name="connsiteX108" fmla="*/ 3392548 w 10678681"/>
              <a:gd name="connsiteY108" fmla="*/ 1278741 h 1342734"/>
              <a:gd name="connsiteX109" fmla="*/ 3337466 w 10678681"/>
              <a:gd name="connsiteY109" fmla="*/ 1272537 h 1342734"/>
              <a:gd name="connsiteX110" fmla="*/ 3175981 w 10678681"/>
              <a:gd name="connsiteY110" fmla="*/ 1208973 h 1342734"/>
              <a:gd name="connsiteX111" fmla="*/ 3036856 w 10678681"/>
              <a:gd name="connsiteY111" fmla="*/ 1214383 h 1342734"/>
              <a:gd name="connsiteX112" fmla="*/ 2824973 w 10678681"/>
              <a:gd name="connsiteY112" fmla="*/ 1134864 h 1342734"/>
              <a:gd name="connsiteX113" fmla="*/ 2804398 w 10678681"/>
              <a:gd name="connsiteY113" fmla="*/ 1125556 h 1342734"/>
              <a:gd name="connsiteX114" fmla="*/ 2736109 w 10678681"/>
              <a:gd name="connsiteY114" fmla="*/ 1137717 h 1342734"/>
              <a:gd name="connsiteX115" fmla="*/ 2659096 w 10678681"/>
              <a:gd name="connsiteY115" fmla="*/ 1150294 h 1342734"/>
              <a:gd name="connsiteX116" fmla="*/ 2567088 w 10678681"/>
              <a:gd name="connsiteY116" fmla="*/ 1181781 h 1342734"/>
              <a:gd name="connsiteX117" fmla="*/ 2454501 w 10678681"/>
              <a:gd name="connsiteY117" fmla="*/ 1155455 h 1342734"/>
              <a:gd name="connsiteX118" fmla="*/ 2385161 w 10678681"/>
              <a:gd name="connsiteY118" fmla="*/ 1161312 h 1342734"/>
              <a:gd name="connsiteX119" fmla="*/ 2273361 w 10678681"/>
              <a:gd name="connsiteY119" fmla="*/ 1134090 h 1342734"/>
              <a:gd name="connsiteX120" fmla="*/ 2132003 w 10678681"/>
              <a:gd name="connsiteY120" fmla="*/ 1139225 h 1342734"/>
              <a:gd name="connsiteX121" fmla="*/ 2041224 w 10678681"/>
              <a:gd name="connsiteY121" fmla="*/ 1147536 h 1342734"/>
              <a:gd name="connsiteX122" fmla="*/ 2010157 w 10678681"/>
              <a:gd name="connsiteY122" fmla="*/ 1152767 h 1342734"/>
              <a:gd name="connsiteX123" fmla="*/ 1859213 w 10678681"/>
              <a:gd name="connsiteY123" fmla="*/ 1199540 h 1342734"/>
              <a:gd name="connsiteX124" fmla="*/ 1735877 w 10678681"/>
              <a:gd name="connsiteY124" fmla="*/ 1246527 h 1342734"/>
              <a:gd name="connsiteX125" fmla="*/ 1705069 w 10678681"/>
              <a:gd name="connsiteY125" fmla="*/ 1251989 h 1342734"/>
              <a:gd name="connsiteX126" fmla="*/ 1307888 w 10678681"/>
              <a:gd name="connsiteY126" fmla="*/ 1283156 h 1342734"/>
              <a:gd name="connsiteX127" fmla="*/ 1220734 w 10678681"/>
              <a:gd name="connsiteY127" fmla="*/ 1257811 h 1342734"/>
              <a:gd name="connsiteX128" fmla="*/ 1021737 w 10678681"/>
              <a:gd name="connsiteY128" fmla="*/ 1238739 h 1342734"/>
              <a:gd name="connsiteX129" fmla="*/ 959820 w 10678681"/>
              <a:gd name="connsiteY129" fmla="*/ 1275863 h 1342734"/>
              <a:gd name="connsiteX130" fmla="*/ 929137 w 10678681"/>
              <a:gd name="connsiteY130" fmla="*/ 1273957 h 1342734"/>
              <a:gd name="connsiteX131" fmla="*/ 878849 w 10678681"/>
              <a:gd name="connsiteY131" fmla="*/ 1266740 h 1342734"/>
              <a:gd name="connsiteX132" fmla="*/ 800667 w 10678681"/>
              <a:gd name="connsiteY132" fmla="*/ 1282041 h 1342734"/>
              <a:gd name="connsiteX133" fmla="*/ 644906 w 10678681"/>
              <a:gd name="connsiteY133" fmla="*/ 1273685 h 1342734"/>
              <a:gd name="connsiteX134" fmla="*/ 379869 w 10678681"/>
              <a:gd name="connsiteY134" fmla="*/ 1339165 h 1342734"/>
              <a:gd name="connsiteX135" fmla="*/ 137696 w 10678681"/>
              <a:gd name="connsiteY135" fmla="*/ 1319217 h 1342734"/>
              <a:gd name="connsiteX136" fmla="*/ 54250 w 10678681"/>
              <a:gd name="connsiteY136" fmla="*/ 1315838 h 1342734"/>
              <a:gd name="connsiteX137" fmla="*/ 28042 w 10678681"/>
              <a:gd name="connsiteY137" fmla="*/ 1297822 h 1342734"/>
              <a:gd name="connsiteX138" fmla="*/ 0 w 10678681"/>
              <a:gd name="connsiteY138" fmla="*/ 1294612 h 1342734"/>
              <a:gd name="connsiteX139" fmla="*/ 0 w 10678681"/>
              <a:gd name="connsiteY139"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09062 h 1342734"/>
              <a:gd name="connsiteX14" fmla="*/ 9840045 w 10678681"/>
              <a:gd name="connsiteY14" fmla="*/ 223033 h 1342734"/>
              <a:gd name="connsiteX15" fmla="*/ 9679639 w 10678681"/>
              <a:gd name="connsiteY15" fmla="*/ 24718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276883 w 10678681"/>
              <a:gd name="connsiteY30" fmla="*/ 588214 h 1342734"/>
              <a:gd name="connsiteX31" fmla="*/ 8086698 w 10678681"/>
              <a:gd name="connsiteY31" fmla="*/ 605185 h 1342734"/>
              <a:gd name="connsiteX32" fmla="*/ 7982378 w 10678681"/>
              <a:gd name="connsiteY32" fmla="*/ 629799 h 1342734"/>
              <a:gd name="connsiteX33" fmla="*/ 7947952 w 10678681"/>
              <a:gd name="connsiteY33" fmla="*/ 648003 h 1342734"/>
              <a:gd name="connsiteX34" fmla="*/ 7890112 w 10678681"/>
              <a:gd name="connsiteY34" fmla="*/ 677915 h 1342734"/>
              <a:gd name="connsiteX35" fmla="*/ 7853284 w 10678681"/>
              <a:gd name="connsiteY35" fmla="*/ 723588 h 1342734"/>
              <a:gd name="connsiteX36" fmla="*/ 7802383 w 10678681"/>
              <a:gd name="connsiteY36" fmla="*/ 739359 h 1342734"/>
              <a:gd name="connsiteX37" fmla="*/ 7730518 w 10678681"/>
              <a:gd name="connsiteY37" fmla="*/ 739526 h 1342734"/>
              <a:gd name="connsiteX38" fmla="*/ 7720084 w 10678681"/>
              <a:gd name="connsiteY38" fmla="*/ 760750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285593 w 10678681"/>
              <a:gd name="connsiteY77" fmla="*/ 1273569 h 1342734"/>
              <a:gd name="connsiteX78" fmla="*/ 5192893 w 10678681"/>
              <a:gd name="connsiteY78" fmla="*/ 1247188 h 1342734"/>
              <a:gd name="connsiteX79" fmla="*/ 5186475 w 10678681"/>
              <a:gd name="connsiteY79" fmla="*/ 1257028 h 1342734"/>
              <a:gd name="connsiteX80" fmla="*/ 5126038 w 10678681"/>
              <a:gd name="connsiteY80" fmla="*/ 1263189 h 1342734"/>
              <a:gd name="connsiteX81" fmla="*/ 4894688 w 10678681"/>
              <a:gd name="connsiteY81" fmla="*/ 1247184 h 1342734"/>
              <a:gd name="connsiteX82" fmla="*/ 4788036 w 10678681"/>
              <a:gd name="connsiteY82" fmla="*/ 1238182 h 1342734"/>
              <a:gd name="connsiteX83" fmla="*/ 4747555 w 10678681"/>
              <a:gd name="connsiteY83" fmla="*/ 1252768 h 1342734"/>
              <a:gd name="connsiteX84" fmla="*/ 4679644 w 10678681"/>
              <a:gd name="connsiteY84" fmla="*/ 1276603 h 1342734"/>
              <a:gd name="connsiteX85" fmla="*/ 4632222 w 10678681"/>
              <a:gd name="connsiteY85" fmla="*/ 1318360 h 1342734"/>
              <a:gd name="connsiteX86" fmla="*/ 4578184 w 10678681"/>
              <a:gd name="connsiteY86" fmla="*/ 1326745 h 1342734"/>
              <a:gd name="connsiteX87" fmla="*/ 4564919 w 10678681"/>
              <a:gd name="connsiteY87" fmla="*/ 1325507 h 1342734"/>
              <a:gd name="connsiteX88" fmla="*/ 4566586 w 10678681"/>
              <a:gd name="connsiteY88" fmla="*/ 1316963 h 1342734"/>
              <a:gd name="connsiteX89" fmla="*/ 4556303 w 10678681"/>
              <a:gd name="connsiteY89" fmla="*/ 1300262 h 1342734"/>
              <a:gd name="connsiteX90" fmla="*/ 4502358 w 10678681"/>
              <a:gd name="connsiteY90" fmla="*/ 1302558 h 1342734"/>
              <a:gd name="connsiteX91" fmla="*/ 4498919 w 10678681"/>
              <a:gd name="connsiteY91" fmla="*/ 1312115 h 1342734"/>
              <a:gd name="connsiteX92" fmla="*/ 4492075 w 10678681"/>
              <a:gd name="connsiteY92" fmla="*/ 1313357 h 1342734"/>
              <a:gd name="connsiteX93" fmla="*/ 4487466 w 10678681"/>
              <a:gd name="connsiteY93" fmla="*/ 1304102 h 1342734"/>
              <a:gd name="connsiteX94" fmla="*/ 4398292 w 10678681"/>
              <a:gd name="connsiteY94" fmla="*/ 1278410 h 1342734"/>
              <a:gd name="connsiteX95" fmla="*/ 4306088 w 10678681"/>
              <a:gd name="connsiteY95" fmla="*/ 1282512 h 1342734"/>
              <a:gd name="connsiteX96" fmla="*/ 4188995 w 10678681"/>
              <a:gd name="connsiteY96" fmla="*/ 1296718 h 1342734"/>
              <a:gd name="connsiteX97" fmla="*/ 4136582 w 10678681"/>
              <a:gd name="connsiteY97" fmla="*/ 1287687 h 1342734"/>
              <a:gd name="connsiteX98" fmla="*/ 4064614 w 10678681"/>
              <a:gd name="connsiteY98" fmla="*/ 1296118 h 1342734"/>
              <a:gd name="connsiteX99" fmla="*/ 3900948 w 10678681"/>
              <a:gd name="connsiteY99" fmla="*/ 1322156 h 1342734"/>
              <a:gd name="connsiteX100" fmla="*/ 3787890 w 10678681"/>
              <a:gd name="connsiteY100" fmla="*/ 1322164 h 1342734"/>
              <a:gd name="connsiteX101" fmla="*/ 3745993 w 10678681"/>
              <a:gd name="connsiteY101" fmla="*/ 1342630 h 1342734"/>
              <a:gd name="connsiteX102" fmla="*/ 3675785 w 10678681"/>
              <a:gd name="connsiteY102" fmla="*/ 1326802 h 1342734"/>
              <a:gd name="connsiteX103" fmla="*/ 3623856 w 10678681"/>
              <a:gd name="connsiteY103" fmla="*/ 1290804 h 1342734"/>
              <a:gd name="connsiteX104" fmla="*/ 3564933 w 10678681"/>
              <a:gd name="connsiteY104" fmla="*/ 1287147 h 1342734"/>
              <a:gd name="connsiteX105" fmla="*/ 3550537 w 10678681"/>
              <a:gd name="connsiteY105" fmla="*/ 1317552 h 1342734"/>
              <a:gd name="connsiteX106" fmla="*/ 3487736 w 10678681"/>
              <a:gd name="connsiteY106" fmla="*/ 1303493 h 1342734"/>
              <a:gd name="connsiteX107" fmla="*/ 3392548 w 10678681"/>
              <a:gd name="connsiteY107" fmla="*/ 1278741 h 1342734"/>
              <a:gd name="connsiteX108" fmla="*/ 3337466 w 10678681"/>
              <a:gd name="connsiteY108" fmla="*/ 1272537 h 1342734"/>
              <a:gd name="connsiteX109" fmla="*/ 3175981 w 10678681"/>
              <a:gd name="connsiteY109" fmla="*/ 1208973 h 1342734"/>
              <a:gd name="connsiteX110" fmla="*/ 3036856 w 10678681"/>
              <a:gd name="connsiteY110" fmla="*/ 1214383 h 1342734"/>
              <a:gd name="connsiteX111" fmla="*/ 2824973 w 10678681"/>
              <a:gd name="connsiteY111" fmla="*/ 1134864 h 1342734"/>
              <a:gd name="connsiteX112" fmla="*/ 2804398 w 10678681"/>
              <a:gd name="connsiteY112" fmla="*/ 1125556 h 1342734"/>
              <a:gd name="connsiteX113" fmla="*/ 2736109 w 10678681"/>
              <a:gd name="connsiteY113" fmla="*/ 1137717 h 1342734"/>
              <a:gd name="connsiteX114" fmla="*/ 2659096 w 10678681"/>
              <a:gd name="connsiteY114" fmla="*/ 1150294 h 1342734"/>
              <a:gd name="connsiteX115" fmla="*/ 2567088 w 10678681"/>
              <a:gd name="connsiteY115" fmla="*/ 1181781 h 1342734"/>
              <a:gd name="connsiteX116" fmla="*/ 2454501 w 10678681"/>
              <a:gd name="connsiteY116" fmla="*/ 1155455 h 1342734"/>
              <a:gd name="connsiteX117" fmla="*/ 2385161 w 10678681"/>
              <a:gd name="connsiteY117" fmla="*/ 1161312 h 1342734"/>
              <a:gd name="connsiteX118" fmla="*/ 2273361 w 10678681"/>
              <a:gd name="connsiteY118" fmla="*/ 1134090 h 1342734"/>
              <a:gd name="connsiteX119" fmla="*/ 2132003 w 10678681"/>
              <a:gd name="connsiteY119" fmla="*/ 1139225 h 1342734"/>
              <a:gd name="connsiteX120" fmla="*/ 2041224 w 10678681"/>
              <a:gd name="connsiteY120" fmla="*/ 1147536 h 1342734"/>
              <a:gd name="connsiteX121" fmla="*/ 2010157 w 10678681"/>
              <a:gd name="connsiteY121" fmla="*/ 1152767 h 1342734"/>
              <a:gd name="connsiteX122" fmla="*/ 1859213 w 10678681"/>
              <a:gd name="connsiteY122" fmla="*/ 1199540 h 1342734"/>
              <a:gd name="connsiteX123" fmla="*/ 1735877 w 10678681"/>
              <a:gd name="connsiteY123" fmla="*/ 1246527 h 1342734"/>
              <a:gd name="connsiteX124" fmla="*/ 1705069 w 10678681"/>
              <a:gd name="connsiteY124" fmla="*/ 1251989 h 1342734"/>
              <a:gd name="connsiteX125" fmla="*/ 1307888 w 10678681"/>
              <a:gd name="connsiteY125" fmla="*/ 1283156 h 1342734"/>
              <a:gd name="connsiteX126" fmla="*/ 1220734 w 10678681"/>
              <a:gd name="connsiteY126" fmla="*/ 1257811 h 1342734"/>
              <a:gd name="connsiteX127" fmla="*/ 1021737 w 10678681"/>
              <a:gd name="connsiteY127" fmla="*/ 1238739 h 1342734"/>
              <a:gd name="connsiteX128" fmla="*/ 959820 w 10678681"/>
              <a:gd name="connsiteY128" fmla="*/ 1275863 h 1342734"/>
              <a:gd name="connsiteX129" fmla="*/ 929137 w 10678681"/>
              <a:gd name="connsiteY129" fmla="*/ 1273957 h 1342734"/>
              <a:gd name="connsiteX130" fmla="*/ 878849 w 10678681"/>
              <a:gd name="connsiteY130" fmla="*/ 1266740 h 1342734"/>
              <a:gd name="connsiteX131" fmla="*/ 800667 w 10678681"/>
              <a:gd name="connsiteY131" fmla="*/ 1282041 h 1342734"/>
              <a:gd name="connsiteX132" fmla="*/ 644906 w 10678681"/>
              <a:gd name="connsiteY132" fmla="*/ 1273685 h 1342734"/>
              <a:gd name="connsiteX133" fmla="*/ 379869 w 10678681"/>
              <a:gd name="connsiteY133" fmla="*/ 1339165 h 1342734"/>
              <a:gd name="connsiteX134" fmla="*/ 137696 w 10678681"/>
              <a:gd name="connsiteY134" fmla="*/ 1319217 h 1342734"/>
              <a:gd name="connsiteX135" fmla="*/ 54250 w 10678681"/>
              <a:gd name="connsiteY135" fmla="*/ 1315838 h 1342734"/>
              <a:gd name="connsiteX136" fmla="*/ 28042 w 10678681"/>
              <a:gd name="connsiteY136" fmla="*/ 1297822 h 1342734"/>
              <a:gd name="connsiteX137" fmla="*/ 0 w 10678681"/>
              <a:gd name="connsiteY137" fmla="*/ 1294612 h 1342734"/>
              <a:gd name="connsiteX138" fmla="*/ 0 w 10678681"/>
              <a:gd name="connsiteY138"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09062 h 1342734"/>
              <a:gd name="connsiteX14" fmla="*/ 9840045 w 10678681"/>
              <a:gd name="connsiteY14" fmla="*/ 223033 h 1342734"/>
              <a:gd name="connsiteX15" fmla="*/ 9679639 w 10678681"/>
              <a:gd name="connsiteY15" fmla="*/ 24718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276883 w 10678681"/>
              <a:gd name="connsiteY30" fmla="*/ 588214 h 1342734"/>
              <a:gd name="connsiteX31" fmla="*/ 8086698 w 10678681"/>
              <a:gd name="connsiteY31" fmla="*/ 605185 h 1342734"/>
              <a:gd name="connsiteX32" fmla="*/ 7982378 w 10678681"/>
              <a:gd name="connsiteY32" fmla="*/ 629799 h 1342734"/>
              <a:gd name="connsiteX33" fmla="*/ 7947952 w 10678681"/>
              <a:gd name="connsiteY33" fmla="*/ 648003 h 1342734"/>
              <a:gd name="connsiteX34" fmla="*/ 7890112 w 10678681"/>
              <a:gd name="connsiteY34" fmla="*/ 677915 h 1342734"/>
              <a:gd name="connsiteX35" fmla="*/ 7853284 w 10678681"/>
              <a:gd name="connsiteY35" fmla="*/ 723588 h 1342734"/>
              <a:gd name="connsiteX36" fmla="*/ 7802383 w 10678681"/>
              <a:gd name="connsiteY36" fmla="*/ 739359 h 1342734"/>
              <a:gd name="connsiteX37" fmla="*/ 7730518 w 10678681"/>
              <a:gd name="connsiteY37" fmla="*/ 739526 h 1342734"/>
              <a:gd name="connsiteX38" fmla="*/ 7720084 w 10678681"/>
              <a:gd name="connsiteY38" fmla="*/ 760750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285593 w 10678681"/>
              <a:gd name="connsiteY77" fmla="*/ 1273569 h 1342734"/>
              <a:gd name="connsiteX78" fmla="*/ 5192893 w 10678681"/>
              <a:gd name="connsiteY78" fmla="*/ 1247188 h 1342734"/>
              <a:gd name="connsiteX79" fmla="*/ 5186475 w 10678681"/>
              <a:gd name="connsiteY79" fmla="*/ 1257028 h 1342734"/>
              <a:gd name="connsiteX80" fmla="*/ 5126038 w 10678681"/>
              <a:gd name="connsiteY80" fmla="*/ 1263189 h 1342734"/>
              <a:gd name="connsiteX81" fmla="*/ 4894688 w 10678681"/>
              <a:gd name="connsiteY81" fmla="*/ 1247184 h 1342734"/>
              <a:gd name="connsiteX82" fmla="*/ 4788036 w 10678681"/>
              <a:gd name="connsiteY82" fmla="*/ 1238182 h 1342734"/>
              <a:gd name="connsiteX83" fmla="*/ 4747555 w 10678681"/>
              <a:gd name="connsiteY83" fmla="*/ 1252768 h 1342734"/>
              <a:gd name="connsiteX84" fmla="*/ 4679644 w 10678681"/>
              <a:gd name="connsiteY84" fmla="*/ 1276603 h 1342734"/>
              <a:gd name="connsiteX85" fmla="*/ 4578184 w 10678681"/>
              <a:gd name="connsiteY85" fmla="*/ 1326745 h 1342734"/>
              <a:gd name="connsiteX86" fmla="*/ 4564919 w 10678681"/>
              <a:gd name="connsiteY86" fmla="*/ 1325507 h 1342734"/>
              <a:gd name="connsiteX87" fmla="*/ 4566586 w 10678681"/>
              <a:gd name="connsiteY87" fmla="*/ 1316963 h 1342734"/>
              <a:gd name="connsiteX88" fmla="*/ 4556303 w 10678681"/>
              <a:gd name="connsiteY88" fmla="*/ 1300262 h 1342734"/>
              <a:gd name="connsiteX89" fmla="*/ 4502358 w 10678681"/>
              <a:gd name="connsiteY89" fmla="*/ 1302558 h 1342734"/>
              <a:gd name="connsiteX90" fmla="*/ 4498919 w 10678681"/>
              <a:gd name="connsiteY90" fmla="*/ 1312115 h 1342734"/>
              <a:gd name="connsiteX91" fmla="*/ 4492075 w 10678681"/>
              <a:gd name="connsiteY91" fmla="*/ 1313357 h 1342734"/>
              <a:gd name="connsiteX92" fmla="*/ 4487466 w 10678681"/>
              <a:gd name="connsiteY92" fmla="*/ 1304102 h 1342734"/>
              <a:gd name="connsiteX93" fmla="*/ 4398292 w 10678681"/>
              <a:gd name="connsiteY93" fmla="*/ 1278410 h 1342734"/>
              <a:gd name="connsiteX94" fmla="*/ 4306088 w 10678681"/>
              <a:gd name="connsiteY94" fmla="*/ 1282512 h 1342734"/>
              <a:gd name="connsiteX95" fmla="*/ 4188995 w 10678681"/>
              <a:gd name="connsiteY95" fmla="*/ 1296718 h 1342734"/>
              <a:gd name="connsiteX96" fmla="*/ 4136582 w 10678681"/>
              <a:gd name="connsiteY96" fmla="*/ 1287687 h 1342734"/>
              <a:gd name="connsiteX97" fmla="*/ 4064614 w 10678681"/>
              <a:gd name="connsiteY97" fmla="*/ 1296118 h 1342734"/>
              <a:gd name="connsiteX98" fmla="*/ 3900948 w 10678681"/>
              <a:gd name="connsiteY98" fmla="*/ 1322156 h 1342734"/>
              <a:gd name="connsiteX99" fmla="*/ 3787890 w 10678681"/>
              <a:gd name="connsiteY99" fmla="*/ 1322164 h 1342734"/>
              <a:gd name="connsiteX100" fmla="*/ 3745993 w 10678681"/>
              <a:gd name="connsiteY100" fmla="*/ 1342630 h 1342734"/>
              <a:gd name="connsiteX101" fmla="*/ 3675785 w 10678681"/>
              <a:gd name="connsiteY101" fmla="*/ 1326802 h 1342734"/>
              <a:gd name="connsiteX102" fmla="*/ 3623856 w 10678681"/>
              <a:gd name="connsiteY102" fmla="*/ 1290804 h 1342734"/>
              <a:gd name="connsiteX103" fmla="*/ 3564933 w 10678681"/>
              <a:gd name="connsiteY103" fmla="*/ 1287147 h 1342734"/>
              <a:gd name="connsiteX104" fmla="*/ 3550537 w 10678681"/>
              <a:gd name="connsiteY104" fmla="*/ 1317552 h 1342734"/>
              <a:gd name="connsiteX105" fmla="*/ 3487736 w 10678681"/>
              <a:gd name="connsiteY105" fmla="*/ 1303493 h 1342734"/>
              <a:gd name="connsiteX106" fmla="*/ 3392548 w 10678681"/>
              <a:gd name="connsiteY106" fmla="*/ 1278741 h 1342734"/>
              <a:gd name="connsiteX107" fmla="*/ 3337466 w 10678681"/>
              <a:gd name="connsiteY107" fmla="*/ 1272537 h 1342734"/>
              <a:gd name="connsiteX108" fmla="*/ 3175981 w 10678681"/>
              <a:gd name="connsiteY108" fmla="*/ 1208973 h 1342734"/>
              <a:gd name="connsiteX109" fmla="*/ 3036856 w 10678681"/>
              <a:gd name="connsiteY109" fmla="*/ 1214383 h 1342734"/>
              <a:gd name="connsiteX110" fmla="*/ 2824973 w 10678681"/>
              <a:gd name="connsiteY110" fmla="*/ 1134864 h 1342734"/>
              <a:gd name="connsiteX111" fmla="*/ 2804398 w 10678681"/>
              <a:gd name="connsiteY111" fmla="*/ 1125556 h 1342734"/>
              <a:gd name="connsiteX112" fmla="*/ 2736109 w 10678681"/>
              <a:gd name="connsiteY112" fmla="*/ 1137717 h 1342734"/>
              <a:gd name="connsiteX113" fmla="*/ 2659096 w 10678681"/>
              <a:gd name="connsiteY113" fmla="*/ 1150294 h 1342734"/>
              <a:gd name="connsiteX114" fmla="*/ 2567088 w 10678681"/>
              <a:gd name="connsiteY114" fmla="*/ 1181781 h 1342734"/>
              <a:gd name="connsiteX115" fmla="*/ 2454501 w 10678681"/>
              <a:gd name="connsiteY115" fmla="*/ 1155455 h 1342734"/>
              <a:gd name="connsiteX116" fmla="*/ 2385161 w 10678681"/>
              <a:gd name="connsiteY116" fmla="*/ 1161312 h 1342734"/>
              <a:gd name="connsiteX117" fmla="*/ 2273361 w 10678681"/>
              <a:gd name="connsiteY117" fmla="*/ 1134090 h 1342734"/>
              <a:gd name="connsiteX118" fmla="*/ 2132003 w 10678681"/>
              <a:gd name="connsiteY118" fmla="*/ 1139225 h 1342734"/>
              <a:gd name="connsiteX119" fmla="*/ 2041224 w 10678681"/>
              <a:gd name="connsiteY119" fmla="*/ 1147536 h 1342734"/>
              <a:gd name="connsiteX120" fmla="*/ 2010157 w 10678681"/>
              <a:gd name="connsiteY120" fmla="*/ 1152767 h 1342734"/>
              <a:gd name="connsiteX121" fmla="*/ 1859213 w 10678681"/>
              <a:gd name="connsiteY121" fmla="*/ 1199540 h 1342734"/>
              <a:gd name="connsiteX122" fmla="*/ 1735877 w 10678681"/>
              <a:gd name="connsiteY122" fmla="*/ 1246527 h 1342734"/>
              <a:gd name="connsiteX123" fmla="*/ 1705069 w 10678681"/>
              <a:gd name="connsiteY123" fmla="*/ 1251989 h 1342734"/>
              <a:gd name="connsiteX124" fmla="*/ 1307888 w 10678681"/>
              <a:gd name="connsiteY124" fmla="*/ 1283156 h 1342734"/>
              <a:gd name="connsiteX125" fmla="*/ 1220734 w 10678681"/>
              <a:gd name="connsiteY125" fmla="*/ 1257811 h 1342734"/>
              <a:gd name="connsiteX126" fmla="*/ 1021737 w 10678681"/>
              <a:gd name="connsiteY126" fmla="*/ 1238739 h 1342734"/>
              <a:gd name="connsiteX127" fmla="*/ 959820 w 10678681"/>
              <a:gd name="connsiteY127" fmla="*/ 1275863 h 1342734"/>
              <a:gd name="connsiteX128" fmla="*/ 929137 w 10678681"/>
              <a:gd name="connsiteY128" fmla="*/ 1273957 h 1342734"/>
              <a:gd name="connsiteX129" fmla="*/ 878849 w 10678681"/>
              <a:gd name="connsiteY129" fmla="*/ 1266740 h 1342734"/>
              <a:gd name="connsiteX130" fmla="*/ 800667 w 10678681"/>
              <a:gd name="connsiteY130" fmla="*/ 1282041 h 1342734"/>
              <a:gd name="connsiteX131" fmla="*/ 644906 w 10678681"/>
              <a:gd name="connsiteY131" fmla="*/ 1273685 h 1342734"/>
              <a:gd name="connsiteX132" fmla="*/ 379869 w 10678681"/>
              <a:gd name="connsiteY132" fmla="*/ 1339165 h 1342734"/>
              <a:gd name="connsiteX133" fmla="*/ 137696 w 10678681"/>
              <a:gd name="connsiteY133" fmla="*/ 1319217 h 1342734"/>
              <a:gd name="connsiteX134" fmla="*/ 54250 w 10678681"/>
              <a:gd name="connsiteY134" fmla="*/ 1315838 h 1342734"/>
              <a:gd name="connsiteX135" fmla="*/ 28042 w 10678681"/>
              <a:gd name="connsiteY135" fmla="*/ 1297822 h 1342734"/>
              <a:gd name="connsiteX136" fmla="*/ 0 w 10678681"/>
              <a:gd name="connsiteY136" fmla="*/ 1294612 h 1342734"/>
              <a:gd name="connsiteX137" fmla="*/ 0 w 10678681"/>
              <a:gd name="connsiteY137"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09062 h 1342734"/>
              <a:gd name="connsiteX14" fmla="*/ 9840045 w 10678681"/>
              <a:gd name="connsiteY14" fmla="*/ 223033 h 1342734"/>
              <a:gd name="connsiteX15" fmla="*/ 9679639 w 10678681"/>
              <a:gd name="connsiteY15" fmla="*/ 24718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276883 w 10678681"/>
              <a:gd name="connsiteY30" fmla="*/ 588214 h 1342734"/>
              <a:gd name="connsiteX31" fmla="*/ 8086698 w 10678681"/>
              <a:gd name="connsiteY31" fmla="*/ 605185 h 1342734"/>
              <a:gd name="connsiteX32" fmla="*/ 7982378 w 10678681"/>
              <a:gd name="connsiteY32" fmla="*/ 629799 h 1342734"/>
              <a:gd name="connsiteX33" fmla="*/ 7947952 w 10678681"/>
              <a:gd name="connsiteY33" fmla="*/ 648003 h 1342734"/>
              <a:gd name="connsiteX34" fmla="*/ 7890112 w 10678681"/>
              <a:gd name="connsiteY34" fmla="*/ 677915 h 1342734"/>
              <a:gd name="connsiteX35" fmla="*/ 7853284 w 10678681"/>
              <a:gd name="connsiteY35" fmla="*/ 723588 h 1342734"/>
              <a:gd name="connsiteX36" fmla="*/ 7802383 w 10678681"/>
              <a:gd name="connsiteY36" fmla="*/ 739359 h 1342734"/>
              <a:gd name="connsiteX37" fmla="*/ 7730518 w 10678681"/>
              <a:gd name="connsiteY37" fmla="*/ 739526 h 1342734"/>
              <a:gd name="connsiteX38" fmla="*/ 7720084 w 10678681"/>
              <a:gd name="connsiteY38" fmla="*/ 760750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285593 w 10678681"/>
              <a:gd name="connsiteY77" fmla="*/ 1273569 h 1342734"/>
              <a:gd name="connsiteX78" fmla="*/ 5192893 w 10678681"/>
              <a:gd name="connsiteY78" fmla="*/ 1247188 h 1342734"/>
              <a:gd name="connsiteX79" fmla="*/ 5186475 w 10678681"/>
              <a:gd name="connsiteY79" fmla="*/ 1257028 h 1342734"/>
              <a:gd name="connsiteX80" fmla="*/ 5126038 w 10678681"/>
              <a:gd name="connsiteY80" fmla="*/ 1263189 h 1342734"/>
              <a:gd name="connsiteX81" fmla="*/ 4894688 w 10678681"/>
              <a:gd name="connsiteY81" fmla="*/ 1247184 h 1342734"/>
              <a:gd name="connsiteX82" fmla="*/ 4788036 w 10678681"/>
              <a:gd name="connsiteY82" fmla="*/ 1238182 h 1342734"/>
              <a:gd name="connsiteX83" fmla="*/ 4747555 w 10678681"/>
              <a:gd name="connsiteY83" fmla="*/ 1252768 h 1342734"/>
              <a:gd name="connsiteX84" fmla="*/ 4679644 w 10678681"/>
              <a:gd name="connsiteY84" fmla="*/ 1276603 h 1342734"/>
              <a:gd name="connsiteX85" fmla="*/ 4617473 w 10678681"/>
              <a:gd name="connsiteY85" fmla="*/ 1296467 h 1342734"/>
              <a:gd name="connsiteX86" fmla="*/ 4564919 w 10678681"/>
              <a:gd name="connsiteY86" fmla="*/ 1325507 h 1342734"/>
              <a:gd name="connsiteX87" fmla="*/ 4566586 w 10678681"/>
              <a:gd name="connsiteY87" fmla="*/ 1316963 h 1342734"/>
              <a:gd name="connsiteX88" fmla="*/ 4556303 w 10678681"/>
              <a:gd name="connsiteY88" fmla="*/ 1300262 h 1342734"/>
              <a:gd name="connsiteX89" fmla="*/ 4502358 w 10678681"/>
              <a:gd name="connsiteY89" fmla="*/ 1302558 h 1342734"/>
              <a:gd name="connsiteX90" fmla="*/ 4498919 w 10678681"/>
              <a:gd name="connsiteY90" fmla="*/ 1312115 h 1342734"/>
              <a:gd name="connsiteX91" fmla="*/ 4492075 w 10678681"/>
              <a:gd name="connsiteY91" fmla="*/ 1313357 h 1342734"/>
              <a:gd name="connsiteX92" fmla="*/ 4487466 w 10678681"/>
              <a:gd name="connsiteY92" fmla="*/ 1304102 h 1342734"/>
              <a:gd name="connsiteX93" fmla="*/ 4398292 w 10678681"/>
              <a:gd name="connsiteY93" fmla="*/ 1278410 h 1342734"/>
              <a:gd name="connsiteX94" fmla="*/ 4306088 w 10678681"/>
              <a:gd name="connsiteY94" fmla="*/ 1282512 h 1342734"/>
              <a:gd name="connsiteX95" fmla="*/ 4188995 w 10678681"/>
              <a:gd name="connsiteY95" fmla="*/ 1296718 h 1342734"/>
              <a:gd name="connsiteX96" fmla="*/ 4136582 w 10678681"/>
              <a:gd name="connsiteY96" fmla="*/ 1287687 h 1342734"/>
              <a:gd name="connsiteX97" fmla="*/ 4064614 w 10678681"/>
              <a:gd name="connsiteY97" fmla="*/ 1296118 h 1342734"/>
              <a:gd name="connsiteX98" fmla="*/ 3900948 w 10678681"/>
              <a:gd name="connsiteY98" fmla="*/ 1322156 h 1342734"/>
              <a:gd name="connsiteX99" fmla="*/ 3787890 w 10678681"/>
              <a:gd name="connsiteY99" fmla="*/ 1322164 h 1342734"/>
              <a:gd name="connsiteX100" fmla="*/ 3745993 w 10678681"/>
              <a:gd name="connsiteY100" fmla="*/ 1342630 h 1342734"/>
              <a:gd name="connsiteX101" fmla="*/ 3675785 w 10678681"/>
              <a:gd name="connsiteY101" fmla="*/ 1326802 h 1342734"/>
              <a:gd name="connsiteX102" fmla="*/ 3623856 w 10678681"/>
              <a:gd name="connsiteY102" fmla="*/ 1290804 h 1342734"/>
              <a:gd name="connsiteX103" fmla="*/ 3564933 w 10678681"/>
              <a:gd name="connsiteY103" fmla="*/ 1287147 h 1342734"/>
              <a:gd name="connsiteX104" fmla="*/ 3550537 w 10678681"/>
              <a:gd name="connsiteY104" fmla="*/ 1317552 h 1342734"/>
              <a:gd name="connsiteX105" fmla="*/ 3487736 w 10678681"/>
              <a:gd name="connsiteY105" fmla="*/ 1303493 h 1342734"/>
              <a:gd name="connsiteX106" fmla="*/ 3392548 w 10678681"/>
              <a:gd name="connsiteY106" fmla="*/ 1278741 h 1342734"/>
              <a:gd name="connsiteX107" fmla="*/ 3337466 w 10678681"/>
              <a:gd name="connsiteY107" fmla="*/ 1272537 h 1342734"/>
              <a:gd name="connsiteX108" fmla="*/ 3175981 w 10678681"/>
              <a:gd name="connsiteY108" fmla="*/ 1208973 h 1342734"/>
              <a:gd name="connsiteX109" fmla="*/ 3036856 w 10678681"/>
              <a:gd name="connsiteY109" fmla="*/ 1214383 h 1342734"/>
              <a:gd name="connsiteX110" fmla="*/ 2824973 w 10678681"/>
              <a:gd name="connsiteY110" fmla="*/ 1134864 h 1342734"/>
              <a:gd name="connsiteX111" fmla="*/ 2804398 w 10678681"/>
              <a:gd name="connsiteY111" fmla="*/ 1125556 h 1342734"/>
              <a:gd name="connsiteX112" fmla="*/ 2736109 w 10678681"/>
              <a:gd name="connsiteY112" fmla="*/ 1137717 h 1342734"/>
              <a:gd name="connsiteX113" fmla="*/ 2659096 w 10678681"/>
              <a:gd name="connsiteY113" fmla="*/ 1150294 h 1342734"/>
              <a:gd name="connsiteX114" fmla="*/ 2567088 w 10678681"/>
              <a:gd name="connsiteY114" fmla="*/ 1181781 h 1342734"/>
              <a:gd name="connsiteX115" fmla="*/ 2454501 w 10678681"/>
              <a:gd name="connsiteY115" fmla="*/ 1155455 h 1342734"/>
              <a:gd name="connsiteX116" fmla="*/ 2385161 w 10678681"/>
              <a:gd name="connsiteY116" fmla="*/ 1161312 h 1342734"/>
              <a:gd name="connsiteX117" fmla="*/ 2273361 w 10678681"/>
              <a:gd name="connsiteY117" fmla="*/ 1134090 h 1342734"/>
              <a:gd name="connsiteX118" fmla="*/ 2132003 w 10678681"/>
              <a:gd name="connsiteY118" fmla="*/ 1139225 h 1342734"/>
              <a:gd name="connsiteX119" fmla="*/ 2041224 w 10678681"/>
              <a:gd name="connsiteY119" fmla="*/ 1147536 h 1342734"/>
              <a:gd name="connsiteX120" fmla="*/ 2010157 w 10678681"/>
              <a:gd name="connsiteY120" fmla="*/ 1152767 h 1342734"/>
              <a:gd name="connsiteX121" fmla="*/ 1859213 w 10678681"/>
              <a:gd name="connsiteY121" fmla="*/ 1199540 h 1342734"/>
              <a:gd name="connsiteX122" fmla="*/ 1735877 w 10678681"/>
              <a:gd name="connsiteY122" fmla="*/ 1246527 h 1342734"/>
              <a:gd name="connsiteX123" fmla="*/ 1705069 w 10678681"/>
              <a:gd name="connsiteY123" fmla="*/ 1251989 h 1342734"/>
              <a:gd name="connsiteX124" fmla="*/ 1307888 w 10678681"/>
              <a:gd name="connsiteY124" fmla="*/ 1283156 h 1342734"/>
              <a:gd name="connsiteX125" fmla="*/ 1220734 w 10678681"/>
              <a:gd name="connsiteY125" fmla="*/ 1257811 h 1342734"/>
              <a:gd name="connsiteX126" fmla="*/ 1021737 w 10678681"/>
              <a:gd name="connsiteY126" fmla="*/ 1238739 h 1342734"/>
              <a:gd name="connsiteX127" fmla="*/ 959820 w 10678681"/>
              <a:gd name="connsiteY127" fmla="*/ 1275863 h 1342734"/>
              <a:gd name="connsiteX128" fmla="*/ 929137 w 10678681"/>
              <a:gd name="connsiteY128" fmla="*/ 1273957 h 1342734"/>
              <a:gd name="connsiteX129" fmla="*/ 878849 w 10678681"/>
              <a:gd name="connsiteY129" fmla="*/ 1266740 h 1342734"/>
              <a:gd name="connsiteX130" fmla="*/ 800667 w 10678681"/>
              <a:gd name="connsiteY130" fmla="*/ 1282041 h 1342734"/>
              <a:gd name="connsiteX131" fmla="*/ 644906 w 10678681"/>
              <a:gd name="connsiteY131" fmla="*/ 1273685 h 1342734"/>
              <a:gd name="connsiteX132" fmla="*/ 379869 w 10678681"/>
              <a:gd name="connsiteY132" fmla="*/ 1339165 h 1342734"/>
              <a:gd name="connsiteX133" fmla="*/ 137696 w 10678681"/>
              <a:gd name="connsiteY133" fmla="*/ 1319217 h 1342734"/>
              <a:gd name="connsiteX134" fmla="*/ 54250 w 10678681"/>
              <a:gd name="connsiteY134" fmla="*/ 1315838 h 1342734"/>
              <a:gd name="connsiteX135" fmla="*/ 28042 w 10678681"/>
              <a:gd name="connsiteY135" fmla="*/ 1297822 h 1342734"/>
              <a:gd name="connsiteX136" fmla="*/ 0 w 10678681"/>
              <a:gd name="connsiteY136" fmla="*/ 1294612 h 1342734"/>
              <a:gd name="connsiteX137" fmla="*/ 0 w 10678681"/>
              <a:gd name="connsiteY137"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09062 h 1342734"/>
              <a:gd name="connsiteX14" fmla="*/ 9840045 w 10678681"/>
              <a:gd name="connsiteY14" fmla="*/ 223033 h 1342734"/>
              <a:gd name="connsiteX15" fmla="*/ 9679639 w 10678681"/>
              <a:gd name="connsiteY15" fmla="*/ 24718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276883 w 10678681"/>
              <a:gd name="connsiteY30" fmla="*/ 588214 h 1342734"/>
              <a:gd name="connsiteX31" fmla="*/ 8086698 w 10678681"/>
              <a:gd name="connsiteY31" fmla="*/ 605185 h 1342734"/>
              <a:gd name="connsiteX32" fmla="*/ 7982378 w 10678681"/>
              <a:gd name="connsiteY32" fmla="*/ 629799 h 1342734"/>
              <a:gd name="connsiteX33" fmla="*/ 7947952 w 10678681"/>
              <a:gd name="connsiteY33" fmla="*/ 648003 h 1342734"/>
              <a:gd name="connsiteX34" fmla="*/ 7890112 w 10678681"/>
              <a:gd name="connsiteY34" fmla="*/ 677915 h 1342734"/>
              <a:gd name="connsiteX35" fmla="*/ 7853284 w 10678681"/>
              <a:gd name="connsiteY35" fmla="*/ 723588 h 1342734"/>
              <a:gd name="connsiteX36" fmla="*/ 7802383 w 10678681"/>
              <a:gd name="connsiteY36" fmla="*/ 739359 h 1342734"/>
              <a:gd name="connsiteX37" fmla="*/ 7730518 w 10678681"/>
              <a:gd name="connsiteY37" fmla="*/ 739526 h 1342734"/>
              <a:gd name="connsiteX38" fmla="*/ 7720084 w 10678681"/>
              <a:gd name="connsiteY38" fmla="*/ 760750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192893 w 10678681"/>
              <a:gd name="connsiteY77" fmla="*/ 1247188 h 1342734"/>
              <a:gd name="connsiteX78" fmla="*/ 5186475 w 10678681"/>
              <a:gd name="connsiteY78" fmla="*/ 1257028 h 1342734"/>
              <a:gd name="connsiteX79" fmla="*/ 5126038 w 10678681"/>
              <a:gd name="connsiteY79" fmla="*/ 1263189 h 1342734"/>
              <a:gd name="connsiteX80" fmla="*/ 4894688 w 10678681"/>
              <a:gd name="connsiteY80" fmla="*/ 1247184 h 1342734"/>
              <a:gd name="connsiteX81" fmla="*/ 4788036 w 10678681"/>
              <a:gd name="connsiteY81" fmla="*/ 1238182 h 1342734"/>
              <a:gd name="connsiteX82" fmla="*/ 4747555 w 10678681"/>
              <a:gd name="connsiteY82" fmla="*/ 1252768 h 1342734"/>
              <a:gd name="connsiteX83" fmla="*/ 4679644 w 10678681"/>
              <a:gd name="connsiteY83" fmla="*/ 1276603 h 1342734"/>
              <a:gd name="connsiteX84" fmla="*/ 4617473 w 10678681"/>
              <a:gd name="connsiteY84" fmla="*/ 1296467 h 1342734"/>
              <a:gd name="connsiteX85" fmla="*/ 4564919 w 10678681"/>
              <a:gd name="connsiteY85" fmla="*/ 1325507 h 1342734"/>
              <a:gd name="connsiteX86" fmla="*/ 4566586 w 10678681"/>
              <a:gd name="connsiteY86" fmla="*/ 1316963 h 1342734"/>
              <a:gd name="connsiteX87" fmla="*/ 4556303 w 10678681"/>
              <a:gd name="connsiteY87" fmla="*/ 1300262 h 1342734"/>
              <a:gd name="connsiteX88" fmla="*/ 4502358 w 10678681"/>
              <a:gd name="connsiteY88" fmla="*/ 1302558 h 1342734"/>
              <a:gd name="connsiteX89" fmla="*/ 4498919 w 10678681"/>
              <a:gd name="connsiteY89" fmla="*/ 1312115 h 1342734"/>
              <a:gd name="connsiteX90" fmla="*/ 4492075 w 10678681"/>
              <a:gd name="connsiteY90" fmla="*/ 1313357 h 1342734"/>
              <a:gd name="connsiteX91" fmla="*/ 4487466 w 10678681"/>
              <a:gd name="connsiteY91" fmla="*/ 1304102 h 1342734"/>
              <a:gd name="connsiteX92" fmla="*/ 4398292 w 10678681"/>
              <a:gd name="connsiteY92" fmla="*/ 1278410 h 1342734"/>
              <a:gd name="connsiteX93" fmla="*/ 4306088 w 10678681"/>
              <a:gd name="connsiteY93" fmla="*/ 1282512 h 1342734"/>
              <a:gd name="connsiteX94" fmla="*/ 4188995 w 10678681"/>
              <a:gd name="connsiteY94" fmla="*/ 1296718 h 1342734"/>
              <a:gd name="connsiteX95" fmla="*/ 4136582 w 10678681"/>
              <a:gd name="connsiteY95" fmla="*/ 1287687 h 1342734"/>
              <a:gd name="connsiteX96" fmla="*/ 4064614 w 10678681"/>
              <a:gd name="connsiteY96" fmla="*/ 1296118 h 1342734"/>
              <a:gd name="connsiteX97" fmla="*/ 3900948 w 10678681"/>
              <a:gd name="connsiteY97" fmla="*/ 1322156 h 1342734"/>
              <a:gd name="connsiteX98" fmla="*/ 3787890 w 10678681"/>
              <a:gd name="connsiteY98" fmla="*/ 1322164 h 1342734"/>
              <a:gd name="connsiteX99" fmla="*/ 3745993 w 10678681"/>
              <a:gd name="connsiteY99" fmla="*/ 1342630 h 1342734"/>
              <a:gd name="connsiteX100" fmla="*/ 3675785 w 10678681"/>
              <a:gd name="connsiteY100" fmla="*/ 1326802 h 1342734"/>
              <a:gd name="connsiteX101" fmla="*/ 3623856 w 10678681"/>
              <a:gd name="connsiteY101" fmla="*/ 1290804 h 1342734"/>
              <a:gd name="connsiteX102" fmla="*/ 3564933 w 10678681"/>
              <a:gd name="connsiteY102" fmla="*/ 1287147 h 1342734"/>
              <a:gd name="connsiteX103" fmla="*/ 3550537 w 10678681"/>
              <a:gd name="connsiteY103" fmla="*/ 1317552 h 1342734"/>
              <a:gd name="connsiteX104" fmla="*/ 3487736 w 10678681"/>
              <a:gd name="connsiteY104" fmla="*/ 1303493 h 1342734"/>
              <a:gd name="connsiteX105" fmla="*/ 3392548 w 10678681"/>
              <a:gd name="connsiteY105" fmla="*/ 1278741 h 1342734"/>
              <a:gd name="connsiteX106" fmla="*/ 3337466 w 10678681"/>
              <a:gd name="connsiteY106" fmla="*/ 1272537 h 1342734"/>
              <a:gd name="connsiteX107" fmla="*/ 3175981 w 10678681"/>
              <a:gd name="connsiteY107" fmla="*/ 1208973 h 1342734"/>
              <a:gd name="connsiteX108" fmla="*/ 3036856 w 10678681"/>
              <a:gd name="connsiteY108" fmla="*/ 1214383 h 1342734"/>
              <a:gd name="connsiteX109" fmla="*/ 2824973 w 10678681"/>
              <a:gd name="connsiteY109" fmla="*/ 1134864 h 1342734"/>
              <a:gd name="connsiteX110" fmla="*/ 2804398 w 10678681"/>
              <a:gd name="connsiteY110" fmla="*/ 1125556 h 1342734"/>
              <a:gd name="connsiteX111" fmla="*/ 2736109 w 10678681"/>
              <a:gd name="connsiteY111" fmla="*/ 1137717 h 1342734"/>
              <a:gd name="connsiteX112" fmla="*/ 2659096 w 10678681"/>
              <a:gd name="connsiteY112" fmla="*/ 1150294 h 1342734"/>
              <a:gd name="connsiteX113" fmla="*/ 2567088 w 10678681"/>
              <a:gd name="connsiteY113" fmla="*/ 1181781 h 1342734"/>
              <a:gd name="connsiteX114" fmla="*/ 2454501 w 10678681"/>
              <a:gd name="connsiteY114" fmla="*/ 1155455 h 1342734"/>
              <a:gd name="connsiteX115" fmla="*/ 2385161 w 10678681"/>
              <a:gd name="connsiteY115" fmla="*/ 1161312 h 1342734"/>
              <a:gd name="connsiteX116" fmla="*/ 2273361 w 10678681"/>
              <a:gd name="connsiteY116" fmla="*/ 1134090 h 1342734"/>
              <a:gd name="connsiteX117" fmla="*/ 2132003 w 10678681"/>
              <a:gd name="connsiteY117" fmla="*/ 1139225 h 1342734"/>
              <a:gd name="connsiteX118" fmla="*/ 2041224 w 10678681"/>
              <a:gd name="connsiteY118" fmla="*/ 1147536 h 1342734"/>
              <a:gd name="connsiteX119" fmla="*/ 2010157 w 10678681"/>
              <a:gd name="connsiteY119" fmla="*/ 1152767 h 1342734"/>
              <a:gd name="connsiteX120" fmla="*/ 1859213 w 10678681"/>
              <a:gd name="connsiteY120" fmla="*/ 1199540 h 1342734"/>
              <a:gd name="connsiteX121" fmla="*/ 1735877 w 10678681"/>
              <a:gd name="connsiteY121" fmla="*/ 1246527 h 1342734"/>
              <a:gd name="connsiteX122" fmla="*/ 1705069 w 10678681"/>
              <a:gd name="connsiteY122" fmla="*/ 1251989 h 1342734"/>
              <a:gd name="connsiteX123" fmla="*/ 1307888 w 10678681"/>
              <a:gd name="connsiteY123" fmla="*/ 1283156 h 1342734"/>
              <a:gd name="connsiteX124" fmla="*/ 1220734 w 10678681"/>
              <a:gd name="connsiteY124" fmla="*/ 1257811 h 1342734"/>
              <a:gd name="connsiteX125" fmla="*/ 1021737 w 10678681"/>
              <a:gd name="connsiteY125" fmla="*/ 1238739 h 1342734"/>
              <a:gd name="connsiteX126" fmla="*/ 959820 w 10678681"/>
              <a:gd name="connsiteY126" fmla="*/ 1275863 h 1342734"/>
              <a:gd name="connsiteX127" fmla="*/ 929137 w 10678681"/>
              <a:gd name="connsiteY127" fmla="*/ 1273957 h 1342734"/>
              <a:gd name="connsiteX128" fmla="*/ 878849 w 10678681"/>
              <a:gd name="connsiteY128" fmla="*/ 1266740 h 1342734"/>
              <a:gd name="connsiteX129" fmla="*/ 800667 w 10678681"/>
              <a:gd name="connsiteY129" fmla="*/ 1282041 h 1342734"/>
              <a:gd name="connsiteX130" fmla="*/ 644906 w 10678681"/>
              <a:gd name="connsiteY130" fmla="*/ 1273685 h 1342734"/>
              <a:gd name="connsiteX131" fmla="*/ 379869 w 10678681"/>
              <a:gd name="connsiteY131" fmla="*/ 1339165 h 1342734"/>
              <a:gd name="connsiteX132" fmla="*/ 137696 w 10678681"/>
              <a:gd name="connsiteY132" fmla="*/ 1319217 h 1342734"/>
              <a:gd name="connsiteX133" fmla="*/ 54250 w 10678681"/>
              <a:gd name="connsiteY133" fmla="*/ 1315838 h 1342734"/>
              <a:gd name="connsiteX134" fmla="*/ 28042 w 10678681"/>
              <a:gd name="connsiteY134" fmla="*/ 1297822 h 1342734"/>
              <a:gd name="connsiteX135" fmla="*/ 0 w 10678681"/>
              <a:gd name="connsiteY135" fmla="*/ 1294612 h 1342734"/>
              <a:gd name="connsiteX136" fmla="*/ 0 w 10678681"/>
              <a:gd name="connsiteY136"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09062 h 1342734"/>
              <a:gd name="connsiteX14" fmla="*/ 9840045 w 10678681"/>
              <a:gd name="connsiteY14" fmla="*/ 223033 h 1342734"/>
              <a:gd name="connsiteX15" fmla="*/ 9679639 w 10678681"/>
              <a:gd name="connsiteY15" fmla="*/ 24718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276883 w 10678681"/>
              <a:gd name="connsiteY30" fmla="*/ 588214 h 1342734"/>
              <a:gd name="connsiteX31" fmla="*/ 8086698 w 10678681"/>
              <a:gd name="connsiteY31" fmla="*/ 605185 h 1342734"/>
              <a:gd name="connsiteX32" fmla="*/ 7982378 w 10678681"/>
              <a:gd name="connsiteY32" fmla="*/ 629799 h 1342734"/>
              <a:gd name="connsiteX33" fmla="*/ 7947952 w 10678681"/>
              <a:gd name="connsiteY33" fmla="*/ 648003 h 1342734"/>
              <a:gd name="connsiteX34" fmla="*/ 7890112 w 10678681"/>
              <a:gd name="connsiteY34" fmla="*/ 677915 h 1342734"/>
              <a:gd name="connsiteX35" fmla="*/ 7853284 w 10678681"/>
              <a:gd name="connsiteY35" fmla="*/ 723588 h 1342734"/>
              <a:gd name="connsiteX36" fmla="*/ 7802383 w 10678681"/>
              <a:gd name="connsiteY36" fmla="*/ 739359 h 1342734"/>
              <a:gd name="connsiteX37" fmla="*/ 7730518 w 10678681"/>
              <a:gd name="connsiteY37" fmla="*/ 739526 h 1342734"/>
              <a:gd name="connsiteX38" fmla="*/ 7720084 w 10678681"/>
              <a:gd name="connsiteY38" fmla="*/ 760750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192893 w 10678681"/>
              <a:gd name="connsiteY77" fmla="*/ 1247188 h 1342734"/>
              <a:gd name="connsiteX78" fmla="*/ 5186475 w 10678681"/>
              <a:gd name="connsiteY78" fmla="*/ 1257028 h 1342734"/>
              <a:gd name="connsiteX79" fmla="*/ 5103589 w 10678681"/>
              <a:gd name="connsiteY79" fmla="*/ 1263189 h 1342734"/>
              <a:gd name="connsiteX80" fmla="*/ 4894688 w 10678681"/>
              <a:gd name="connsiteY80" fmla="*/ 1247184 h 1342734"/>
              <a:gd name="connsiteX81" fmla="*/ 4788036 w 10678681"/>
              <a:gd name="connsiteY81" fmla="*/ 1238182 h 1342734"/>
              <a:gd name="connsiteX82" fmla="*/ 4747555 w 10678681"/>
              <a:gd name="connsiteY82" fmla="*/ 1252768 h 1342734"/>
              <a:gd name="connsiteX83" fmla="*/ 4679644 w 10678681"/>
              <a:gd name="connsiteY83" fmla="*/ 1276603 h 1342734"/>
              <a:gd name="connsiteX84" fmla="*/ 4617473 w 10678681"/>
              <a:gd name="connsiteY84" fmla="*/ 1296467 h 1342734"/>
              <a:gd name="connsiteX85" fmla="*/ 4564919 w 10678681"/>
              <a:gd name="connsiteY85" fmla="*/ 1325507 h 1342734"/>
              <a:gd name="connsiteX86" fmla="*/ 4566586 w 10678681"/>
              <a:gd name="connsiteY86" fmla="*/ 1316963 h 1342734"/>
              <a:gd name="connsiteX87" fmla="*/ 4556303 w 10678681"/>
              <a:gd name="connsiteY87" fmla="*/ 1300262 h 1342734"/>
              <a:gd name="connsiteX88" fmla="*/ 4502358 w 10678681"/>
              <a:gd name="connsiteY88" fmla="*/ 1302558 h 1342734"/>
              <a:gd name="connsiteX89" fmla="*/ 4498919 w 10678681"/>
              <a:gd name="connsiteY89" fmla="*/ 1312115 h 1342734"/>
              <a:gd name="connsiteX90" fmla="*/ 4492075 w 10678681"/>
              <a:gd name="connsiteY90" fmla="*/ 1313357 h 1342734"/>
              <a:gd name="connsiteX91" fmla="*/ 4487466 w 10678681"/>
              <a:gd name="connsiteY91" fmla="*/ 1304102 h 1342734"/>
              <a:gd name="connsiteX92" fmla="*/ 4398292 w 10678681"/>
              <a:gd name="connsiteY92" fmla="*/ 1278410 h 1342734"/>
              <a:gd name="connsiteX93" fmla="*/ 4306088 w 10678681"/>
              <a:gd name="connsiteY93" fmla="*/ 1282512 h 1342734"/>
              <a:gd name="connsiteX94" fmla="*/ 4188995 w 10678681"/>
              <a:gd name="connsiteY94" fmla="*/ 1296718 h 1342734"/>
              <a:gd name="connsiteX95" fmla="*/ 4136582 w 10678681"/>
              <a:gd name="connsiteY95" fmla="*/ 1287687 h 1342734"/>
              <a:gd name="connsiteX96" fmla="*/ 4064614 w 10678681"/>
              <a:gd name="connsiteY96" fmla="*/ 1296118 h 1342734"/>
              <a:gd name="connsiteX97" fmla="*/ 3900948 w 10678681"/>
              <a:gd name="connsiteY97" fmla="*/ 1322156 h 1342734"/>
              <a:gd name="connsiteX98" fmla="*/ 3787890 w 10678681"/>
              <a:gd name="connsiteY98" fmla="*/ 1322164 h 1342734"/>
              <a:gd name="connsiteX99" fmla="*/ 3745993 w 10678681"/>
              <a:gd name="connsiteY99" fmla="*/ 1342630 h 1342734"/>
              <a:gd name="connsiteX100" fmla="*/ 3675785 w 10678681"/>
              <a:gd name="connsiteY100" fmla="*/ 1326802 h 1342734"/>
              <a:gd name="connsiteX101" fmla="*/ 3623856 w 10678681"/>
              <a:gd name="connsiteY101" fmla="*/ 1290804 h 1342734"/>
              <a:gd name="connsiteX102" fmla="*/ 3564933 w 10678681"/>
              <a:gd name="connsiteY102" fmla="*/ 1287147 h 1342734"/>
              <a:gd name="connsiteX103" fmla="*/ 3550537 w 10678681"/>
              <a:gd name="connsiteY103" fmla="*/ 1317552 h 1342734"/>
              <a:gd name="connsiteX104" fmla="*/ 3487736 w 10678681"/>
              <a:gd name="connsiteY104" fmla="*/ 1303493 h 1342734"/>
              <a:gd name="connsiteX105" fmla="*/ 3392548 w 10678681"/>
              <a:gd name="connsiteY105" fmla="*/ 1278741 h 1342734"/>
              <a:gd name="connsiteX106" fmla="*/ 3337466 w 10678681"/>
              <a:gd name="connsiteY106" fmla="*/ 1272537 h 1342734"/>
              <a:gd name="connsiteX107" fmla="*/ 3175981 w 10678681"/>
              <a:gd name="connsiteY107" fmla="*/ 1208973 h 1342734"/>
              <a:gd name="connsiteX108" fmla="*/ 3036856 w 10678681"/>
              <a:gd name="connsiteY108" fmla="*/ 1214383 h 1342734"/>
              <a:gd name="connsiteX109" fmla="*/ 2824973 w 10678681"/>
              <a:gd name="connsiteY109" fmla="*/ 1134864 h 1342734"/>
              <a:gd name="connsiteX110" fmla="*/ 2804398 w 10678681"/>
              <a:gd name="connsiteY110" fmla="*/ 1125556 h 1342734"/>
              <a:gd name="connsiteX111" fmla="*/ 2736109 w 10678681"/>
              <a:gd name="connsiteY111" fmla="*/ 1137717 h 1342734"/>
              <a:gd name="connsiteX112" fmla="*/ 2659096 w 10678681"/>
              <a:gd name="connsiteY112" fmla="*/ 1150294 h 1342734"/>
              <a:gd name="connsiteX113" fmla="*/ 2567088 w 10678681"/>
              <a:gd name="connsiteY113" fmla="*/ 1181781 h 1342734"/>
              <a:gd name="connsiteX114" fmla="*/ 2454501 w 10678681"/>
              <a:gd name="connsiteY114" fmla="*/ 1155455 h 1342734"/>
              <a:gd name="connsiteX115" fmla="*/ 2385161 w 10678681"/>
              <a:gd name="connsiteY115" fmla="*/ 1161312 h 1342734"/>
              <a:gd name="connsiteX116" fmla="*/ 2273361 w 10678681"/>
              <a:gd name="connsiteY116" fmla="*/ 1134090 h 1342734"/>
              <a:gd name="connsiteX117" fmla="*/ 2132003 w 10678681"/>
              <a:gd name="connsiteY117" fmla="*/ 1139225 h 1342734"/>
              <a:gd name="connsiteX118" fmla="*/ 2041224 w 10678681"/>
              <a:gd name="connsiteY118" fmla="*/ 1147536 h 1342734"/>
              <a:gd name="connsiteX119" fmla="*/ 2010157 w 10678681"/>
              <a:gd name="connsiteY119" fmla="*/ 1152767 h 1342734"/>
              <a:gd name="connsiteX120" fmla="*/ 1859213 w 10678681"/>
              <a:gd name="connsiteY120" fmla="*/ 1199540 h 1342734"/>
              <a:gd name="connsiteX121" fmla="*/ 1735877 w 10678681"/>
              <a:gd name="connsiteY121" fmla="*/ 1246527 h 1342734"/>
              <a:gd name="connsiteX122" fmla="*/ 1705069 w 10678681"/>
              <a:gd name="connsiteY122" fmla="*/ 1251989 h 1342734"/>
              <a:gd name="connsiteX123" fmla="*/ 1307888 w 10678681"/>
              <a:gd name="connsiteY123" fmla="*/ 1283156 h 1342734"/>
              <a:gd name="connsiteX124" fmla="*/ 1220734 w 10678681"/>
              <a:gd name="connsiteY124" fmla="*/ 1257811 h 1342734"/>
              <a:gd name="connsiteX125" fmla="*/ 1021737 w 10678681"/>
              <a:gd name="connsiteY125" fmla="*/ 1238739 h 1342734"/>
              <a:gd name="connsiteX126" fmla="*/ 959820 w 10678681"/>
              <a:gd name="connsiteY126" fmla="*/ 1275863 h 1342734"/>
              <a:gd name="connsiteX127" fmla="*/ 929137 w 10678681"/>
              <a:gd name="connsiteY127" fmla="*/ 1273957 h 1342734"/>
              <a:gd name="connsiteX128" fmla="*/ 878849 w 10678681"/>
              <a:gd name="connsiteY128" fmla="*/ 1266740 h 1342734"/>
              <a:gd name="connsiteX129" fmla="*/ 800667 w 10678681"/>
              <a:gd name="connsiteY129" fmla="*/ 1282041 h 1342734"/>
              <a:gd name="connsiteX130" fmla="*/ 644906 w 10678681"/>
              <a:gd name="connsiteY130" fmla="*/ 1273685 h 1342734"/>
              <a:gd name="connsiteX131" fmla="*/ 379869 w 10678681"/>
              <a:gd name="connsiteY131" fmla="*/ 1339165 h 1342734"/>
              <a:gd name="connsiteX132" fmla="*/ 137696 w 10678681"/>
              <a:gd name="connsiteY132" fmla="*/ 1319217 h 1342734"/>
              <a:gd name="connsiteX133" fmla="*/ 54250 w 10678681"/>
              <a:gd name="connsiteY133" fmla="*/ 1315838 h 1342734"/>
              <a:gd name="connsiteX134" fmla="*/ 28042 w 10678681"/>
              <a:gd name="connsiteY134" fmla="*/ 1297822 h 1342734"/>
              <a:gd name="connsiteX135" fmla="*/ 0 w 10678681"/>
              <a:gd name="connsiteY135" fmla="*/ 1294612 h 1342734"/>
              <a:gd name="connsiteX136" fmla="*/ 0 w 10678681"/>
              <a:gd name="connsiteY136"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09062 h 1342734"/>
              <a:gd name="connsiteX14" fmla="*/ 9840045 w 10678681"/>
              <a:gd name="connsiteY14" fmla="*/ 223033 h 1342734"/>
              <a:gd name="connsiteX15" fmla="*/ 9679639 w 10678681"/>
              <a:gd name="connsiteY15" fmla="*/ 24718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276883 w 10678681"/>
              <a:gd name="connsiteY30" fmla="*/ 588214 h 1342734"/>
              <a:gd name="connsiteX31" fmla="*/ 8086698 w 10678681"/>
              <a:gd name="connsiteY31" fmla="*/ 605185 h 1342734"/>
              <a:gd name="connsiteX32" fmla="*/ 7982378 w 10678681"/>
              <a:gd name="connsiteY32" fmla="*/ 629799 h 1342734"/>
              <a:gd name="connsiteX33" fmla="*/ 7947952 w 10678681"/>
              <a:gd name="connsiteY33" fmla="*/ 648003 h 1342734"/>
              <a:gd name="connsiteX34" fmla="*/ 7890112 w 10678681"/>
              <a:gd name="connsiteY34" fmla="*/ 677915 h 1342734"/>
              <a:gd name="connsiteX35" fmla="*/ 7853284 w 10678681"/>
              <a:gd name="connsiteY35" fmla="*/ 723588 h 1342734"/>
              <a:gd name="connsiteX36" fmla="*/ 7802383 w 10678681"/>
              <a:gd name="connsiteY36" fmla="*/ 739359 h 1342734"/>
              <a:gd name="connsiteX37" fmla="*/ 7730518 w 10678681"/>
              <a:gd name="connsiteY37" fmla="*/ 739526 h 1342734"/>
              <a:gd name="connsiteX38" fmla="*/ 7720084 w 10678681"/>
              <a:gd name="connsiteY38" fmla="*/ 760750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192893 w 10678681"/>
              <a:gd name="connsiteY77" fmla="*/ 1247188 h 1342734"/>
              <a:gd name="connsiteX78" fmla="*/ 5164025 w 10678681"/>
              <a:gd name="connsiteY78" fmla="*/ 1257028 h 1342734"/>
              <a:gd name="connsiteX79" fmla="*/ 5103589 w 10678681"/>
              <a:gd name="connsiteY79" fmla="*/ 1263189 h 1342734"/>
              <a:gd name="connsiteX80" fmla="*/ 4894688 w 10678681"/>
              <a:gd name="connsiteY80" fmla="*/ 1247184 h 1342734"/>
              <a:gd name="connsiteX81" fmla="*/ 4788036 w 10678681"/>
              <a:gd name="connsiteY81" fmla="*/ 1238182 h 1342734"/>
              <a:gd name="connsiteX82" fmla="*/ 4747555 w 10678681"/>
              <a:gd name="connsiteY82" fmla="*/ 1252768 h 1342734"/>
              <a:gd name="connsiteX83" fmla="*/ 4679644 w 10678681"/>
              <a:gd name="connsiteY83" fmla="*/ 1276603 h 1342734"/>
              <a:gd name="connsiteX84" fmla="*/ 4617473 w 10678681"/>
              <a:gd name="connsiteY84" fmla="*/ 1296467 h 1342734"/>
              <a:gd name="connsiteX85" fmla="*/ 4564919 w 10678681"/>
              <a:gd name="connsiteY85" fmla="*/ 1325507 h 1342734"/>
              <a:gd name="connsiteX86" fmla="*/ 4566586 w 10678681"/>
              <a:gd name="connsiteY86" fmla="*/ 1316963 h 1342734"/>
              <a:gd name="connsiteX87" fmla="*/ 4556303 w 10678681"/>
              <a:gd name="connsiteY87" fmla="*/ 1300262 h 1342734"/>
              <a:gd name="connsiteX88" fmla="*/ 4502358 w 10678681"/>
              <a:gd name="connsiteY88" fmla="*/ 1302558 h 1342734"/>
              <a:gd name="connsiteX89" fmla="*/ 4498919 w 10678681"/>
              <a:gd name="connsiteY89" fmla="*/ 1312115 h 1342734"/>
              <a:gd name="connsiteX90" fmla="*/ 4492075 w 10678681"/>
              <a:gd name="connsiteY90" fmla="*/ 1313357 h 1342734"/>
              <a:gd name="connsiteX91" fmla="*/ 4487466 w 10678681"/>
              <a:gd name="connsiteY91" fmla="*/ 1304102 h 1342734"/>
              <a:gd name="connsiteX92" fmla="*/ 4398292 w 10678681"/>
              <a:gd name="connsiteY92" fmla="*/ 1278410 h 1342734"/>
              <a:gd name="connsiteX93" fmla="*/ 4306088 w 10678681"/>
              <a:gd name="connsiteY93" fmla="*/ 1282512 h 1342734"/>
              <a:gd name="connsiteX94" fmla="*/ 4188995 w 10678681"/>
              <a:gd name="connsiteY94" fmla="*/ 1296718 h 1342734"/>
              <a:gd name="connsiteX95" fmla="*/ 4136582 w 10678681"/>
              <a:gd name="connsiteY95" fmla="*/ 1287687 h 1342734"/>
              <a:gd name="connsiteX96" fmla="*/ 4064614 w 10678681"/>
              <a:gd name="connsiteY96" fmla="*/ 1296118 h 1342734"/>
              <a:gd name="connsiteX97" fmla="*/ 3900948 w 10678681"/>
              <a:gd name="connsiteY97" fmla="*/ 1322156 h 1342734"/>
              <a:gd name="connsiteX98" fmla="*/ 3787890 w 10678681"/>
              <a:gd name="connsiteY98" fmla="*/ 1322164 h 1342734"/>
              <a:gd name="connsiteX99" fmla="*/ 3745993 w 10678681"/>
              <a:gd name="connsiteY99" fmla="*/ 1342630 h 1342734"/>
              <a:gd name="connsiteX100" fmla="*/ 3675785 w 10678681"/>
              <a:gd name="connsiteY100" fmla="*/ 1326802 h 1342734"/>
              <a:gd name="connsiteX101" fmla="*/ 3623856 w 10678681"/>
              <a:gd name="connsiteY101" fmla="*/ 1290804 h 1342734"/>
              <a:gd name="connsiteX102" fmla="*/ 3564933 w 10678681"/>
              <a:gd name="connsiteY102" fmla="*/ 1287147 h 1342734"/>
              <a:gd name="connsiteX103" fmla="*/ 3550537 w 10678681"/>
              <a:gd name="connsiteY103" fmla="*/ 1317552 h 1342734"/>
              <a:gd name="connsiteX104" fmla="*/ 3487736 w 10678681"/>
              <a:gd name="connsiteY104" fmla="*/ 1303493 h 1342734"/>
              <a:gd name="connsiteX105" fmla="*/ 3392548 w 10678681"/>
              <a:gd name="connsiteY105" fmla="*/ 1278741 h 1342734"/>
              <a:gd name="connsiteX106" fmla="*/ 3337466 w 10678681"/>
              <a:gd name="connsiteY106" fmla="*/ 1272537 h 1342734"/>
              <a:gd name="connsiteX107" fmla="*/ 3175981 w 10678681"/>
              <a:gd name="connsiteY107" fmla="*/ 1208973 h 1342734"/>
              <a:gd name="connsiteX108" fmla="*/ 3036856 w 10678681"/>
              <a:gd name="connsiteY108" fmla="*/ 1214383 h 1342734"/>
              <a:gd name="connsiteX109" fmla="*/ 2824973 w 10678681"/>
              <a:gd name="connsiteY109" fmla="*/ 1134864 h 1342734"/>
              <a:gd name="connsiteX110" fmla="*/ 2804398 w 10678681"/>
              <a:gd name="connsiteY110" fmla="*/ 1125556 h 1342734"/>
              <a:gd name="connsiteX111" fmla="*/ 2736109 w 10678681"/>
              <a:gd name="connsiteY111" fmla="*/ 1137717 h 1342734"/>
              <a:gd name="connsiteX112" fmla="*/ 2659096 w 10678681"/>
              <a:gd name="connsiteY112" fmla="*/ 1150294 h 1342734"/>
              <a:gd name="connsiteX113" fmla="*/ 2567088 w 10678681"/>
              <a:gd name="connsiteY113" fmla="*/ 1181781 h 1342734"/>
              <a:gd name="connsiteX114" fmla="*/ 2454501 w 10678681"/>
              <a:gd name="connsiteY114" fmla="*/ 1155455 h 1342734"/>
              <a:gd name="connsiteX115" fmla="*/ 2385161 w 10678681"/>
              <a:gd name="connsiteY115" fmla="*/ 1161312 h 1342734"/>
              <a:gd name="connsiteX116" fmla="*/ 2273361 w 10678681"/>
              <a:gd name="connsiteY116" fmla="*/ 1134090 h 1342734"/>
              <a:gd name="connsiteX117" fmla="*/ 2132003 w 10678681"/>
              <a:gd name="connsiteY117" fmla="*/ 1139225 h 1342734"/>
              <a:gd name="connsiteX118" fmla="*/ 2041224 w 10678681"/>
              <a:gd name="connsiteY118" fmla="*/ 1147536 h 1342734"/>
              <a:gd name="connsiteX119" fmla="*/ 2010157 w 10678681"/>
              <a:gd name="connsiteY119" fmla="*/ 1152767 h 1342734"/>
              <a:gd name="connsiteX120" fmla="*/ 1859213 w 10678681"/>
              <a:gd name="connsiteY120" fmla="*/ 1199540 h 1342734"/>
              <a:gd name="connsiteX121" fmla="*/ 1735877 w 10678681"/>
              <a:gd name="connsiteY121" fmla="*/ 1246527 h 1342734"/>
              <a:gd name="connsiteX122" fmla="*/ 1705069 w 10678681"/>
              <a:gd name="connsiteY122" fmla="*/ 1251989 h 1342734"/>
              <a:gd name="connsiteX123" fmla="*/ 1307888 w 10678681"/>
              <a:gd name="connsiteY123" fmla="*/ 1283156 h 1342734"/>
              <a:gd name="connsiteX124" fmla="*/ 1220734 w 10678681"/>
              <a:gd name="connsiteY124" fmla="*/ 1257811 h 1342734"/>
              <a:gd name="connsiteX125" fmla="*/ 1021737 w 10678681"/>
              <a:gd name="connsiteY125" fmla="*/ 1238739 h 1342734"/>
              <a:gd name="connsiteX126" fmla="*/ 959820 w 10678681"/>
              <a:gd name="connsiteY126" fmla="*/ 1275863 h 1342734"/>
              <a:gd name="connsiteX127" fmla="*/ 929137 w 10678681"/>
              <a:gd name="connsiteY127" fmla="*/ 1273957 h 1342734"/>
              <a:gd name="connsiteX128" fmla="*/ 878849 w 10678681"/>
              <a:gd name="connsiteY128" fmla="*/ 1266740 h 1342734"/>
              <a:gd name="connsiteX129" fmla="*/ 800667 w 10678681"/>
              <a:gd name="connsiteY129" fmla="*/ 1282041 h 1342734"/>
              <a:gd name="connsiteX130" fmla="*/ 644906 w 10678681"/>
              <a:gd name="connsiteY130" fmla="*/ 1273685 h 1342734"/>
              <a:gd name="connsiteX131" fmla="*/ 379869 w 10678681"/>
              <a:gd name="connsiteY131" fmla="*/ 1339165 h 1342734"/>
              <a:gd name="connsiteX132" fmla="*/ 137696 w 10678681"/>
              <a:gd name="connsiteY132" fmla="*/ 1319217 h 1342734"/>
              <a:gd name="connsiteX133" fmla="*/ 54250 w 10678681"/>
              <a:gd name="connsiteY133" fmla="*/ 1315838 h 1342734"/>
              <a:gd name="connsiteX134" fmla="*/ 28042 w 10678681"/>
              <a:gd name="connsiteY134" fmla="*/ 1297822 h 1342734"/>
              <a:gd name="connsiteX135" fmla="*/ 0 w 10678681"/>
              <a:gd name="connsiteY135" fmla="*/ 1294612 h 1342734"/>
              <a:gd name="connsiteX136" fmla="*/ 0 w 10678681"/>
              <a:gd name="connsiteY136"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09062 h 1342734"/>
              <a:gd name="connsiteX14" fmla="*/ 9840045 w 10678681"/>
              <a:gd name="connsiteY14" fmla="*/ 223033 h 1342734"/>
              <a:gd name="connsiteX15" fmla="*/ 9679639 w 10678681"/>
              <a:gd name="connsiteY15" fmla="*/ 24718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276883 w 10678681"/>
              <a:gd name="connsiteY30" fmla="*/ 588214 h 1342734"/>
              <a:gd name="connsiteX31" fmla="*/ 8086698 w 10678681"/>
              <a:gd name="connsiteY31" fmla="*/ 605185 h 1342734"/>
              <a:gd name="connsiteX32" fmla="*/ 7982378 w 10678681"/>
              <a:gd name="connsiteY32" fmla="*/ 629799 h 1342734"/>
              <a:gd name="connsiteX33" fmla="*/ 7947952 w 10678681"/>
              <a:gd name="connsiteY33" fmla="*/ 648003 h 1342734"/>
              <a:gd name="connsiteX34" fmla="*/ 7890112 w 10678681"/>
              <a:gd name="connsiteY34" fmla="*/ 677915 h 1342734"/>
              <a:gd name="connsiteX35" fmla="*/ 7853284 w 10678681"/>
              <a:gd name="connsiteY35" fmla="*/ 723588 h 1342734"/>
              <a:gd name="connsiteX36" fmla="*/ 7802383 w 10678681"/>
              <a:gd name="connsiteY36" fmla="*/ 739359 h 1342734"/>
              <a:gd name="connsiteX37" fmla="*/ 7730518 w 10678681"/>
              <a:gd name="connsiteY37" fmla="*/ 739526 h 1342734"/>
              <a:gd name="connsiteX38" fmla="*/ 7720084 w 10678681"/>
              <a:gd name="connsiteY38" fmla="*/ 760750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192893 w 10678681"/>
              <a:gd name="connsiteY77" fmla="*/ 1247188 h 1342734"/>
              <a:gd name="connsiteX78" fmla="*/ 5164025 w 10678681"/>
              <a:gd name="connsiteY78" fmla="*/ 1257028 h 1342734"/>
              <a:gd name="connsiteX79" fmla="*/ 5103589 w 10678681"/>
              <a:gd name="connsiteY79" fmla="*/ 1263189 h 1342734"/>
              <a:gd name="connsiteX80" fmla="*/ 4894688 w 10678681"/>
              <a:gd name="connsiteY80" fmla="*/ 1247184 h 1342734"/>
              <a:gd name="connsiteX81" fmla="*/ 4788036 w 10678681"/>
              <a:gd name="connsiteY81" fmla="*/ 1238182 h 1342734"/>
              <a:gd name="connsiteX82" fmla="*/ 4747555 w 10678681"/>
              <a:gd name="connsiteY82" fmla="*/ 1252768 h 1342734"/>
              <a:gd name="connsiteX83" fmla="*/ 4679644 w 10678681"/>
              <a:gd name="connsiteY83" fmla="*/ 1276603 h 1342734"/>
              <a:gd name="connsiteX84" fmla="*/ 4617473 w 10678681"/>
              <a:gd name="connsiteY84" fmla="*/ 1296467 h 1342734"/>
              <a:gd name="connsiteX85" fmla="*/ 4564919 w 10678681"/>
              <a:gd name="connsiteY85" fmla="*/ 1325507 h 1342734"/>
              <a:gd name="connsiteX86" fmla="*/ 4566586 w 10678681"/>
              <a:gd name="connsiteY86" fmla="*/ 1316963 h 1342734"/>
              <a:gd name="connsiteX87" fmla="*/ 4556303 w 10678681"/>
              <a:gd name="connsiteY87" fmla="*/ 1300262 h 1342734"/>
              <a:gd name="connsiteX88" fmla="*/ 4502358 w 10678681"/>
              <a:gd name="connsiteY88" fmla="*/ 1302558 h 1342734"/>
              <a:gd name="connsiteX89" fmla="*/ 4498919 w 10678681"/>
              <a:gd name="connsiteY89" fmla="*/ 1312115 h 1342734"/>
              <a:gd name="connsiteX90" fmla="*/ 4492075 w 10678681"/>
              <a:gd name="connsiteY90" fmla="*/ 1313357 h 1342734"/>
              <a:gd name="connsiteX91" fmla="*/ 4487466 w 10678681"/>
              <a:gd name="connsiteY91" fmla="*/ 1304102 h 1342734"/>
              <a:gd name="connsiteX92" fmla="*/ 4398292 w 10678681"/>
              <a:gd name="connsiteY92" fmla="*/ 1278410 h 1342734"/>
              <a:gd name="connsiteX93" fmla="*/ 4306088 w 10678681"/>
              <a:gd name="connsiteY93" fmla="*/ 1282512 h 1342734"/>
              <a:gd name="connsiteX94" fmla="*/ 4188995 w 10678681"/>
              <a:gd name="connsiteY94" fmla="*/ 1296718 h 1342734"/>
              <a:gd name="connsiteX95" fmla="*/ 4136582 w 10678681"/>
              <a:gd name="connsiteY95" fmla="*/ 1287687 h 1342734"/>
              <a:gd name="connsiteX96" fmla="*/ 4064614 w 10678681"/>
              <a:gd name="connsiteY96" fmla="*/ 1296118 h 1342734"/>
              <a:gd name="connsiteX97" fmla="*/ 3900948 w 10678681"/>
              <a:gd name="connsiteY97" fmla="*/ 1322156 h 1342734"/>
              <a:gd name="connsiteX98" fmla="*/ 3787890 w 10678681"/>
              <a:gd name="connsiteY98" fmla="*/ 1322164 h 1342734"/>
              <a:gd name="connsiteX99" fmla="*/ 3745993 w 10678681"/>
              <a:gd name="connsiteY99" fmla="*/ 1342630 h 1342734"/>
              <a:gd name="connsiteX100" fmla="*/ 3675785 w 10678681"/>
              <a:gd name="connsiteY100" fmla="*/ 1326802 h 1342734"/>
              <a:gd name="connsiteX101" fmla="*/ 3623856 w 10678681"/>
              <a:gd name="connsiteY101" fmla="*/ 1290804 h 1342734"/>
              <a:gd name="connsiteX102" fmla="*/ 3564933 w 10678681"/>
              <a:gd name="connsiteY102" fmla="*/ 1287147 h 1342734"/>
              <a:gd name="connsiteX103" fmla="*/ 3550537 w 10678681"/>
              <a:gd name="connsiteY103" fmla="*/ 1317552 h 1342734"/>
              <a:gd name="connsiteX104" fmla="*/ 3487736 w 10678681"/>
              <a:gd name="connsiteY104" fmla="*/ 1303493 h 1342734"/>
              <a:gd name="connsiteX105" fmla="*/ 3392548 w 10678681"/>
              <a:gd name="connsiteY105" fmla="*/ 1278741 h 1342734"/>
              <a:gd name="connsiteX106" fmla="*/ 3337466 w 10678681"/>
              <a:gd name="connsiteY106" fmla="*/ 1272537 h 1342734"/>
              <a:gd name="connsiteX107" fmla="*/ 3175981 w 10678681"/>
              <a:gd name="connsiteY107" fmla="*/ 1208973 h 1342734"/>
              <a:gd name="connsiteX108" fmla="*/ 3036856 w 10678681"/>
              <a:gd name="connsiteY108" fmla="*/ 1214383 h 1342734"/>
              <a:gd name="connsiteX109" fmla="*/ 2824973 w 10678681"/>
              <a:gd name="connsiteY109" fmla="*/ 1134864 h 1342734"/>
              <a:gd name="connsiteX110" fmla="*/ 2804398 w 10678681"/>
              <a:gd name="connsiteY110" fmla="*/ 1125556 h 1342734"/>
              <a:gd name="connsiteX111" fmla="*/ 2736109 w 10678681"/>
              <a:gd name="connsiteY111" fmla="*/ 1137717 h 1342734"/>
              <a:gd name="connsiteX112" fmla="*/ 2659096 w 10678681"/>
              <a:gd name="connsiteY112" fmla="*/ 1150294 h 1342734"/>
              <a:gd name="connsiteX113" fmla="*/ 2567088 w 10678681"/>
              <a:gd name="connsiteY113" fmla="*/ 1181781 h 1342734"/>
              <a:gd name="connsiteX114" fmla="*/ 2454501 w 10678681"/>
              <a:gd name="connsiteY114" fmla="*/ 1155455 h 1342734"/>
              <a:gd name="connsiteX115" fmla="*/ 2385161 w 10678681"/>
              <a:gd name="connsiteY115" fmla="*/ 1161312 h 1342734"/>
              <a:gd name="connsiteX116" fmla="*/ 2273361 w 10678681"/>
              <a:gd name="connsiteY116" fmla="*/ 1134090 h 1342734"/>
              <a:gd name="connsiteX117" fmla="*/ 2132003 w 10678681"/>
              <a:gd name="connsiteY117" fmla="*/ 1139225 h 1342734"/>
              <a:gd name="connsiteX118" fmla="*/ 2041224 w 10678681"/>
              <a:gd name="connsiteY118" fmla="*/ 1147536 h 1342734"/>
              <a:gd name="connsiteX119" fmla="*/ 2010157 w 10678681"/>
              <a:gd name="connsiteY119" fmla="*/ 1152767 h 1342734"/>
              <a:gd name="connsiteX120" fmla="*/ 1859213 w 10678681"/>
              <a:gd name="connsiteY120" fmla="*/ 1199540 h 1342734"/>
              <a:gd name="connsiteX121" fmla="*/ 1735877 w 10678681"/>
              <a:gd name="connsiteY121" fmla="*/ 1246527 h 1342734"/>
              <a:gd name="connsiteX122" fmla="*/ 1705069 w 10678681"/>
              <a:gd name="connsiteY122" fmla="*/ 1251989 h 1342734"/>
              <a:gd name="connsiteX123" fmla="*/ 1307888 w 10678681"/>
              <a:gd name="connsiteY123" fmla="*/ 1283156 h 1342734"/>
              <a:gd name="connsiteX124" fmla="*/ 1021737 w 10678681"/>
              <a:gd name="connsiteY124" fmla="*/ 1238739 h 1342734"/>
              <a:gd name="connsiteX125" fmla="*/ 959820 w 10678681"/>
              <a:gd name="connsiteY125" fmla="*/ 1275863 h 1342734"/>
              <a:gd name="connsiteX126" fmla="*/ 929137 w 10678681"/>
              <a:gd name="connsiteY126" fmla="*/ 1273957 h 1342734"/>
              <a:gd name="connsiteX127" fmla="*/ 878849 w 10678681"/>
              <a:gd name="connsiteY127" fmla="*/ 1266740 h 1342734"/>
              <a:gd name="connsiteX128" fmla="*/ 800667 w 10678681"/>
              <a:gd name="connsiteY128" fmla="*/ 1282041 h 1342734"/>
              <a:gd name="connsiteX129" fmla="*/ 644906 w 10678681"/>
              <a:gd name="connsiteY129" fmla="*/ 1273685 h 1342734"/>
              <a:gd name="connsiteX130" fmla="*/ 379869 w 10678681"/>
              <a:gd name="connsiteY130" fmla="*/ 1339165 h 1342734"/>
              <a:gd name="connsiteX131" fmla="*/ 137696 w 10678681"/>
              <a:gd name="connsiteY131" fmla="*/ 1319217 h 1342734"/>
              <a:gd name="connsiteX132" fmla="*/ 54250 w 10678681"/>
              <a:gd name="connsiteY132" fmla="*/ 1315838 h 1342734"/>
              <a:gd name="connsiteX133" fmla="*/ 28042 w 10678681"/>
              <a:gd name="connsiteY133" fmla="*/ 1297822 h 1342734"/>
              <a:gd name="connsiteX134" fmla="*/ 0 w 10678681"/>
              <a:gd name="connsiteY134" fmla="*/ 1294612 h 1342734"/>
              <a:gd name="connsiteX135" fmla="*/ 0 w 10678681"/>
              <a:gd name="connsiteY135"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09062 h 1342734"/>
              <a:gd name="connsiteX14" fmla="*/ 9840045 w 10678681"/>
              <a:gd name="connsiteY14" fmla="*/ 223033 h 1342734"/>
              <a:gd name="connsiteX15" fmla="*/ 9679639 w 10678681"/>
              <a:gd name="connsiteY15" fmla="*/ 24718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276883 w 10678681"/>
              <a:gd name="connsiteY30" fmla="*/ 588214 h 1342734"/>
              <a:gd name="connsiteX31" fmla="*/ 8086698 w 10678681"/>
              <a:gd name="connsiteY31" fmla="*/ 605185 h 1342734"/>
              <a:gd name="connsiteX32" fmla="*/ 7982378 w 10678681"/>
              <a:gd name="connsiteY32" fmla="*/ 629799 h 1342734"/>
              <a:gd name="connsiteX33" fmla="*/ 7947952 w 10678681"/>
              <a:gd name="connsiteY33" fmla="*/ 648003 h 1342734"/>
              <a:gd name="connsiteX34" fmla="*/ 7890112 w 10678681"/>
              <a:gd name="connsiteY34" fmla="*/ 677915 h 1342734"/>
              <a:gd name="connsiteX35" fmla="*/ 7853284 w 10678681"/>
              <a:gd name="connsiteY35" fmla="*/ 723588 h 1342734"/>
              <a:gd name="connsiteX36" fmla="*/ 7802383 w 10678681"/>
              <a:gd name="connsiteY36" fmla="*/ 739359 h 1342734"/>
              <a:gd name="connsiteX37" fmla="*/ 7730518 w 10678681"/>
              <a:gd name="connsiteY37" fmla="*/ 739526 h 1342734"/>
              <a:gd name="connsiteX38" fmla="*/ 7720084 w 10678681"/>
              <a:gd name="connsiteY38" fmla="*/ 760750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192893 w 10678681"/>
              <a:gd name="connsiteY77" fmla="*/ 1247188 h 1342734"/>
              <a:gd name="connsiteX78" fmla="*/ 5164025 w 10678681"/>
              <a:gd name="connsiteY78" fmla="*/ 1257028 h 1342734"/>
              <a:gd name="connsiteX79" fmla="*/ 5103589 w 10678681"/>
              <a:gd name="connsiteY79" fmla="*/ 1263189 h 1342734"/>
              <a:gd name="connsiteX80" fmla="*/ 4894688 w 10678681"/>
              <a:gd name="connsiteY80" fmla="*/ 1247184 h 1342734"/>
              <a:gd name="connsiteX81" fmla="*/ 4788036 w 10678681"/>
              <a:gd name="connsiteY81" fmla="*/ 1238182 h 1342734"/>
              <a:gd name="connsiteX82" fmla="*/ 4747555 w 10678681"/>
              <a:gd name="connsiteY82" fmla="*/ 1252768 h 1342734"/>
              <a:gd name="connsiteX83" fmla="*/ 4679644 w 10678681"/>
              <a:gd name="connsiteY83" fmla="*/ 1276603 h 1342734"/>
              <a:gd name="connsiteX84" fmla="*/ 4617473 w 10678681"/>
              <a:gd name="connsiteY84" fmla="*/ 1296467 h 1342734"/>
              <a:gd name="connsiteX85" fmla="*/ 4564919 w 10678681"/>
              <a:gd name="connsiteY85" fmla="*/ 1325507 h 1342734"/>
              <a:gd name="connsiteX86" fmla="*/ 4566586 w 10678681"/>
              <a:gd name="connsiteY86" fmla="*/ 1316963 h 1342734"/>
              <a:gd name="connsiteX87" fmla="*/ 4556303 w 10678681"/>
              <a:gd name="connsiteY87" fmla="*/ 1300262 h 1342734"/>
              <a:gd name="connsiteX88" fmla="*/ 4502358 w 10678681"/>
              <a:gd name="connsiteY88" fmla="*/ 1302558 h 1342734"/>
              <a:gd name="connsiteX89" fmla="*/ 4498919 w 10678681"/>
              <a:gd name="connsiteY89" fmla="*/ 1312115 h 1342734"/>
              <a:gd name="connsiteX90" fmla="*/ 4492075 w 10678681"/>
              <a:gd name="connsiteY90" fmla="*/ 1313357 h 1342734"/>
              <a:gd name="connsiteX91" fmla="*/ 4487466 w 10678681"/>
              <a:gd name="connsiteY91" fmla="*/ 1304102 h 1342734"/>
              <a:gd name="connsiteX92" fmla="*/ 4398292 w 10678681"/>
              <a:gd name="connsiteY92" fmla="*/ 1278410 h 1342734"/>
              <a:gd name="connsiteX93" fmla="*/ 4306088 w 10678681"/>
              <a:gd name="connsiteY93" fmla="*/ 1282512 h 1342734"/>
              <a:gd name="connsiteX94" fmla="*/ 4188995 w 10678681"/>
              <a:gd name="connsiteY94" fmla="*/ 1296718 h 1342734"/>
              <a:gd name="connsiteX95" fmla="*/ 4136582 w 10678681"/>
              <a:gd name="connsiteY95" fmla="*/ 1287687 h 1342734"/>
              <a:gd name="connsiteX96" fmla="*/ 4064614 w 10678681"/>
              <a:gd name="connsiteY96" fmla="*/ 1296118 h 1342734"/>
              <a:gd name="connsiteX97" fmla="*/ 3900948 w 10678681"/>
              <a:gd name="connsiteY97" fmla="*/ 1322156 h 1342734"/>
              <a:gd name="connsiteX98" fmla="*/ 3787890 w 10678681"/>
              <a:gd name="connsiteY98" fmla="*/ 1322164 h 1342734"/>
              <a:gd name="connsiteX99" fmla="*/ 3745993 w 10678681"/>
              <a:gd name="connsiteY99" fmla="*/ 1342630 h 1342734"/>
              <a:gd name="connsiteX100" fmla="*/ 3675785 w 10678681"/>
              <a:gd name="connsiteY100" fmla="*/ 1326802 h 1342734"/>
              <a:gd name="connsiteX101" fmla="*/ 3623856 w 10678681"/>
              <a:gd name="connsiteY101" fmla="*/ 1290804 h 1342734"/>
              <a:gd name="connsiteX102" fmla="*/ 3564933 w 10678681"/>
              <a:gd name="connsiteY102" fmla="*/ 1287147 h 1342734"/>
              <a:gd name="connsiteX103" fmla="*/ 3550537 w 10678681"/>
              <a:gd name="connsiteY103" fmla="*/ 1317552 h 1342734"/>
              <a:gd name="connsiteX104" fmla="*/ 3487736 w 10678681"/>
              <a:gd name="connsiteY104" fmla="*/ 1303493 h 1342734"/>
              <a:gd name="connsiteX105" fmla="*/ 3392548 w 10678681"/>
              <a:gd name="connsiteY105" fmla="*/ 1278741 h 1342734"/>
              <a:gd name="connsiteX106" fmla="*/ 3337466 w 10678681"/>
              <a:gd name="connsiteY106" fmla="*/ 1272537 h 1342734"/>
              <a:gd name="connsiteX107" fmla="*/ 3175981 w 10678681"/>
              <a:gd name="connsiteY107" fmla="*/ 1208973 h 1342734"/>
              <a:gd name="connsiteX108" fmla="*/ 3036856 w 10678681"/>
              <a:gd name="connsiteY108" fmla="*/ 1214383 h 1342734"/>
              <a:gd name="connsiteX109" fmla="*/ 2824973 w 10678681"/>
              <a:gd name="connsiteY109" fmla="*/ 1134864 h 1342734"/>
              <a:gd name="connsiteX110" fmla="*/ 2804398 w 10678681"/>
              <a:gd name="connsiteY110" fmla="*/ 1125556 h 1342734"/>
              <a:gd name="connsiteX111" fmla="*/ 2736109 w 10678681"/>
              <a:gd name="connsiteY111" fmla="*/ 1137717 h 1342734"/>
              <a:gd name="connsiteX112" fmla="*/ 2659096 w 10678681"/>
              <a:gd name="connsiteY112" fmla="*/ 1150294 h 1342734"/>
              <a:gd name="connsiteX113" fmla="*/ 2567088 w 10678681"/>
              <a:gd name="connsiteY113" fmla="*/ 1181781 h 1342734"/>
              <a:gd name="connsiteX114" fmla="*/ 2454501 w 10678681"/>
              <a:gd name="connsiteY114" fmla="*/ 1155455 h 1342734"/>
              <a:gd name="connsiteX115" fmla="*/ 2385161 w 10678681"/>
              <a:gd name="connsiteY115" fmla="*/ 1161312 h 1342734"/>
              <a:gd name="connsiteX116" fmla="*/ 2273361 w 10678681"/>
              <a:gd name="connsiteY116" fmla="*/ 1134090 h 1342734"/>
              <a:gd name="connsiteX117" fmla="*/ 2132003 w 10678681"/>
              <a:gd name="connsiteY117" fmla="*/ 1139225 h 1342734"/>
              <a:gd name="connsiteX118" fmla="*/ 2041224 w 10678681"/>
              <a:gd name="connsiteY118" fmla="*/ 1147536 h 1342734"/>
              <a:gd name="connsiteX119" fmla="*/ 2010157 w 10678681"/>
              <a:gd name="connsiteY119" fmla="*/ 1152767 h 1342734"/>
              <a:gd name="connsiteX120" fmla="*/ 1859213 w 10678681"/>
              <a:gd name="connsiteY120" fmla="*/ 1199540 h 1342734"/>
              <a:gd name="connsiteX121" fmla="*/ 1735877 w 10678681"/>
              <a:gd name="connsiteY121" fmla="*/ 1246527 h 1342734"/>
              <a:gd name="connsiteX122" fmla="*/ 1705069 w 10678681"/>
              <a:gd name="connsiteY122" fmla="*/ 1251989 h 1342734"/>
              <a:gd name="connsiteX123" fmla="*/ 1279827 w 10678681"/>
              <a:gd name="connsiteY123" fmla="*/ 1245307 h 1342734"/>
              <a:gd name="connsiteX124" fmla="*/ 1021737 w 10678681"/>
              <a:gd name="connsiteY124" fmla="*/ 1238739 h 1342734"/>
              <a:gd name="connsiteX125" fmla="*/ 959820 w 10678681"/>
              <a:gd name="connsiteY125" fmla="*/ 1275863 h 1342734"/>
              <a:gd name="connsiteX126" fmla="*/ 929137 w 10678681"/>
              <a:gd name="connsiteY126" fmla="*/ 1273957 h 1342734"/>
              <a:gd name="connsiteX127" fmla="*/ 878849 w 10678681"/>
              <a:gd name="connsiteY127" fmla="*/ 1266740 h 1342734"/>
              <a:gd name="connsiteX128" fmla="*/ 800667 w 10678681"/>
              <a:gd name="connsiteY128" fmla="*/ 1282041 h 1342734"/>
              <a:gd name="connsiteX129" fmla="*/ 644906 w 10678681"/>
              <a:gd name="connsiteY129" fmla="*/ 1273685 h 1342734"/>
              <a:gd name="connsiteX130" fmla="*/ 379869 w 10678681"/>
              <a:gd name="connsiteY130" fmla="*/ 1339165 h 1342734"/>
              <a:gd name="connsiteX131" fmla="*/ 137696 w 10678681"/>
              <a:gd name="connsiteY131" fmla="*/ 1319217 h 1342734"/>
              <a:gd name="connsiteX132" fmla="*/ 54250 w 10678681"/>
              <a:gd name="connsiteY132" fmla="*/ 1315838 h 1342734"/>
              <a:gd name="connsiteX133" fmla="*/ 28042 w 10678681"/>
              <a:gd name="connsiteY133" fmla="*/ 1297822 h 1342734"/>
              <a:gd name="connsiteX134" fmla="*/ 0 w 10678681"/>
              <a:gd name="connsiteY134" fmla="*/ 1294612 h 1342734"/>
              <a:gd name="connsiteX135" fmla="*/ 0 w 10678681"/>
              <a:gd name="connsiteY135"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09062 h 1342734"/>
              <a:gd name="connsiteX14" fmla="*/ 9840045 w 10678681"/>
              <a:gd name="connsiteY14" fmla="*/ 223033 h 1342734"/>
              <a:gd name="connsiteX15" fmla="*/ 9679639 w 10678681"/>
              <a:gd name="connsiteY15" fmla="*/ 24718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276883 w 10678681"/>
              <a:gd name="connsiteY30" fmla="*/ 588214 h 1342734"/>
              <a:gd name="connsiteX31" fmla="*/ 8086698 w 10678681"/>
              <a:gd name="connsiteY31" fmla="*/ 605185 h 1342734"/>
              <a:gd name="connsiteX32" fmla="*/ 7982378 w 10678681"/>
              <a:gd name="connsiteY32" fmla="*/ 629799 h 1342734"/>
              <a:gd name="connsiteX33" fmla="*/ 7947952 w 10678681"/>
              <a:gd name="connsiteY33" fmla="*/ 648003 h 1342734"/>
              <a:gd name="connsiteX34" fmla="*/ 7890112 w 10678681"/>
              <a:gd name="connsiteY34" fmla="*/ 677915 h 1342734"/>
              <a:gd name="connsiteX35" fmla="*/ 7853284 w 10678681"/>
              <a:gd name="connsiteY35" fmla="*/ 723588 h 1342734"/>
              <a:gd name="connsiteX36" fmla="*/ 7802383 w 10678681"/>
              <a:gd name="connsiteY36" fmla="*/ 739359 h 1342734"/>
              <a:gd name="connsiteX37" fmla="*/ 7730518 w 10678681"/>
              <a:gd name="connsiteY37" fmla="*/ 739526 h 1342734"/>
              <a:gd name="connsiteX38" fmla="*/ 7720084 w 10678681"/>
              <a:gd name="connsiteY38" fmla="*/ 760750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192893 w 10678681"/>
              <a:gd name="connsiteY77" fmla="*/ 1247188 h 1342734"/>
              <a:gd name="connsiteX78" fmla="*/ 5164025 w 10678681"/>
              <a:gd name="connsiteY78" fmla="*/ 1257028 h 1342734"/>
              <a:gd name="connsiteX79" fmla="*/ 5103589 w 10678681"/>
              <a:gd name="connsiteY79" fmla="*/ 1263189 h 1342734"/>
              <a:gd name="connsiteX80" fmla="*/ 4894688 w 10678681"/>
              <a:gd name="connsiteY80" fmla="*/ 1247184 h 1342734"/>
              <a:gd name="connsiteX81" fmla="*/ 4788036 w 10678681"/>
              <a:gd name="connsiteY81" fmla="*/ 1238182 h 1342734"/>
              <a:gd name="connsiteX82" fmla="*/ 4747555 w 10678681"/>
              <a:gd name="connsiteY82" fmla="*/ 1252768 h 1342734"/>
              <a:gd name="connsiteX83" fmla="*/ 4679644 w 10678681"/>
              <a:gd name="connsiteY83" fmla="*/ 1276603 h 1342734"/>
              <a:gd name="connsiteX84" fmla="*/ 4617473 w 10678681"/>
              <a:gd name="connsiteY84" fmla="*/ 1296467 h 1342734"/>
              <a:gd name="connsiteX85" fmla="*/ 4564919 w 10678681"/>
              <a:gd name="connsiteY85" fmla="*/ 1325507 h 1342734"/>
              <a:gd name="connsiteX86" fmla="*/ 4566586 w 10678681"/>
              <a:gd name="connsiteY86" fmla="*/ 1316963 h 1342734"/>
              <a:gd name="connsiteX87" fmla="*/ 4556303 w 10678681"/>
              <a:gd name="connsiteY87" fmla="*/ 1300262 h 1342734"/>
              <a:gd name="connsiteX88" fmla="*/ 4502358 w 10678681"/>
              <a:gd name="connsiteY88" fmla="*/ 1302558 h 1342734"/>
              <a:gd name="connsiteX89" fmla="*/ 4498919 w 10678681"/>
              <a:gd name="connsiteY89" fmla="*/ 1312115 h 1342734"/>
              <a:gd name="connsiteX90" fmla="*/ 4492075 w 10678681"/>
              <a:gd name="connsiteY90" fmla="*/ 1313357 h 1342734"/>
              <a:gd name="connsiteX91" fmla="*/ 4487466 w 10678681"/>
              <a:gd name="connsiteY91" fmla="*/ 1304102 h 1342734"/>
              <a:gd name="connsiteX92" fmla="*/ 4398292 w 10678681"/>
              <a:gd name="connsiteY92" fmla="*/ 1278410 h 1342734"/>
              <a:gd name="connsiteX93" fmla="*/ 4306088 w 10678681"/>
              <a:gd name="connsiteY93" fmla="*/ 1282512 h 1342734"/>
              <a:gd name="connsiteX94" fmla="*/ 4188995 w 10678681"/>
              <a:gd name="connsiteY94" fmla="*/ 1296718 h 1342734"/>
              <a:gd name="connsiteX95" fmla="*/ 4136582 w 10678681"/>
              <a:gd name="connsiteY95" fmla="*/ 1287687 h 1342734"/>
              <a:gd name="connsiteX96" fmla="*/ 4064614 w 10678681"/>
              <a:gd name="connsiteY96" fmla="*/ 1296118 h 1342734"/>
              <a:gd name="connsiteX97" fmla="*/ 3900948 w 10678681"/>
              <a:gd name="connsiteY97" fmla="*/ 1322156 h 1342734"/>
              <a:gd name="connsiteX98" fmla="*/ 3787890 w 10678681"/>
              <a:gd name="connsiteY98" fmla="*/ 1322164 h 1342734"/>
              <a:gd name="connsiteX99" fmla="*/ 3745993 w 10678681"/>
              <a:gd name="connsiteY99" fmla="*/ 1342630 h 1342734"/>
              <a:gd name="connsiteX100" fmla="*/ 3675785 w 10678681"/>
              <a:gd name="connsiteY100" fmla="*/ 1326802 h 1342734"/>
              <a:gd name="connsiteX101" fmla="*/ 3623856 w 10678681"/>
              <a:gd name="connsiteY101" fmla="*/ 1290804 h 1342734"/>
              <a:gd name="connsiteX102" fmla="*/ 3564933 w 10678681"/>
              <a:gd name="connsiteY102" fmla="*/ 1287147 h 1342734"/>
              <a:gd name="connsiteX103" fmla="*/ 3550537 w 10678681"/>
              <a:gd name="connsiteY103" fmla="*/ 1317552 h 1342734"/>
              <a:gd name="connsiteX104" fmla="*/ 3487736 w 10678681"/>
              <a:gd name="connsiteY104" fmla="*/ 1303493 h 1342734"/>
              <a:gd name="connsiteX105" fmla="*/ 3392548 w 10678681"/>
              <a:gd name="connsiteY105" fmla="*/ 1278741 h 1342734"/>
              <a:gd name="connsiteX106" fmla="*/ 3337466 w 10678681"/>
              <a:gd name="connsiteY106" fmla="*/ 1272537 h 1342734"/>
              <a:gd name="connsiteX107" fmla="*/ 3175981 w 10678681"/>
              <a:gd name="connsiteY107" fmla="*/ 1208973 h 1342734"/>
              <a:gd name="connsiteX108" fmla="*/ 3036856 w 10678681"/>
              <a:gd name="connsiteY108" fmla="*/ 1214383 h 1342734"/>
              <a:gd name="connsiteX109" fmla="*/ 2824973 w 10678681"/>
              <a:gd name="connsiteY109" fmla="*/ 1134864 h 1342734"/>
              <a:gd name="connsiteX110" fmla="*/ 2804398 w 10678681"/>
              <a:gd name="connsiteY110" fmla="*/ 1125556 h 1342734"/>
              <a:gd name="connsiteX111" fmla="*/ 2736109 w 10678681"/>
              <a:gd name="connsiteY111" fmla="*/ 1137717 h 1342734"/>
              <a:gd name="connsiteX112" fmla="*/ 2659096 w 10678681"/>
              <a:gd name="connsiteY112" fmla="*/ 1150294 h 1342734"/>
              <a:gd name="connsiteX113" fmla="*/ 2567088 w 10678681"/>
              <a:gd name="connsiteY113" fmla="*/ 1181781 h 1342734"/>
              <a:gd name="connsiteX114" fmla="*/ 2454501 w 10678681"/>
              <a:gd name="connsiteY114" fmla="*/ 1155455 h 1342734"/>
              <a:gd name="connsiteX115" fmla="*/ 2385161 w 10678681"/>
              <a:gd name="connsiteY115" fmla="*/ 1161312 h 1342734"/>
              <a:gd name="connsiteX116" fmla="*/ 2273361 w 10678681"/>
              <a:gd name="connsiteY116" fmla="*/ 1134090 h 1342734"/>
              <a:gd name="connsiteX117" fmla="*/ 2132003 w 10678681"/>
              <a:gd name="connsiteY117" fmla="*/ 1139225 h 1342734"/>
              <a:gd name="connsiteX118" fmla="*/ 2041224 w 10678681"/>
              <a:gd name="connsiteY118" fmla="*/ 1147536 h 1342734"/>
              <a:gd name="connsiteX119" fmla="*/ 2010157 w 10678681"/>
              <a:gd name="connsiteY119" fmla="*/ 1152767 h 1342734"/>
              <a:gd name="connsiteX120" fmla="*/ 1859213 w 10678681"/>
              <a:gd name="connsiteY120" fmla="*/ 1199540 h 1342734"/>
              <a:gd name="connsiteX121" fmla="*/ 1735877 w 10678681"/>
              <a:gd name="connsiteY121" fmla="*/ 1246527 h 1342734"/>
              <a:gd name="connsiteX122" fmla="*/ 1660167 w 10678681"/>
              <a:gd name="connsiteY122" fmla="*/ 1236849 h 1342734"/>
              <a:gd name="connsiteX123" fmla="*/ 1279827 w 10678681"/>
              <a:gd name="connsiteY123" fmla="*/ 1245307 h 1342734"/>
              <a:gd name="connsiteX124" fmla="*/ 1021737 w 10678681"/>
              <a:gd name="connsiteY124" fmla="*/ 1238739 h 1342734"/>
              <a:gd name="connsiteX125" fmla="*/ 959820 w 10678681"/>
              <a:gd name="connsiteY125" fmla="*/ 1275863 h 1342734"/>
              <a:gd name="connsiteX126" fmla="*/ 929137 w 10678681"/>
              <a:gd name="connsiteY126" fmla="*/ 1273957 h 1342734"/>
              <a:gd name="connsiteX127" fmla="*/ 878849 w 10678681"/>
              <a:gd name="connsiteY127" fmla="*/ 1266740 h 1342734"/>
              <a:gd name="connsiteX128" fmla="*/ 800667 w 10678681"/>
              <a:gd name="connsiteY128" fmla="*/ 1282041 h 1342734"/>
              <a:gd name="connsiteX129" fmla="*/ 644906 w 10678681"/>
              <a:gd name="connsiteY129" fmla="*/ 1273685 h 1342734"/>
              <a:gd name="connsiteX130" fmla="*/ 379869 w 10678681"/>
              <a:gd name="connsiteY130" fmla="*/ 1339165 h 1342734"/>
              <a:gd name="connsiteX131" fmla="*/ 137696 w 10678681"/>
              <a:gd name="connsiteY131" fmla="*/ 1319217 h 1342734"/>
              <a:gd name="connsiteX132" fmla="*/ 54250 w 10678681"/>
              <a:gd name="connsiteY132" fmla="*/ 1315838 h 1342734"/>
              <a:gd name="connsiteX133" fmla="*/ 28042 w 10678681"/>
              <a:gd name="connsiteY133" fmla="*/ 1297822 h 1342734"/>
              <a:gd name="connsiteX134" fmla="*/ 0 w 10678681"/>
              <a:gd name="connsiteY134" fmla="*/ 1294612 h 1342734"/>
              <a:gd name="connsiteX135" fmla="*/ 0 w 10678681"/>
              <a:gd name="connsiteY135" fmla="*/ 0 h 1342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0678681" h="1342734">
                <a:moveTo>
                  <a:pt x="0" y="0"/>
                </a:moveTo>
                <a:lnTo>
                  <a:pt x="10678681" y="0"/>
                </a:lnTo>
                <a:lnTo>
                  <a:pt x="10666019" y="7876"/>
                </a:lnTo>
                <a:cubicBezTo>
                  <a:pt x="10653407" y="16166"/>
                  <a:pt x="10642107" y="24244"/>
                  <a:pt x="10632825" y="32153"/>
                </a:cubicBezTo>
                <a:cubicBezTo>
                  <a:pt x="10592272" y="36323"/>
                  <a:pt x="10556884" y="50892"/>
                  <a:pt x="10516219" y="45588"/>
                </a:cubicBezTo>
                <a:cubicBezTo>
                  <a:pt x="10497465" y="38035"/>
                  <a:pt x="10481313" y="25649"/>
                  <a:pt x="10456989" y="979"/>
                </a:cubicBezTo>
                <a:cubicBezTo>
                  <a:pt x="10458435" y="21260"/>
                  <a:pt x="10448472" y="9612"/>
                  <a:pt x="10438642" y="1524"/>
                </a:cubicBezTo>
                <a:cubicBezTo>
                  <a:pt x="10430119" y="11702"/>
                  <a:pt x="10417632" y="41266"/>
                  <a:pt x="10407146" y="43659"/>
                </a:cubicBezTo>
                <a:cubicBezTo>
                  <a:pt x="10379701" y="2826"/>
                  <a:pt x="10370665" y="125005"/>
                  <a:pt x="10341159" y="103824"/>
                </a:cubicBezTo>
                <a:cubicBezTo>
                  <a:pt x="10332001" y="120367"/>
                  <a:pt x="10274736" y="115685"/>
                  <a:pt x="10244930" y="94599"/>
                </a:cubicBezTo>
                <a:cubicBezTo>
                  <a:pt x="10189350" y="132718"/>
                  <a:pt x="10178914" y="158571"/>
                  <a:pt x="10115334" y="155658"/>
                </a:cubicBezTo>
                <a:cubicBezTo>
                  <a:pt x="10110816" y="185325"/>
                  <a:pt x="10047419" y="166765"/>
                  <a:pt x="10068157" y="215673"/>
                </a:cubicBezTo>
                <a:cubicBezTo>
                  <a:pt x="10047157" y="216184"/>
                  <a:pt x="10029060" y="198149"/>
                  <a:pt x="10045431" y="229568"/>
                </a:cubicBezTo>
                <a:cubicBezTo>
                  <a:pt x="10018897" y="234017"/>
                  <a:pt x="9963426" y="205273"/>
                  <a:pt x="9929077" y="209062"/>
                </a:cubicBezTo>
                <a:cubicBezTo>
                  <a:pt x="9910475" y="224494"/>
                  <a:pt x="9890198" y="272419"/>
                  <a:pt x="9840045" y="223033"/>
                </a:cubicBezTo>
                <a:cubicBezTo>
                  <a:pt x="9789999" y="276055"/>
                  <a:pt x="9744257" y="186744"/>
                  <a:pt x="9679639" y="247182"/>
                </a:cubicBezTo>
                <a:cubicBezTo>
                  <a:pt x="9634736" y="215294"/>
                  <a:pt x="9537501" y="238016"/>
                  <a:pt x="9498347" y="244723"/>
                </a:cubicBezTo>
                <a:cubicBezTo>
                  <a:pt x="9450379" y="244255"/>
                  <a:pt x="9394227" y="293607"/>
                  <a:pt x="9366026" y="299024"/>
                </a:cubicBezTo>
                <a:cubicBezTo>
                  <a:pt x="9341424" y="298595"/>
                  <a:pt x="9297504" y="338146"/>
                  <a:pt x="9316702" y="356523"/>
                </a:cubicBezTo>
                <a:cubicBezTo>
                  <a:pt x="9228105" y="319675"/>
                  <a:pt x="9206375" y="367221"/>
                  <a:pt x="9121744" y="365177"/>
                </a:cubicBezTo>
                <a:cubicBezTo>
                  <a:pt x="9093808" y="425910"/>
                  <a:pt x="9103257" y="373647"/>
                  <a:pt x="9061654" y="393730"/>
                </a:cubicBezTo>
                <a:cubicBezTo>
                  <a:pt x="9060114" y="344357"/>
                  <a:pt x="9015442" y="432718"/>
                  <a:pt x="8997577" y="380865"/>
                </a:cubicBezTo>
                <a:cubicBezTo>
                  <a:pt x="8969550" y="402056"/>
                  <a:pt x="8954076" y="446763"/>
                  <a:pt x="8907968" y="447345"/>
                </a:cubicBezTo>
                <a:cubicBezTo>
                  <a:pt x="8864369" y="428134"/>
                  <a:pt x="8818646" y="497461"/>
                  <a:pt x="8764163" y="471000"/>
                </a:cubicBezTo>
                <a:cubicBezTo>
                  <a:pt x="8744747" y="465539"/>
                  <a:pt x="8688469" y="474754"/>
                  <a:pt x="8680155" y="492404"/>
                </a:cubicBezTo>
                <a:cubicBezTo>
                  <a:pt x="8668902" y="497604"/>
                  <a:pt x="8654338" y="493892"/>
                  <a:pt x="8651436" y="511923"/>
                </a:cubicBezTo>
                <a:cubicBezTo>
                  <a:pt x="8645505" y="533975"/>
                  <a:pt x="8599739" y="507897"/>
                  <a:pt x="8609185" y="531525"/>
                </a:cubicBezTo>
                <a:cubicBezTo>
                  <a:pt x="8576806" y="513805"/>
                  <a:pt x="8560019" y="560634"/>
                  <a:pt x="8537091" y="574933"/>
                </a:cubicBezTo>
                <a:cubicBezTo>
                  <a:pt x="8510928" y="556486"/>
                  <a:pt x="8488623" y="604682"/>
                  <a:pt x="8435931" y="617926"/>
                </a:cubicBezTo>
                <a:cubicBezTo>
                  <a:pt x="8406978" y="596402"/>
                  <a:pt x="8400500" y="627188"/>
                  <a:pt x="8348623" y="600607"/>
                </a:cubicBezTo>
                <a:cubicBezTo>
                  <a:pt x="8347650" y="604255"/>
                  <a:pt x="8320537" y="587451"/>
                  <a:pt x="8276883" y="588214"/>
                </a:cubicBezTo>
                <a:cubicBezTo>
                  <a:pt x="8233229" y="588977"/>
                  <a:pt x="8147007" y="602039"/>
                  <a:pt x="8086698" y="605185"/>
                </a:cubicBezTo>
                <a:cubicBezTo>
                  <a:pt x="8018754" y="612533"/>
                  <a:pt x="8076794" y="658105"/>
                  <a:pt x="7982378" y="629799"/>
                </a:cubicBezTo>
                <a:cubicBezTo>
                  <a:pt x="7978309" y="650417"/>
                  <a:pt x="7968020" y="653434"/>
                  <a:pt x="7947952" y="648003"/>
                </a:cubicBezTo>
                <a:cubicBezTo>
                  <a:pt x="7915301" y="652980"/>
                  <a:pt x="7930086" y="699793"/>
                  <a:pt x="7890112" y="677915"/>
                </a:cubicBezTo>
                <a:cubicBezTo>
                  <a:pt x="7902561" y="702153"/>
                  <a:pt x="7831508" y="700184"/>
                  <a:pt x="7853284" y="723588"/>
                </a:cubicBezTo>
                <a:cubicBezTo>
                  <a:pt x="7838304" y="751013"/>
                  <a:pt x="7817999" y="714992"/>
                  <a:pt x="7802383" y="739359"/>
                </a:cubicBezTo>
                <a:cubicBezTo>
                  <a:pt x="7781922" y="742015"/>
                  <a:pt x="7755431" y="732207"/>
                  <a:pt x="7730518" y="739526"/>
                </a:cubicBezTo>
                <a:cubicBezTo>
                  <a:pt x="7716802" y="743091"/>
                  <a:pt x="7733019" y="753459"/>
                  <a:pt x="7720084" y="760750"/>
                </a:cubicBezTo>
                <a:cubicBezTo>
                  <a:pt x="7707149" y="768041"/>
                  <a:pt x="7671920" y="776612"/>
                  <a:pt x="7652907" y="783273"/>
                </a:cubicBezTo>
                <a:cubicBezTo>
                  <a:pt x="7630163" y="772504"/>
                  <a:pt x="7616976" y="783101"/>
                  <a:pt x="7606008" y="800717"/>
                </a:cubicBezTo>
                <a:cubicBezTo>
                  <a:pt x="7561224" y="806541"/>
                  <a:pt x="7527083" y="837162"/>
                  <a:pt x="7480223" y="856821"/>
                </a:cubicBezTo>
                <a:cubicBezTo>
                  <a:pt x="7422566" y="851729"/>
                  <a:pt x="7406130" y="898621"/>
                  <a:pt x="7356005" y="919462"/>
                </a:cubicBezTo>
                <a:cubicBezTo>
                  <a:pt x="7301710" y="896412"/>
                  <a:pt x="7327853" y="963334"/>
                  <a:pt x="7305396" y="986228"/>
                </a:cubicBezTo>
                <a:lnTo>
                  <a:pt x="7266251" y="967864"/>
                </a:lnTo>
                <a:lnTo>
                  <a:pt x="7258094" y="990679"/>
                </a:lnTo>
                <a:lnTo>
                  <a:pt x="7257893" y="991204"/>
                </a:lnTo>
                <a:lnTo>
                  <a:pt x="7247153" y="991550"/>
                </a:lnTo>
                <a:cubicBezTo>
                  <a:pt x="7228850" y="991013"/>
                  <a:pt x="7210872" y="989423"/>
                  <a:pt x="7193612" y="987042"/>
                </a:cubicBezTo>
                <a:cubicBezTo>
                  <a:pt x="7184018" y="1016185"/>
                  <a:pt x="7117645" y="991054"/>
                  <a:pt x="7132632" y="1042036"/>
                </a:cubicBezTo>
                <a:cubicBezTo>
                  <a:pt x="7109597" y="1040358"/>
                  <a:pt x="7092653" y="1020472"/>
                  <a:pt x="7105610" y="1053537"/>
                </a:cubicBezTo>
                <a:cubicBezTo>
                  <a:pt x="7098186" y="1053959"/>
                  <a:pt x="7071669" y="1042250"/>
                  <a:pt x="7069148" y="1047163"/>
                </a:cubicBezTo>
                <a:lnTo>
                  <a:pt x="7039634" y="1059971"/>
                </a:lnTo>
                <a:lnTo>
                  <a:pt x="7033445" y="1063314"/>
                </a:lnTo>
                <a:lnTo>
                  <a:pt x="6999157" y="1055282"/>
                </a:lnTo>
                <a:lnTo>
                  <a:pt x="6981874" y="1053827"/>
                </a:lnTo>
                <a:lnTo>
                  <a:pt x="6976102" y="1047854"/>
                </a:lnTo>
                <a:cubicBezTo>
                  <a:pt x="6970359" y="1044495"/>
                  <a:pt x="6962768" y="1043656"/>
                  <a:pt x="6951040" y="1048531"/>
                </a:cubicBezTo>
                <a:lnTo>
                  <a:pt x="6948497" y="1050706"/>
                </a:lnTo>
                <a:lnTo>
                  <a:pt x="6926582" y="1043462"/>
                </a:lnTo>
                <a:cubicBezTo>
                  <a:pt x="6919310" y="1039773"/>
                  <a:pt x="6839625" y="1034777"/>
                  <a:pt x="6833743" y="1027960"/>
                </a:cubicBezTo>
                <a:cubicBezTo>
                  <a:pt x="6776335" y="1015119"/>
                  <a:pt x="6761260" y="1047430"/>
                  <a:pt x="6687090" y="1063250"/>
                </a:cubicBezTo>
                <a:cubicBezTo>
                  <a:pt x="6621041" y="1075436"/>
                  <a:pt x="6482366" y="1074217"/>
                  <a:pt x="6431838" y="1063226"/>
                </a:cubicBezTo>
                <a:cubicBezTo>
                  <a:pt x="6405016" y="1060235"/>
                  <a:pt x="6309698" y="1067799"/>
                  <a:pt x="6327795" y="1088142"/>
                </a:cubicBezTo>
                <a:cubicBezTo>
                  <a:pt x="6241699" y="1050273"/>
                  <a:pt x="6228725" y="1111123"/>
                  <a:pt x="6136549" y="1100268"/>
                </a:cubicBezTo>
                <a:cubicBezTo>
                  <a:pt x="6096483" y="1157984"/>
                  <a:pt x="6053277" y="1099229"/>
                  <a:pt x="6004655" y="1114946"/>
                </a:cubicBezTo>
                <a:cubicBezTo>
                  <a:pt x="6010724" y="1065500"/>
                  <a:pt x="5948029" y="1149051"/>
                  <a:pt x="5936643" y="1095428"/>
                </a:cubicBezTo>
                <a:cubicBezTo>
                  <a:pt x="5928154" y="1099986"/>
                  <a:pt x="5920290" y="1106094"/>
                  <a:pt x="5912484" y="1112624"/>
                </a:cubicBezTo>
                <a:lnTo>
                  <a:pt x="5908387" y="1116018"/>
                </a:lnTo>
                <a:lnTo>
                  <a:pt x="5890495" y="1120268"/>
                </a:lnTo>
                <a:lnTo>
                  <a:pt x="5887318" y="1133134"/>
                </a:lnTo>
                <a:lnTo>
                  <a:pt x="5861726" y="1147891"/>
                </a:lnTo>
                <a:cubicBezTo>
                  <a:pt x="5851855" y="1151615"/>
                  <a:pt x="5818443" y="1153513"/>
                  <a:pt x="5805823" y="1152457"/>
                </a:cubicBezTo>
                <a:cubicBezTo>
                  <a:pt x="5761190" y="1128740"/>
                  <a:pt x="5745234" y="1208320"/>
                  <a:pt x="5689841" y="1176232"/>
                </a:cubicBezTo>
                <a:cubicBezTo>
                  <a:pt x="5645165" y="1182523"/>
                  <a:pt x="5638674" y="1185346"/>
                  <a:pt x="5605119" y="1190202"/>
                </a:cubicBezTo>
                <a:cubicBezTo>
                  <a:pt x="5595173" y="1211597"/>
                  <a:pt x="5481899" y="1180798"/>
                  <a:pt x="5488513" y="1205367"/>
                </a:cubicBezTo>
                <a:cubicBezTo>
                  <a:pt x="5455905" y="1184307"/>
                  <a:pt x="5430208" y="1229302"/>
                  <a:pt x="5402905" y="1241191"/>
                </a:cubicBezTo>
                <a:cubicBezTo>
                  <a:pt x="5353635" y="1248161"/>
                  <a:pt x="5228965" y="1244549"/>
                  <a:pt x="5192893" y="1247188"/>
                </a:cubicBezTo>
                <a:cubicBezTo>
                  <a:pt x="5191257" y="1250727"/>
                  <a:pt x="5178909" y="1254361"/>
                  <a:pt x="5164025" y="1257028"/>
                </a:cubicBezTo>
                <a:cubicBezTo>
                  <a:pt x="5149141" y="1259695"/>
                  <a:pt x="5121746" y="1277136"/>
                  <a:pt x="5103589" y="1263189"/>
                </a:cubicBezTo>
                <a:cubicBezTo>
                  <a:pt x="5020856" y="1221392"/>
                  <a:pt x="4961920" y="1251721"/>
                  <a:pt x="4894688" y="1247184"/>
                </a:cubicBezTo>
                <a:cubicBezTo>
                  <a:pt x="4819279" y="1247443"/>
                  <a:pt x="4886780" y="1276272"/>
                  <a:pt x="4788036" y="1238182"/>
                </a:cubicBezTo>
                <a:cubicBezTo>
                  <a:pt x="4780353" y="1258340"/>
                  <a:pt x="4768632" y="1260281"/>
                  <a:pt x="4747555" y="1252768"/>
                </a:cubicBezTo>
                <a:cubicBezTo>
                  <a:pt x="4711089" y="1254336"/>
                  <a:pt x="4719897" y="1302605"/>
                  <a:pt x="4679644" y="1276603"/>
                </a:cubicBezTo>
                <a:cubicBezTo>
                  <a:pt x="4651415" y="1288933"/>
                  <a:pt x="4636594" y="1288316"/>
                  <a:pt x="4617473" y="1296467"/>
                </a:cubicBezTo>
                <a:lnTo>
                  <a:pt x="4564919" y="1325507"/>
                </a:lnTo>
                <a:lnTo>
                  <a:pt x="4566586" y="1316963"/>
                </a:lnTo>
                <a:cubicBezTo>
                  <a:pt x="4569057" y="1308855"/>
                  <a:pt x="4571069" y="1299935"/>
                  <a:pt x="4556303" y="1300262"/>
                </a:cubicBezTo>
                <a:cubicBezTo>
                  <a:pt x="4525488" y="1305073"/>
                  <a:pt x="4517133" y="1269079"/>
                  <a:pt x="4502358" y="1302558"/>
                </a:cubicBezTo>
                <a:lnTo>
                  <a:pt x="4498919" y="1312115"/>
                </a:lnTo>
                <a:lnTo>
                  <a:pt x="4492075" y="1313357"/>
                </a:lnTo>
                <a:cubicBezTo>
                  <a:pt x="4488463" y="1312870"/>
                  <a:pt x="4486534" y="1310394"/>
                  <a:pt x="4487466" y="1304102"/>
                </a:cubicBezTo>
                <a:cubicBezTo>
                  <a:pt x="4457512" y="1328789"/>
                  <a:pt x="4426787" y="1287064"/>
                  <a:pt x="4398292" y="1278410"/>
                </a:cubicBezTo>
                <a:cubicBezTo>
                  <a:pt x="4375210" y="1302378"/>
                  <a:pt x="4366248" y="1283298"/>
                  <a:pt x="4306088" y="1282512"/>
                </a:cubicBezTo>
                <a:cubicBezTo>
                  <a:pt x="4280844" y="1310113"/>
                  <a:pt x="4237476" y="1258925"/>
                  <a:pt x="4188995" y="1296718"/>
                </a:cubicBezTo>
                <a:cubicBezTo>
                  <a:pt x="4186961" y="1293392"/>
                  <a:pt x="4157312" y="1287787"/>
                  <a:pt x="4136582" y="1287687"/>
                </a:cubicBezTo>
                <a:cubicBezTo>
                  <a:pt x="4115852" y="1287587"/>
                  <a:pt x="4081037" y="1280166"/>
                  <a:pt x="4064614" y="1296118"/>
                </a:cubicBezTo>
                <a:cubicBezTo>
                  <a:pt x="3987264" y="1347194"/>
                  <a:pt x="3967205" y="1309881"/>
                  <a:pt x="3900948" y="1322156"/>
                </a:cubicBezTo>
                <a:cubicBezTo>
                  <a:pt x="3826014" y="1330612"/>
                  <a:pt x="3831060" y="1333478"/>
                  <a:pt x="3787890" y="1322164"/>
                </a:cubicBezTo>
                <a:cubicBezTo>
                  <a:pt x="3777929" y="1303028"/>
                  <a:pt x="3766063" y="1332733"/>
                  <a:pt x="3745993" y="1342630"/>
                </a:cubicBezTo>
                <a:cubicBezTo>
                  <a:pt x="3709591" y="1345286"/>
                  <a:pt x="3712765" y="1296323"/>
                  <a:pt x="3675785" y="1326802"/>
                </a:cubicBezTo>
                <a:cubicBezTo>
                  <a:pt x="3682573" y="1300349"/>
                  <a:pt x="3606829" y="1318588"/>
                  <a:pt x="3623856" y="1290804"/>
                </a:cubicBezTo>
                <a:cubicBezTo>
                  <a:pt x="3600335" y="1267550"/>
                  <a:pt x="3588308" y="1307279"/>
                  <a:pt x="3564933" y="1287147"/>
                </a:cubicBezTo>
                <a:cubicBezTo>
                  <a:pt x="3538420" y="1283043"/>
                  <a:pt x="3579946" y="1314789"/>
                  <a:pt x="3550537" y="1317552"/>
                </a:cubicBezTo>
                <a:cubicBezTo>
                  <a:pt x="3514920" y="1316159"/>
                  <a:pt x="3514600" y="1364317"/>
                  <a:pt x="3487736" y="1303493"/>
                </a:cubicBezTo>
                <a:cubicBezTo>
                  <a:pt x="3450312" y="1319195"/>
                  <a:pt x="3443340" y="1291726"/>
                  <a:pt x="3392548" y="1278741"/>
                </a:cubicBezTo>
                <a:cubicBezTo>
                  <a:pt x="3371053" y="1294449"/>
                  <a:pt x="3354022" y="1287164"/>
                  <a:pt x="3337466" y="1272537"/>
                </a:cubicBezTo>
                <a:cubicBezTo>
                  <a:pt x="3287808" y="1277154"/>
                  <a:pt x="3231625" y="1217343"/>
                  <a:pt x="3175981" y="1208973"/>
                </a:cubicBezTo>
                <a:cubicBezTo>
                  <a:pt x="3115467" y="1227175"/>
                  <a:pt x="3096324" y="1223154"/>
                  <a:pt x="3036856" y="1214383"/>
                </a:cubicBezTo>
                <a:cubicBezTo>
                  <a:pt x="2976484" y="1195723"/>
                  <a:pt x="2863716" y="1149668"/>
                  <a:pt x="2824973" y="1134864"/>
                </a:cubicBezTo>
                <a:cubicBezTo>
                  <a:pt x="2817752" y="1140972"/>
                  <a:pt x="2802616" y="1134132"/>
                  <a:pt x="2804398" y="1125556"/>
                </a:cubicBezTo>
                <a:cubicBezTo>
                  <a:pt x="2796364" y="1128008"/>
                  <a:pt x="2737660" y="1151579"/>
                  <a:pt x="2736109" y="1137717"/>
                </a:cubicBezTo>
                <a:cubicBezTo>
                  <a:pt x="2696082" y="1134954"/>
                  <a:pt x="2695314" y="1134322"/>
                  <a:pt x="2659096" y="1150294"/>
                </a:cubicBezTo>
                <a:cubicBezTo>
                  <a:pt x="2582535" y="1124403"/>
                  <a:pt x="2622743" y="1189988"/>
                  <a:pt x="2567088" y="1181781"/>
                </a:cubicBezTo>
                <a:cubicBezTo>
                  <a:pt x="2523074" y="1153322"/>
                  <a:pt x="2505741" y="1175022"/>
                  <a:pt x="2454501" y="1155455"/>
                </a:cubicBezTo>
                <a:cubicBezTo>
                  <a:pt x="2435184" y="1199648"/>
                  <a:pt x="2405890" y="1149324"/>
                  <a:pt x="2385161" y="1161312"/>
                </a:cubicBezTo>
                <a:cubicBezTo>
                  <a:pt x="2329714" y="1166582"/>
                  <a:pt x="2322102" y="1137771"/>
                  <a:pt x="2273361" y="1134090"/>
                </a:cubicBezTo>
                <a:cubicBezTo>
                  <a:pt x="2270204" y="1112590"/>
                  <a:pt x="2164540" y="1136821"/>
                  <a:pt x="2132003" y="1139225"/>
                </a:cubicBezTo>
                <a:cubicBezTo>
                  <a:pt x="2119616" y="1127805"/>
                  <a:pt x="2068429" y="1132839"/>
                  <a:pt x="2041224" y="1147536"/>
                </a:cubicBezTo>
                <a:cubicBezTo>
                  <a:pt x="2072319" y="1178143"/>
                  <a:pt x="2006941" y="1118646"/>
                  <a:pt x="2010157" y="1152767"/>
                </a:cubicBezTo>
                <a:cubicBezTo>
                  <a:pt x="1976080" y="1167742"/>
                  <a:pt x="1904926" y="1183913"/>
                  <a:pt x="1859213" y="1199540"/>
                </a:cubicBezTo>
                <a:cubicBezTo>
                  <a:pt x="1837985" y="1173314"/>
                  <a:pt x="1772946" y="1249813"/>
                  <a:pt x="1735877" y="1246527"/>
                </a:cubicBezTo>
                <a:cubicBezTo>
                  <a:pt x="1727774" y="1263559"/>
                  <a:pt x="1674382" y="1247072"/>
                  <a:pt x="1660167" y="1236849"/>
                </a:cubicBezTo>
                <a:cubicBezTo>
                  <a:pt x="1541640" y="1221134"/>
                  <a:pt x="1352140" y="1267338"/>
                  <a:pt x="1279827" y="1245307"/>
                </a:cubicBezTo>
                <a:lnTo>
                  <a:pt x="1021737" y="1238739"/>
                </a:lnTo>
                <a:cubicBezTo>
                  <a:pt x="1011829" y="1264670"/>
                  <a:pt x="960483" y="1235921"/>
                  <a:pt x="959820" y="1275863"/>
                </a:cubicBezTo>
                <a:cubicBezTo>
                  <a:pt x="950745" y="1291685"/>
                  <a:pt x="934594" y="1289700"/>
                  <a:pt x="929137" y="1273957"/>
                </a:cubicBezTo>
                <a:cubicBezTo>
                  <a:pt x="909281" y="1275184"/>
                  <a:pt x="894620" y="1293444"/>
                  <a:pt x="878849" y="1266740"/>
                </a:cubicBezTo>
                <a:cubicBezTo>
                  <a:pt x="851668" y="1267510"/>
                  <a:pt x="816599" y="1322523"/>
                  <a:pt x="800667" y="1282041"/>
                </a:cubicBezTo>
                <a:cubicBezTo>
                  <a:pt x="741645" y="1285469"/>
                  <a:pt x="699773" y="1269716"/>
                  <a:pt x="644906" y="1273685"/>
                </a:cubicBezTo>
                <a:cubicBezTo>
                  <a:pt x="541527" y="1321342"/>
                  <a:pt x="446058" y="1236106"/>
                  <a:pt x="379869" y="1339165"/>
                </a:cubicBezTo>
                <a:cubicBezTo>
                  <a:pt x="292000" y="1296022"/>
                  <a:pt x="211611" y="1323804"/>
                  <a:pt x="137696" y="1319217"/>
                </a:cubicBezTo>
                <a:cubicBezTo>
                  <a:pt x="102121" y="1327987"/>
                  <a:pt x="88791" y="1285209"/>
                  <a:pt x="54250" y="1315838"/>
                </a:cubicBezTo>
                <a:cubicBezTo>
                  <a:pt x="49461" y="1305340"/>
                  <a:pt x="39595" y="1300426"/>
                  <a:pt x="28042" y="1297822"/>
                </a:cubicBezTo>
                <a:lnTo>
                  <a:pt x="0" y="1294612"/>
                </a:lnTo>
                <a:lnTo>
                  <a:pt x="0" y="0"/>
                </a:lnTo>
                <a:close/>
              </a:path>
            </a:pathLst>
          </a:custGeom>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Bembo"/>
              <a:ea typeface="+mn-ea"/>
              <a:cs typeface="+mn-cs"/>
            </a:endParaRPr>
          </a:p>
        </p:txBody>
      </p:sp>
      <p:sp>
        <p:nvSpPr>
          <p:cNvPr id="21" name="Freeform: Shape 20">
            <a:extLst>
              <a:ext uri="{FF2B5EF4-FFF2-40B4-BE49-F238E27FC236}">
                <a16:creationId xmlns:a16="http://schemas.microsoft.com/office/drawing/2014/main" id="{22F67449-199C-45EB-BB1F-61EEC28C320A}"/>
              </a:ext>
              <a:ext uri="{C183D7F6-B498-43B3-948B-1728B52AA6E4}">
                <adec:decorative xmlns:adec="http://schemas.microsoft.com/office/drawing/2017/decorative" val="1"/>
              </a:ext>
            </a:extLst>
          </p:cNvPr>
          <p:cNvSpPr/>
          <p:nvPr userDrawn="1"/>
        </p:nvSpPr>
        <p:spPr>
          <a:xfrm>
            <a:off x="5307097" y="6114200"/>
            <a:ext cx="6884902" cy="743798"/>
          </a:xfrm>
          <a:custGeom>
            <a:avLst/>
            <a:gdLst>
              <a:gd name="connsiteX0" fmla="*/ 6884902 w 6884902"/>
              <a:gd name="connsiteY0" fmla="*/ 0 h 743798"/>
              <a:gd name="connsiteX1" fmla="*/ 6884902 w 6884902"/>
              <a:gd name="connsiteY1" fmla="*/ 743798 h 743798"/>
              <a:gd name="connsiteX2" fmla="*/ 0 w 6884902"/>
              <a:gd name="connsiteY2" fmla="*/ 743798 h 743798"/>
              <a:gd name="connsiteX3" fmla="*/ 27126 w 6884902"/>
              <a:gd name="connsiteY3" fmla="*/ 734875 h 743798"/>
              <a:gd name="connsiteX4" fmla="*/ 115379 w 6884902"/>
              <a:gd name="connsiteY4" fmla="*/ 742294 h 743798"/>
              <a:gd name="connsiteX5" fmla="*/ 119085 w 6884902"/>
              <a:gd name="connsiteY5" fmla="*/ 735518 h 743798"/>
              <a:gd name="connsiteX6" fmla="*/ 171815 w 6884902"/>
              <a:gd name="connsiteY6" fmla="*/ 725758 h 743798"/>
              <a:gd name="connsiteX7" fmla="*/ 376446 w 6884902"/>
              <a:gd name="connsiteY7" fmla="*/ 728420 h 743798"/>
              <a:gd name="connsiteX8" fmla="*/ 478937 w 6884902"/>
              <a:gd name="connsiteY8" fmla="*/ 708330 h 743798"/>
              <a:gd name="connsiteX9" fmla="*/ 512102 w 6884902"/>
              <a:gd name="connsiteY9" fmla="*/ 695257 h 743798"/>
              <a:gd name="connsiteX10" fmla="*/ 567866 w 6884902"/>
              <a:gd name="connsiteY10" fmla="*/ 673724 h 743798"/>
              <a:gd name="connsiteX11" fmla="*/ 601635 w 6884902"/>
              <a:gd name="connsiteY11" fmla="*/ 642996 h 743798"/>
              <a:gd name="connsiteX12" fmla="*/ 651399 w 6884902"/>
              <a:gd name="connsiteY12" fmla="*/ 630790 h 743798"/>
              <a:gd name="connsiteX13" fmla="*/ 673188 w 6884902"/>
              <a:gd name="connsiteY13" fmla="*/ 646879 h 743798"/>
              <a:gd name="connsiteX14" fmla="*/ 723099 w 6884902"/>
              <a:gd name="connsiteY14" fmla="*/ 627680 h 743798"/>
              <a:gd name="connsiteX15" fmla="*/ 797690 w 6884902"/>
              <a:gd name="connsiteY15" fmla="*/ 596478 h 743798"/>
              <a:gd name="connsiteX16" fmla="*/ 843350 w 6884902"/>
              <a:gd name="connsiteY16" fmla="*/ 583370 h 743798"/>
              <a:gd name="connsiteX17" fmla="*/ 965206 w 6884902"/>
              <a:gd name="connsiteY17" fmla="*/ 542258 h 743798"/>
              <a:gd name="connsiteX18" fmla="*/ 1085071 w 6884902"/>
              <a:gd name="connsiteY18" fmla="*/ 497034 h 743798"/>
              <a:gd name="connsiteX19" fmla="*/ 1131215 w 6884902"/>
              <a:gd name="connsiteY19" fmla="*/ 452250 h 743798"/>
              <a:gd name="connsiteX20" fmla="*/ 1138042 w 6884902"/>
              <a:gd name="connsiteY20" fmla="*/ 449608 h 743798"/>
              <a:gd name="connsiteX21" fmla="*/ 1158791 w 6884902"/>
              <a:gd name="connsiteY21" fmla="*/ 448308 h 743798"/>
              <a:gd name="connsiteX22" fmla="*/ 1166938 w 6884902"/>
              <a:gd name="connsiteY22" fmla="*/ 448793 h 743798"/>
              <a:gd name="connsiteX23" fmla="*/ 1178126 w 6884902"/>
              <a:gd name="connsiteY23" fmla="*/ 447429 h 743798"/>
              <a:gd name="connsiteX24" fmla="*/ 1178292 w 6884902"/>
              <a:gd name="connsiteY24" fmla="*/ 447085 h 743798"/>
              <a:gd name="connsiteX25" fmla="*/ 1188986 w 6884902"/>
              <a:gd name="connsiteY25" fmla="*/ 446415 h 743798"/>
              <a:gd name="connsiteX26" fmla="*/ 1242707 w 6884902"/>
              <a:gd name="connsiteY26" fmla="*/ 447058 h 743798"/>
              <a:gd name="connsiteX27" fmla="*/ 1299968 w 6884902"/>
              <a:gd name="connsiteY27" fmla="*/ 409364 h 743798"/>
              <a:gd name="connsiteX28" fmla="*/ 1326181 w 6884902"/>
              <a:gd name="connsiteY28" fmla="*/ 400884 h 743798"/>
              <a:gd name="connsiteX29" fmla="*/ 1339591 w 6884902"/>
              <a:gd name="connsiteY29" fmla="*/ 394698 h 743798"/>
              <a:gd name="connsiteX30" fmla="*/ 1340045 w 6884902"/>
              <a:gd name="connsiteY30" fmla="*/ 393242 h 743798"/>
              <a:gd name="connsiteX31" fmla="*/ 1391597 w 6884902"/>
              <a:gd name="connsiteY31" fmla="*/ 394015 h 743798"/>
              <a:gd name="connsiteX32" fmla="*/ 1397556 w 6884902"/>
              <a:gd name="connsiteY32" fmla="*/ 391620 h 743798"/>
              <a:gd name="connsiteX33" fmla="*/ 1432293 w 6884902"/>
              <a:gd name="connsiteY33" fmla="*/ 395320 h 743798"/>
              <a:gd name="connsiteX34" fmla="*/ 1449635 w 6884902"/>
              <a:gd name="connsiteY34" fmla="*/ 395528 h 743798"/>
              <a:gd name="connsiteX35" fmla="*/ 1455784 w 6884902"/>
              <a:gd name="connsiteY35" fmla="*/ 399103 h 743798"/>
              <a:gd name="connsiteX36" fmla="*/ 1480749 w 6884902"/>
              <a:gd name="connsiteY36" fmla="*/ 397623 h 743798"/>
              <a:gd name="connsiteX37" fmla="*/ 1483145 w 6884902"/>
              <a:gd name="connsiteY37" fmla="*/ 396127 h 743798"/>
              <a:gd name="connsiteX38" fmla="*/ 1505486 w 6884902"/>
              <a:gd name="connsiteY38" fmla="*/ 399840 h 743798"/>
              <a:gd name="connsiteX39" fmla="*/ 1526331 w 6884902"/>
              <a:gd name="connsiteY39" fmla="*/ 408916 h 743798"/>
              <a:gd name="connsiteX40" fmla="*/ 1731977 w 6884902"/>
              <a:gd name="connsiteY40" fmla="*/ 377654 h 743798"/>
              <a:gd name="connsiteX41" fmla="*/ 1927926 w 6884902"/>
              <a:gd name="connsiteY41" fmla="*/ 402540 h 743798"/>
              <a:gd name="connsiteX42" fmla="*/ 2039066 w 6884902"/>
              <a:gd name="connsiteY42" fmla="*/ 384239 h 743798"/>
              <a:gd name="connsiteX43" fmla="*/ 2066971 w 6884902"/>
              <a:gd name="connsiteY43" fmla="*/ 352504 h 743798"/>
              <a:gd name="connsiteX44" fmla="*/ 2352227 w 6884902"/>
              <a:gd name="connsiteY44" fmla="*/ 332772 h 743798"/>
              <a:gd name="connsiteX45" fmla="*/ 2420782 w 6884902"/>
              <a:gd name="connsiteY45" fmla="*/ 315623 h 743798"/>
              <a:gd name="connsiteX46" fmla="*/ 2489923 w 6884902"/>
              <a:gd name="connsiteY46" fmla="*/ 325254 h 743798"/>
              <a:gd name="connsiteX47" fmla="*/ 2512908 w 6884902"/>
              <a:gd name="connsiteY47" fmla="*/ 313254 h 743798"/>
              <a:gd name="connsiteX48" fmla="*/ 2516774 w 6884902"/>
              <a:gd name="connsiteY48" fmla="*/ 310914 h 743798"/>
              <a:gd name="connsiteX49" fmla="*/ 2534351 w 6884902"/>
              <a:gd name="connsiteY49" fmla="*/ 307450 h 743798"/>
              <a:gd name="connsiteX50" fmla="*/ 2536682 w 6884902"/>
              <a:gd name="connsiteY50" fmla="*/ 299095 h 743798"/>
              <a:gd name="connsiteX51" fmla="*/ 2561256 w 6884902"/>
              <a:gd name="connsiteY51" fmla="*/ 288595 h 743798"/>
              <a:gd name="connsiteX52" fmla="*/ 2594340 w 6884902"/>
              <a:gd name="connsiteY52" fmla="*/ 284279 h 743798"/>
              <a:gd name="connsiteX53" fmla="*/ 2754315 w 6884902"/>
              <a:gd name="connsiteY53" fmla="*/ 272035 h 743798"/>
              <a:gd name="connsiteX54" fmla="*/ 2848461 w 6884902"/>
              <a:gd name="connsiteY54" fmla="*/ 259995 h 743798"/>
              <a:gd name="connsiteX55" fmla="*/ 2881763 w 6884902"/>
              <a:gd name="connsiteY55" fmla="*/ 248015 h 743798"/>
              <a:gd name="connsiteX56" fmla="*/ 2929923 w 6884902"/>
              <a:gd name="connsiteY56" fmla="*/ 236264 h 743798"/>
              <a:gd name="connsiteX57" fmla="*/ 3013011 w 6884902"/>
              <a:gd name="connsiteY57" fmla="*/ 209792 h 743798"/>
              <a:gd name="connsiteX58" fmla="*/ 3127959 w 6884902"/>
              <a:gd name="connsiteY58" fmla="*/ 184197 h 743798"/>
              <a:gd name="connsiteX59" fmla="*/ 3222182 w 6884902"/>
              <a:gd name="connsiteY59" fmla="*/ 197182 h 743798"/>
              <a:gd name="connsiteX60" fmla="*/ 3227944 w 6884902"/>
              <a:gd name="connsiteY60" fmla="*/ 190625 h 743798"/>
              <a:gd name="connsiteX61" fmla="*/ 3287850 w 6884902"/>
              <a:gd name="connsiteY61" fmla="*/ 184162 h 743798"/>
              <a:gd name="connsiteX62" fmla="*/ 3510033 w 6884902"/>
              <a:gd name="connsiteY62" fmla="*/ 199700 h 743798"/>
              <a:gd name="connsiteX63" fmla="*/ 3626764 w 6884902"/>
              <a:gd name="connsiteY63" fmla="*/ 186016 h 743798"/>
              <a:gd name="connsiteX64" fmla="*/ 3666208 w 6884902"/>
              <a:gd name="connsiteY64" fmla="*/ 175002 h 743798"/>
              <a:gd name="connsiteX65" fmla="*/ 3732418 w 6884902"/>
              <a:gd name="connsiteY65" fmla="*/ 156931 h 743798"/>
              <a:gd name="connsiteX66" fmla="*/ 3777013 w 6884902"/>
              <a:gd name="connsiteY66" fmla="*/ 128263 h 743798"/>
              <a:gd name="connsiteX67" fmla="*/ 3791237 w 6884902"/>
              <a:gd name="connsiteY67" fmla="*/ 121680 h 743798"/>
              <a:gd name="connsiteX68" fmla="*/ 3819855 w 6884902"/>
              <a:gd name="connsiteY68" fmla="*/ 124632 h 743798"/>
              <a:gd name="connsiteX69" fmla="*/ 3830389 w 6884902"/>
              <a:gd name="connsiteY69" fmla="*/ 120647 h 743798"/>
              <a:gd name="connsiteX70" fmla="*/ 3834351 w 6884902"/>
              <a:gd name="connsiteY70" fmla="*/ 121037 h 743798"/>
              <a:gd name="connsiteX71" fmla="*/ 3843706 w 6884902"/>
              <a:gd name="connsiteY71" fmla="*/ 120883 h 743798"/>
              <a:gd name="connsiteX72" fmla="*/ 3842600 w 6884902"/>
              <a:gd name="connsiteY72" fmla="*/ 126413 h 743798"/>
              <a:gd name="connsiteX73" fmla="*/ 3853952 w 6884902"/>
              <a:gd name="connsiteY73" fmla="*/ 136656 h 743798"/>
              <a:gd name="connsiteX74" fmla="*/ 3907631 w 6884902"/>
              <a:gd name="connsiteY74" fmla="*/ 132934 h 743798"/>
              <a:gd name="connsiteX75" fmla="*/ 3910440 w 6884902"/>
              <a:gd name="connsiteY75" fmla="*/ 126683 h 743798"/>
              <a:gd name="connsiteX76" fmla="*/ 3917188 w 6884902"/>
              <a:gd name="connsiteY76" fmla="*/ 125602 h 743798"/>
              <a:gd name="connsiteX77" fmla="*/ 3922391 w 6884902"/>
              <a:gd name="connsiteY77" fmla="*/ 131325 h 743798"/>
              <a:gd name="connsiteX78" fmla="*/ 4013052 w 6884902"/>
              <a:gd name="connsiteY78" fmla="*/ 144017 h 743798"/>
              <a:gd name="connsiteX79" fmla="*/ 4134276 w 6884902"/>
              <a:gd name="connsiteY79" fmla="*/ 150881 h 743798"/>
              <a:gd name="connsiteX80" fmla="*/ 4220708 w 6884902"/>
              <a:gd name="connsiteY80" fmla="*/ 123569 h 743798"/>
              <a:gd name="connsiteX81" fmla="*/ 4228793 w 6884902"/>
              <a:gd name="connsiteY81" fmla="*/ 129027 h 743798"/>
              <a:gd name="connsiteX82" fmla="*/ 4289352 w 6884902"/>
              <a:gd name="connsiteY82" fmla="*/ 125936 h 743798"/>
              <a:gd name="connsiteX83" fmla="*/ 4498904 w 6884902"/>
              <a:gd name="connsiteY83" fmla="*/ 76157 h 743798"/>
              <a:gd name="connsiteX84" fmla="*/ 4617321 w 6884902"/>
              <a:gd name="connsiteY84" fmla="*/ 71192 h 743798"/>
              <a:gd name="connsiteX85" fmla="*/ 4659769 w 6884902"/>
              <a:gd name="connsiteY85" fmla="*/ 75711 h 743798"/>
              <a:gd name="connsiteX86" fmla="*/ 4730861 w 6884902"/>
              <a:gd name="connsiteY86" fmla="*/ 82892 h 743798"/>
              <a:gd name="connsiteX87" fmla="*/ 4785028 w 6884902"/>
              <a:gd name="connsiteY87" fmla="*/ 103727 h 743798"/>
              <a:gd name="connsiteX88" fmla="*/ 4844064 w 6884902"/>
              <a:gd name="connsiteY88" fmla="*/ 103602 h 743798"/>
              <a:gd name="connsiteX89" fmla="*/ 4856445 w 6884902"/>
              <a:gd name="connsiteY89" fmla="*/ 83569 h 743798"/>
              <a:gd name="connsiteX90" fmla="*/ 4920029 w 6884902"/>
              <a:gd name="connsiteY90" fmla="*/ 89928 h 743798"/>
              <a:gd name="connsiteX91" fmla="*/ 5016630 w 6884902"/>
              <a:gd name="connsiteY91" fmla="*/ 101768 h 743798"/>
              <a:gd name="connsiteX92" fmla="*/ 5072000 w 6884902"/>
              <a:gd name="connsiteY92" fmla="*/ 103431 h 743798"/>
              <a:gd name="connsiteX93" fmla="*/ 5223617 w 6884902"/>
              <a:gd name="connsiteY93" fmla="*/ 113585 h 743798"/>
              <a:gd name="connsiteX94" fmla="*/ 5375764 w 6884902"/>
              <a:gd name="connsiteY94" fmla="*/ 128031 h 743798"/>
              <a:gd name="connsiteX95" fmla="*/ 5467493 w 6884902"/>
              <a:gd name="connsiteY95" fmla="*/ 160725 h 743798"/>
              <a:gd name="connsiteX96" fmla="*/ 5592386 w 6884902"/>
              <a:gd name="connsiteY96" fmla="*/ 169993 h 743798"/>
              <a:gd name="connsiteX97" fmla="*/ 5613523 w 6884902"/>
              <a:gd name="connsiteY97" fmla="*/ 175081 h 743798"/>
              <a:gd name="connsiteX98" fmla="*/ 5642164 w 6884902"/>
              <a:gd name="connsiteY98" fmla="*/ 170935 h 743798"/>
              <a:gd name="connsiteX99" fmla="*/ 5756901 w 6884902"/>
              <a:gd name="connsiteY99" fmla="*/ 153199 h 743798"/>
              <a:gd name="connsiteX100" fmla="*/ 5846658 w 6884902"/>
              <a:gd name="connsiteY100" fmla="*/ 129231 h 743798"/>
              <a:gd name="connsiteX101" fmla="*/ 5960723 w 6884902"/>
              <a:gd name="connsiteY101" fmla="*/ 141349 h 743798"/>
              <a:gd name="connsiteX102" fmla="*/ 6029533 w 6884902"/>
              <a:gd name="connsiteY102" fmla="*/ 134708 h 743798"/>
              <a:gd name="connsiteX103" fmla="*/ 6141114 w 6884902"/>
              <a:gd name="connsiteY103" fmla="*/ 102420 h 743798"/>
              <a:gd name="connsiteX104" fmla="*/ 6290631 w 6884902"/>
              <a:gd name="connsiteY104" fmla="*/ 107235 h 743798"/>
              <a:gd name="connsiteX105" fmla="*/ 6322797 w 6884902"/>
              <a:gd name="connsiteY105" fmla="*/ 136600 h 743798"/>
              <a:gd name="connsiteX106" fmla="*/ 6364905 w 6884902"/>
              <a:gd name="connsiteY106" fmla="*/ 153794 h 743798"/>
              <a:gd name="connsiteX107" fmla="*/ 6380411 w 6884902"/>
              <a:gd name="connsiteY107" fmla="*/ 110920 h 743798"/>
              <a:gd name="connsiteX108" fmla="*/ 6507882 w 6884902"/>
              <a:gd name="connsiteY108" fmla="*/ 75874 h 743798"/>
              <a:gd name="connsiteX109" fmla="*/ 6571798 w 6884902"/>
              <a:gd name="connsiteY109" fmla="*/ 63169 h 743798"/>
              <a:gd name="connsiteX110" fmla="*/ 6671871 w 6884902"/>
              <a:gd name="connsiteY110" fmla="*/ 53111 h 743798"/>
              <a:gd name="connsiteX111" fmla="*/ 6702257 w 6884902"/>
              <a:gd name="connsiteY111" fmla="*/ 48333 h 743798"/>
              <a:gd name="connsiteX112" fmla="*/ 6845793 w 6884902"/>
              <a:gd name="connsiteY112" fmla="*/ 15687 h 743798"/>
              <a:gd name="connsiteX113" fmla="*/ 6884902 w 6884902"/>
              <a:gd name="connsiteY113" fmla="*/ 0 h 74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6884902" h="743798">
                <a:moveTo>
                  <a:pt x="6884902" y="0"/>
                </a:moveTo>
                <a:lnTo>
                  <a:pt x="6884902" y="743798"/>
                </a:lnTo>
                <a:lnTo>
                  <a:pt x="0" y="743798"/>
                </a:lnTo>
                <a:lnTo>
                  <a:pt x="27126" y="734875"/>
                </a:lnTo>
                <a:cubicBezTo>
                  <a:pt x="57422" y="747420"/>
                  <a:pt x="61877" y="727475"/>
                  <a:pt x="115379" y="742294"/>
                </a:cubicBezTo>
                <a:cubicBezTo>
                  <a:pt x="116112" y="739922"/>
                  <a:pt x="117361" y="737640"/>
                  <a:pt x="119085" y="735518"/>
                </a:cubicBezTo>
                <a:cubicBezTo>
                  <a:pt x="129112" y="723190"/>
                  <a:pt x="152718" y="718820"/>
                  <a:pt x="171815" y="725758"/>
                </a:cubicBezTo>
                <a:cubicBezTo>
                  <a:pt x="254335" y="743783"/>
                  <a:pt x="315449" y="732160"/>
                  <a:pt x="376446" y="728420"/>
                </a:cubicBezTo>
                <a:cubicBezTo>
                  <a:pt x="443766" y="720884"/>
                  <a:pt x="382876" y="694187"/>
                  <a:pt x="478937" y="708330"/>
                </a:cubicBezTo>
                <a:cubicBezTo>
                  <a:pt x="481653" y="694984"/>
                  <a:pt x="491722" y="692625"/>
                  <a:pt x="512102" y="695257"/>
                </a:cubicBezTo>
                <a:cubicBezTo>
                  <a:pt x="544359" y="690712"/>
                  <a:pt x="526550" y="661413"/>
                  <a:pt x="567866" y="673724"/>
                </a:cubicBezTo>
                <a:cubicBezTo>
                  <a:pt x="553862" y="658754"/>
                  <a:pt x="624892" y="657043"/>
                  <a:pt x="601635" y="642996"/>
                </a:cubicBezTo>
                <a:cubicBezTo>
                  <a:pt x="614794" y="624843"/>
                  <a:pt x="637406" y="647015"/>
                  <a:pt x="651399" y="630790"/>
                </a:cubicBezTo>
                <a:cubicBezTo>
                  <a:pt x="673033" y="623801"/>
                  <a:pt x="646939" y="650176"/>
                  <a:pt x="673188" y="646879"/>
                </a:cubicBezTo>
                <a:cubicBezTo>
                  <a:pt x="703518" y="640000"/>
                  <a:pt x="718617" y="669290"/>
                  <a:pt x="723099" y="627680"/>
                </a:cubicBezTo>
                <a:cubicBezTo>
                  <a:pt x="760253" y="630911"/>
                  <a:pt x="757818" y="612991"/>
                  <a:pt x="797690" y="596478"/>
                </a:cubicBezTo>
                <a:cubicBezTo>
                  <a:pt x="821088" y="602409"/>
                  <a:pt x="833556" y="595087"/>
                  <a:pt x="843350" y="583370"/>
                </a:cubicBezTo>
                <a:cubicBezTo>
                  <a:pt x="887659" y="577776"/>
                  <a:pt x="919729" y="556780"/>
                  <a:pt x="965206" y="542258"/>
                </a:cubicBezTo>
                <a:cubicBezTo>
                  <a:pt x="1023072" y="543102"/>
                  <a:pt x="1036413" y="512448"/>
                  <a:pt x="1085071" y="497034"/>
                </a:cubicBezTo>
                <a:cubicBezTo>
                  <a:pt x="1140754" y="509495"/>
                  <a:pt x="1110300" y="467820"/>
                  <a:pt x="1131215" y="452250"/>
                </a:cubicBezTo>
                <a:lnTo>
                  <a:pt x="1138042" y="449608"/>
                </a:lnTo>
                <a:lnTo>
                  <a:pt x="1158791" y="448308"/>
                </a:lnTo>
                <a:lnTo>
                  <a:pt x="1166938" y="448793"/>
                </a:lnTo>
                <a:cubicBezTo>
                  <a:pt x="1172423" y="448765"/>
                  <a:pt x="1175904" y="448280"/>
                  <a:pt x="1178126" y="447429"/>
                </a:cubicBezTo>
                <a:lnTo>
                  <a:pt x="1178292" y="447085"/>
                </a:lnTo>
                <a:lnTo>
                  <a:pt x="1188986" y="446415"/>
                </a:lnTo>
                <a:cubicBezTo>
                  <a:pt x="1207285" y="445993"/>
                  <a:pt x="1225328" y="446257"/>
                  <a:pt x="1242707" y="447058"/>
                </a:cubicBezTo>
                <a:cubicBezTo>
                  <a:pt x="1250378" y="428032"/>
                  <a:pt x="1318250" y="441319"/>
                  <a:pt x="1299968" y="409364"/>
                </a:cubicBezTo>
                <a:cubicBezTo>
                  <a:pt x="1323063" y="409474"/>
                  <a:pt x="1341270" y="421474"/>
                  <a:pt x="1326181" y="400884"/>
                </a:cubicBezTo>
                <a:cubicBezTo>
                  <a:pt x="1333563" y="400305"/>
                  <a:pt x="1337397" y="397943"/>
                  <a:pt x="1339591" y="394698"/>
                </a:cubicBezTo>
                <a:lnTo>
                  <a:pt x="1340045" y="393242"/>
                </a:lnTo>
                <a:lnTo>
                  <a:pt x="1391597" y="394015"/>
                </a:lnTo>
                <a:lnTo>
                  <a:pt x="1397556" y="391620"/>
                </a:lnTo>
                <a:lnTo>
                  <a:pt x="1432293" y="395320"/>
                </a:lnTo>
                <a:lnTo>
                  <a:pt x="1449635" y="395528"/>
                </a:lnTo>
                <a:lnTo>
                  <a:pt x="1455784" y="399103"/>
                </a:lnTo>
                <a:cubicBezTo>
                  <a:pt x="1461735" y="401010"/>
                  <a:pt x="1469364" y="401229"/>
                  <a:pt x="1480749" y="397623"/>
                </a:cubicBezTo>
                <a:lnTo>
                  <a:pt x="1483145" y="396127"/>
                </a:lnTo>
                <a:lnTo>
                  <a:pt x="1505486" y="399840"/>
                </a:lnTo>
                <a:cubicBezTo>
                  <a:pt x="1512983" y="401894"/>
                  <a:pt x="1520016" y="404806"/>
                  <a:pt x="1526331" y="408916"/>
                </a:cubicBezTo>
                <a:cubicBezTo>
                  <a:pt x="1586104" y="375787"/>
                  <a:pt x="1658997" y="390864"/>
                  <a:pt x="1731977" y="377654"/>
                </a:cubicBezTo>
                <a:cubicBezTo>
                  <a:pt x="1750388" y="335016"/>
                  <a:pt x="1896047" y="367134"/>
                  <a:pt x="1927926" y="402540"/>
                </a:cubicBezTo>
                <a:cubicBezTo>
                  <a:pt x="1912845" y="358531"/>
                  <a:pt x="2112252" y="433157"/>
                  <a:pt x="2039066" y="384239"/>
                </a:cubicBezTo>
                <a:cubicBezTo>
                  <a:pt x="2066027" y="385029"/>
                  <a:pt x="2086357" y="364749"/>
                  <a:pt x="2066971" y="352504"/>
                </a:cubicBezTo>
                <a:cubicBezTo>
                  <a:pt x="2155355" y="373106"/>
                  <a:pt x="2259539" y="329687"/>
                  <a:pt x="2352227" y="332772"/>
                </a:cubicBezTo>
                <a:cubicBezTo>
                  <a:pt x="2388441" y="294212"/>
                  <a:pt x="2373289" y="327699"/>
                  <a:pt x="2420782" y="315623"/>
                </a:cubicBezTo>
                <a:cubicBezTo>
                  <a:pt x="2417953" y="347477"/>
                  <a:pt x="2475062" y="291461"/>
                  <a:pt x="2489923" y="325254"/>
                </a:cubicBezTo>
                <a:cubicBezTo>
                  <a:pt x="2498096" y="321986"/>
                  <a:pt x="2505544" y="317754"/>
                  <a:pt x="2512908" y="313254"/>
                </a:cubicBezTo>
                <a:lnTo>
                  <a:pt x="2516774" y="310914"/>
                </a:lnTo>
                <a:lnTo>
                  <a:pt x="2534351" y="307450"/>
                </a:lnTo>
                <a:lnTo>
                  <a:pt x="2536682" y="299095"/>
                </a:lnTo>
                <a:lnTo>
                  <a:pt x="2561256" y="288595"/>
                </a:lnTo>
                <a:cubicBezTo>
                  <a:pt x="2570863" y="285802"/>
                  <a:pt x="2581677" y="284132"/>
                  <a:pt x="2594340" y="284279"/>
                </a:cubicBezTo>
                <a:cubicBezTo>
                  <a:pt x="2640426" y="297571"/>
                  <a:pt x="2696946" y="253844"/>
                  <a:pt x="2754315" y="272035"/>
                </a:cubicBezTo>
                <a:cubicBezTo>
                  <a:pt x="2775121" y="275961"/>
                  <a:pt x="2837722" y="271198"/>
                  <a:pt x="2848461" y="259995"/>
                </a:cubicBezTo>
                <a:cubicBezTo>
                  <a:pt x="2861286" y="256879"/>
                  <a:pt x="2876927" y="259574"/>
                  <a:pt x="2881763" y="248015"/>
                </a:cubicBezTo>
                <a:cubicBezTo>
                  <a:pt x="2890290" y="233926"/>
                  <a:pt x="2938125" y="251689"/>
                  <a:pt x="2929923" y="236264"/>
                </a:cubicBezTo>
                <a:cubicBezTo>
                  <a:pt x="2963835" y="248360"/>
                  <a:pt x="2986541" y="218531"/>
                  <a:pt x="3013011" y="209792"/>
                </a:cubicBezTo>
                <a:cubicBezTo>
                  <a:pt x="3040032" y="222228"/>
                  <a:pt x="3068925" y="191632"/>
                  <a:pt x="3127959" y="184197"/>
                </a:cubicBezTo>
                <a:cubicBezTo>
                  <a:pt x="3157761" y="198673"/>
                  <a:pt x="3167686" y="178966"/>
                  <a:pt x="3222182" y="197182"/>
                </a:cubicBezTo>
                <a:cubicBezTo>
                  <a:pt x="3223584" y="194852"/>
                  <a:pt x="3225524" y="192643"/>
                  <a:pt x="3227944" y="190625"/>
                </a:cubicBezTo>
                <a:cubicBezTo>
                  <a:pt x="3241999" y="178902"/>
                  <a:pt x="3268822" y="176007"/>
                  <a:pt x="3287850" y="184162"/>
                </a:cubicBezTo>
                <a:cubicBezTo>
                  <a:pt x="3373135" y="207415"/>
                  <a:pt x="3442648" y="199611"/>
                  <a:pt x="3510033" y="199700"/>
                </a:cubicBezTo>
                <a:cubicBezTo>
                  <a:pt x="3585265" y="196384"/>
                  <a:pt x="3525744" y="165800"/>
                  <a:pt x="3626764" y="186016"/>
                </a:cubicBezTo>
                <a:cubicBezTo>
                  <a:pt x="3633115" y="172812"/>
                  <a:pt x="3644684" y="171082"/>
                  <a:pt x="3666208" y="175002"/>
                </a:cubicBezTo>
                <a:cubicBezTo>
                  <a:pt x="3702493" y="172475"/>
                  <a:pt x="3690554" y="141997"/>
                  <a:pt x="3732418" y="156931"/>
                </a:cubicBezTo>
                <a:cubicBezTo>
                  <a:pt x="3720976" y="141050"/>
                  <a:pt x="3798767" y="143802"/>
                  <a:pt x="3777013" y="128263"/>
                </a:cubicBezTo>
                <a:cubicBezTo>
                  <a:pt x="3781750" y="123923"/>
                  <a:pt x="3786490" y="122145"/>
                  <a:pt x="3791237" y="121680"/>
                </a:cubicBezTo>
                <a:cubicBezTo>
                  <a:pt x="3800731" y="120749"/>
                  <a:pt x="3810256" y="125066"/>
                  <a:pt x="3819855" y="124632"/>
                </a:cubicBezTo>
                <a:lnTo>
                  <a:pt x="3830389" y="120647"/>
                </a:lnTo>
                <a:lnTo>
                  <a:pt x="3834351" y="121037"/>
                </a:lnTo>
                <a:lnTo>
                  <a:pt x="3843706" y="120883"/>
                </a:lnTo>
                <a:lnTo>
                  <a:pt x="3842600" y="126413"/>
                </a:lnTo>
                <a:cubicBezTo>
                  <a:pt x="3840664" y="131697"/>
                  <a:pt x="3839239" y="137483"/>
                  <a:pt x="3853952" y="136656"/>
                </a:cubicBezTo>
                <a:cubicBezTo>
                  <a:pt x="3884387" y="132294"/>
                  <a:pt x="3895073" y="154947"/>
                  <a:pt x="3907631" y="132934"/>
                </a:cubicBezTo>
                <a:lnTo>
                  <a:pt x="3910440" y="126683"/>
                </a:lnTo>
                <a:lnTo>
                  <a:pt x="3917188" y="125602"/>
                </a:lnTo>
                <a:cubicBezTo>
                  <a:pt x="3920824" y="125763"/>
                  <a:pt x="3922910" y="127265"/>
                  <a:pt x="3922391" y="131325"/>
                </a:cubicBezTo>
                <a:cubicBezTo>
                  <a:pt x="3950671" y="114296"/>
                  <a:pt x="3984053" y="139677"/>
                  <a:pt x="4013052" y="144017"/>
                </a:cubicBezTo>
                <a:cubicBezTo>
                  <a:pt x="4034521" y="127735"/>
                  <a:pt x="4074193" y="152893"/>
                  <a:pt x="4134276" y="150881"/>
                </a:cubicBezTo>
                <a:cubicBezTo>
                  <a:pt x="4157665" y="132187"/>
                  <a:pt x="4174797" y="149748"/>
                  <a:pt x="4220708" y="123569"/>
                </a:cubicBezTo>
                <a:cubicBezTo>
                  <a:pt x="4222955" y="125610"/>
                  <a:pt x="4225678" y="127448"/>
                  <a:pt x="4228793" y="129027"/>
                </a:cubicBezTo>
                <a:cubicBezTo>
                  <a:pt x="4246889" y="138200"/>
                  <a:pt x="4274004" y="136817"/>
                  <a:pt x="4289352" y="125936"/>
                </a:cubicBezTo>
                <a:cubicBezTo>
                  <a:pt x="4363203" y="90062"/>
                  <a:pt x="4433589" y="86771"/>
                  <a:pt x="4498904" y="76157"/>
                </a:cubicBezTo>
                <a:cubicBezTo>
                  <a:pt x="4573126" y="67620"/>
                  <a:pt x="4527053" y="106578"/>
                  <a:pt x="4617321" y="71192"/>
                </a:cubicBezTo>
                <a:cubicBezTo>
                  <a:pt x="4628509" y="83005"/>
                  <a:pt x="4640388" y="82875"/>
                  <a:pt x="4659769" y="75711"/>
                </a:cubicBezTo>
                <a:cubicBezTo>
                  <a:pt x="4695920" y="72492"/>
                  <a:pt x="4695949" y="103916"/>
                  <a:pt x="4730861" y="82892"/>
                </a:cubicBezTo>
                <a:cubicBezTo>
                  <a:pt x="4725813" y="100081"/>
                  <a:pt x="4800205" y="85259"/>
                  <a:pt x="4785028" y="103727"/>
                </a:cubicBezTo>
                <a:cubicBezTo>
                  <a:pt x="4810016" y="117605"/>
                  <a:pt x="4819425" y="91713"/>
                  <a:pt x="4844064" y="103602"/>
                </a:cubicBezTo>
                <a:cubicBezTo>
                  <a:pt x="4870788" y="105116"/>
                  <a:pt x="4827279" y="86563"/>
                  <a:pt x="4856445" y="83569"/>
                </a:cubicBezTo>
                <a:cubicBezTo>
                  <a:pt x="4892077" y="82970"/>
                  <a:pt x="4889254" y="52180"/>
                  <a:pt x="4920029" y="89928"/>
                </a:cubicBezTo>
                <a:cubicBezTo>
                  <a:pt x="4956349" y="78330"/>
                  <a:pt x="4965099" y="95593"/>
                  <a:pt x="5016630" y="101768"/>
                </a:cubicBezTo>
                <a:cubicBezTo>
                  <a:pt x="5037054" y="90831"/>
                  <a:pt x="5054525" y="94775"/>
                  <a:pt x="5072000" y="103431"/>
                </a:cubicBezTo>
                <a:cubicBezTo>
                  <a:pt x="5121251" y="98404"/>
                  <a:pt x="5167546" y="110561"/>
                  <a:pt x="5223617" y="113585"/>
                </a:cubicBezTo>
                <a:cubicBezTo>
                  <a:pt x="5282815" y="99423"/>
                  <a:pt x="5315850" y="124911"/>
                  <a:pt x="5375764" y="128031"/>
                </a:cubicBezTo>
                <a:cubicBezTo>
                  <a:pt x="5432502" y="100047"/>
                  <a:pt x="5417541" y="163974"/>
                  <a:pt x="5467493" y="160725"/>
                </a:cubicBezTo>
                <a:cubicBezTo>
                  <a:pt x="5547115" y="134475"/>
                  <a:pt x="5467162" y="181780"/>
                  <a:pt x="5592386" y="169993"/>
                </a:cubicBezTo>
                <a:cubicBezTo>
                  <a:pt x="5599192" y="165787"/>
                  <a:pt x="5614743" y="169527"/>
                  <a:pt x="5613523" y="175081"/>
                </a:cubicBezTo>
                <a:cubicBezTo>
                  <a:pt x="5621381" y="173179"/>
                  <a:pt x="5639711" y="162141"/>
                  <a:pt x="5642164" y="170935"/>
                </a:cubicBezTo>
                <a:cubicBezTo>
                  <a:pt x="5682287" y="171027"/>
                  <a:pt x="5721803" y="164920"/>
                  <a:pt x="5756901" y="153199"/>
                </a:cubicBezTo>
                <a:cubicBezTo>
                  <a:pt x="5834989" y="166545"/>
                  <a:pt x="5790587" y="126312"/>
                  <a:pt x="5846658" y="129231"/>
                </a:cubicBezTo>
                <a:cubicBezTo>
                  <a:pt x="5892435" y="145578"/>
                  <a:pt x="5908315" y="130986"/>
                  <a:pt x="5960723" y="141349"/>
                </a:cubicBezTo>
                <a:cubicBezTo>
                  <a:pt x="5977115" y="112299"/>
                  <a:pt x="6009631" y="143236"/>
                  <a:pt x="6029533" y="134708"/>
                </a:cubicBezTo>
                <a:cubicBezTo>
                  <a:pt x="6063099" y="167422"/>
                  <a:pt x="6107402" y="102491"/>
                  <a:pt x="6141114" y="102420"/>
                </a:cubicBezTo>
                <a:cubicBezTo>
                  <a:pt x="6198059" y="107432"/>
                  <a:pt x="6260619" y="140713"/>
                  <a:pt x="6290631" y="107235"/>
                </a:cubicBezTo>
                <a:cubicBezTo>
                  <a:pt x="6295184" y="120843"/>
                  <a:pt x="6290485" y="139497"/>
                  <a:pt x="6322797" y="136600"/>
                </a:cubicBezTo>
                <a:cubicBezTo>
                  <a:pt x="6335902" y="143381"/>
                  <a:pt x="6338717" y="164323"/>
                  <a:pt x="6364905" y="153794"/>
                </a:cubicBezTo>
                <a:cubicBezTo>
                  <a:pt x="6331879" y="135534"/>
                  <a:pt x="6385847" y="132591"/>
                  <a:pt x="6380411" y="110920"/>
                </a:cubicBezTo>
                <a:cubicBezTo>
                  <a:pt x="6420571" y="97008"/>
                  <a:pt x="6513510" y="114827"/>
                  <a:pt x="6507882" y="75874"/>
                </a:cubicBezTo>
                <a:cubicBezTo>
                  <a:pt x="6519389" y="52805"/>
                  <a:pt x="6571821" y="87994"/>
                  <a:pt x="6571798" y="63169"/>
                </a:cubicBezTo>
                <a:cubicBezTo>
                  <a:pt x="6594693" y="79043"/>
                  <a:pt x="6634667" y="52561"/>
                  <a:pt x="6671871" y="53111"/>
                </a:cubicBezTo>
                <a:cubicBezTo>
                  <a:pt x="6678846" y="41888"/>
                  <a:pt x="6687406" y="42394"/>
                  <a:pt x="6702257" y="48333"/>
                </a:cubicBezTo>
                <a:cubicBezTo>
                  <a:pt x="6746995" y="50242"/>
                  <a:pt x="6798298" y="33989"/>
                  <a:pt x="6845793" y="15687"/>
                </a:cubicBezTo>
                <a:lnTo>
                  <a:pt x="6884902" y="0"/>
                </a:lnTo>
                <a:close/>
              </a:path>
            </a:pathLst>
          </a:custGeom>
          <a:solidFill>
            <a:srgbClr val="82766A">
              <a:alpha val="15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Bembo"/>
              <a:ea typeface="+mn-ea"/>
              <a:cs typeface="+mn-cs"/>
            </a:endParaRPr>
          </a:p>
        </p:txBody>
      </p:sp>
      <p:sp>
        <p:nvSpPr>
          <p:cNvPr id="19" name="Freeform: Shape 18">
            <a:extLst>
              <a:ext uri="{FF2B5EF4-FFF2-40B4-BE49-F238E27FC236}">
                <a16:creationId xmlns:a16="http://schemas.microsoft.com/office/drawing/2014/main" id="{C6CA7F72-3DF9-4389-A72F-3FD75C183C01}"/>
              </a:ext>
              <a:ext uri="{C183D7F6-B498-43B3-948B-1728B52AA6E4}">
                <adec:decorative xmlns:adec="http://schemas.microsoft.com/office/drawing/2017/decorative" val="1"/>
              </a:ext>
            </a:extLst>
          </p:cNvPr>
          <p:cNvSpPr/>
          <p:nvPr userDrawn="1"/>
        </p:nvSpPr>
        <p:spPr>
          <a:xfrm>
            <a:off x="5307088" y="6114199"/>
            <a:ext cx="6884912" cy="743802"/>
          </a:xfrm>
          <a:custGeom>
            <a:avLst/>
            <a:gdLst>
              <a:gd name="connsiteX0" fmla="*/ 6884912 w 6884912"/>
              <a:gd name="connsiteY0" fmla="*/ 0 h 743802"/>
              <a:gd name="connsiteX1" fmla="*/ 6884912 w 6884912"/>
              <a:gd name="connsiteY1" fmla="*/ 743802 h 743802"/>
              <a:gd name="connsiteX2" fmla="*/ 0 w 6884912"/>
              <a:gd name="connsiteY2" fmla="*/ 743802 h 743802"/>
              <a:gd name="connsiteX3" fmla="*/ 9 w 6884912"/>
              <a:gd name="connsiteY3" fmla="*/ 743799 h 743802"/>
              <a:gd name="connsiteX4" fmla="*/ 6884911 w 6884912"/>
              <a:gd name="connsiteY4" fmla="*/ 743799 h 743802"/>
              <a:gd name="connsiteX5" fmla="*/ 6884911 w 6884912"/>
              <a:gd name="connsiteY5" fmla="*/ 1 h 743802"/>
              <a:gd name="connsiteX6" fmla="*/ 6884912 w 6884912"/>
              <a:gd name="connsiteY6" fmla="*/ 0 h 743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84912" h="743802">
                <a:moveTo>
                  <a:pt x="6884912" y="0"/>
                </a:moveTo>
                <a:lnTo>
                  <a:pt x="6884912" y="743802"/>
                </a:lnTo>
                <a:lnTo>
                  <a:pt x="0" y="743802"/>
                </a:lnTo>
                <a:lnTo>
                  <a:pt x="9" y="743799"/>
                </a:lnTo>
                <a:lnTo>
                  <a:pt x="6884911" y="743799"/>
                </a:lnTo>
                <a:lnTo>
                  <a:pt x="6884911" y="1"/>
                </a:lnTo>
                <a:lnTo>
                  <a:pt x="6884912" y="0"/>
                </a:lnTo>
                <a:close/>
              </a:path>
            </a:pathLst>
          </a:custGeom>
          <a:solidFill>
            <a:srgbClr val="82766A">
              <a:alpha val="15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Bembo"/>
              <a:ea typeface="+mn-ea"/>
              <a:cs typeface="+mn-cs"/>
            </a:endParaRPr>
          </a:p>
        </p:txBody>
      </p:sp>
      <p:sp useBgFill="1">
        <p:nvSpPr>
          <p:cNvPr id="15" name="Freeform: Shape 14">
            <a:extLst>
              <a:ext uri="{FF2B5EF4-FFF2-40B4-BE49-F238E27FC236}">
                <a16:creationId xmlns:a16="http://schemas.microsoft.com/office/drawing/2014/main" id="{03E96810-E5FC-4149-9C1D-18739789D1AB}"/>
              </a:ext>
              <a:ext uri="{C183D7F6-B498-43B3-948B-1728B52AA6E4}">
                <adec:decorative xmlns:adec="http://schemas.microsoft.com/office/drawing/2017/decorative" val="1"/>
              </a:ext>
            </a:extLst>
          </p:cNvPr>
          <p:cNvSpPr/>
          <p:nvPr userDrawn="1"/>
        </p:nvSpPr>
        <p:spPr>
          <a:xfrm>
            <a:off x="5307088" y="6114199"/>
            <a:ext cx="6884912" cy="743802"/>
          </a:xfrm>
          <a:custGeom>
            <a:avLst/>
            <a:gdLst>
              <a:gd name="connsiteX0" fmla="*/ 6884912 w 6884912"/>
              <a:gd name="connsiteY0" fmla="*/ 0 h 1161397"/>
              <a:gd name="connsiteX1" fmla="*/ 6884912 w 6884912"/>
              <a:gd name="connsiteY1" fmla="*/ 1161397 h 1161397"/>
              <a:gd name="connsiteX2" fmla="*/ 0 w 6884912"/>
              <a:gd name="connsiteY2" fmla="*/ 1161397 h 1161397"/>
              <a:gd name="connsiteX3" fmla="*/ 27135 w 6884912"/>
              <a:gd name="connsiteY3" fmla="*/ 1147460 h 1161397"/>
              <a:gd name="connsiteX4" fmla="*/ 115388 w 6884912"/>
              <a:gd name="connsiteY4" fmla="*/ 1159043 h 1161397"/>
              <a:gd name="connsiteX5" fmla="*/ 119094 w 6884912"/>
              <a:gd name="connsiteY5" fmla="*/ 1148463 h 1161397"/>
              <a:gd name="connsiteX6" fmla="*/ 171824 w 6884912"/>
              <a:gd name="connsiteY6" fmla="*/ 1133224 h 1161397"/>
              <a:gd name="connsiteX7" fmla="*/ 376455 w 6884912"/>
              <a:gd name="connsiteY7" fmla="*/ 1137381 h 1161397"/>
              <a:gd name="connsiteX8" fmla="*/ 478946 w 6884912"/>
              <a:gd name="connsiteY8" fmla="*/ 1106011 h 1161397"/>
              <a:gd name="connsiteX9" fmla="*/ 512111 w 6884912"/>
              <a:gd name="connsiteY9" fmla="*/ 1085599 h 1161397"/>
              <a:gd name="connsiteX10" fmla="*/ 567875 w 6884912"/>
              <a:gd name="connsiteY10" fmla="*/ 1051976 h 1161397"/>
              <a:gd name="connsiteX11" fmla="*/ 601644 w 6884912"/>
              <a:gd name="connsiteY11" fmla="*/ 1003997 h 1161397"/>
              <a:gd name="connsiteX12" fmla="*/ 651408 w 6884912"/>
              <a:gd name="connsiteY12" fmla="*/ 984938 h 1161397"/>
              <a:gd name="connsiteX13" fmla="*/ 673197 w 6884912"/>
              <a:gd name="connsiteY13" fmla="*/ 1010060 h 1161397"/>
              <a:gd name="connsiteX14" fmla="*/ 723108 w 6884912"/>
              <a:gd name="connsiteY14" fmla="*/ 980081 h 1161397"/>
              <a:gd name="connsiteX15" fmla="*/ 797699 w 6884912"/>
              <a:gd name="connsiteY15" fmla="*/ 931362 h 1161397"/>
              <a:gd name="connsiteX16" fmla="*/ 843359 w 6884912"/>
              <a:gd name="connsiteY16" fmla="*/ 910894 h 1161397"/>
              <a:gd name="connsiteX17" fmla="*/ 965215 w 6884912"/>
              <a:gd name="connsiteY17" fmla="*/ 846701 h 1161397"/>
              <a:gd name="connsiteX18" fmla="*/ 1085080 w 6884912"/>
              <a:gd name="connsiteY18" fmla="*/ 776086 h 1161397"/>
              <a:gd name="connsiteX19" fmla="*/ 1131224 w 6884912"/>
              <a:gd name="connsiteY19" fmla="*/ 706160 h 1161397"/>
              <a:gd name="connsiteX20" fmla="*/ 1138051 w 6884912"/>
              <a:gd name="connsiteY20" fmla="*/ 702034 h 1161397"/>
              <a:gd name="connsiteX21" fmla="*/ 1158800 w 6884912"/>
              <a:gd name="connsiteY21" fmla="*/ 700004 h 1161397"/>
              <a:gd name="connsiteX22" fmla="*/ 1166947 w 6884912"/>
              <a:gd name="connsiteY22" fmla="*/ 700762 h 1161397"/>
              <a:gd name="connsiteX23" fmla="*/ 1178135 w 6884912"/>
              <a:gd name="connsiteY23" fmla="*/ 698631 h 1161397"/>
              <a:gd name="connsiteX24" fmla="*/ 1178301 w 6884912"/>
              <a:gd name="connsiteY24" fmla="*/ 698094 h 1161397"/>
              <a:gd name="connsiteX25" fmla="*/ 1188995 w 6884912"/>
              <a:gd name="connsiteY25" fmla="*/ 697048 h 1161397"/>
              <a:gd name="connsiteX26" fmla="*/ 1242716 w 6884912"/>
              <a:gd name="connsiteY26" fmla="*/ 698052 h 1161397"/>
              <a:gd name="connsiteX27" fmla="*/ 1299977 w 6884912"/>
              <a:gd name="connsiteY27" fmla="*/ 639196 h 1161397"/>
              <a:gd name="connsiteX28" fmla="*/ 1326190 w 6884912"/>
              <a:gd name="connsiteY28" fmla="*/ 625955 h 1161397"/>
              <a:gd name="connsiteX29" fmla="*/ 1339600 w 6884912"/>
              <a:gd name="connsiteY29" fmla="*/ 616295 h 1161397"/>
              <a:gd name="connsiteX30" fmla="*/ 1340054 w 6884912"/>
              <a:gd name="connsiteY30" fmla="*/ 614022 h 1161397"/>
              <a:gd name="connsiteX31" fmla="*/ 1391606 w 6884912"/>
              <a:gd name="connsiteY31" fmla="*/ 615229 h 1161397"/>
              <a:gd name="connsiteX32" fmla="*/ 1397565 w 6884912"/>
              <a:gd name="connsiteY32" fmla="*/ 611490 h 1161397"/>
              <a:gd name="connsiteX33" fmla="*/ 1432302 w 6884912"/>
              <a:gd name="connsiteY33" fmla="*/ 617267 h 1161397"/>
              <a:gd name="connsiteX34" fmla="*/ 1449644 w 6884912"/>
              <a:gd name="connsiteY34" fmla="*/ 617591 h 1161397"/>
              <a:gd name="connsiteX35" fmla="*/ 1455793 w 6884912"/>
              <a:gd name="connsiteY35" fmla="*/ 623174 h 1161397"/>
              <a:gd name="connsiteX36" fmla="*/ 1480758 w 6884912"/>
              <a:gd name="connsiteY36" fmla="*/ 620863 h 1161397"/>
              <a:gd name="connsiteX37" fmla="*/ 1483154 w 6884912"/>
              <a:gd name="connsiteY37" fmla="*/ 618527 h 1161397"/>
              <a:gd name="connsiteX38" fmla="*/ 1505495 w 6884912"/>
              <a:gd name="connsiteY38" fmla="*/ 624325 h 1161397"/>
              <a:gd name="connsiteX39" fmla="*/ 1526340 w 6884912"/>
              <a:gd name="connsiteY39" fmla="*/ 638496 h 1161397"/>
              <a:gd name="connsiteX40" fmla="*/ 1731986 w 6884912"/>
              <a:gd name="connsiteY40" fmla="*/ 589682 h 1161397"/>
              <a:gd name="connsiteX41" fmla="*/ 1927935 w 6884912"/>
              <a:gd name="connsiteY41" fmla="*/ 628540 h 1161397"/>
              <a:gd name="connsiteX42" fmla="*/ 2039075 w 6884912"/>
              <a:gd name="connsiteY42" fmla="*/ 599964 h 1161397"/>
              <a:gd name="connsiteX43" fmla="*/ 2066980 w 6884912"/>
              <a:gd name="connsiteY43" fmla="*/ 550413 h 1161397"/>
              <a:gd name="connsiteX44" fmla="*/ 2352236 w 6884912"/>
              <a:gd name="connsiteY44" fmla="*/ 519602 h 1161397"/>
              <a:gd name="connsiteX45" fmla="*/ 2420791 w 6884912"/>
              <a:gd name="connsiteY45" fmla="*/ 492826 h 1161397"/>
              <a:gd name="connsiteX46" fmla="*/ 2489932 w 6884912"/>
              <a:gd name="connsiteY46" fmla="*/ 507864 h 1161397"/>
              <a:gd name="connsiteX47" fmla="*/ 2512917 w 6884912"/>
              <a:gd name="connsiteY47" fmla="*/ 489127 h 1161397"/>
              <a:gd name="connsiteX48" fmla="*/ 2516783 w 6884912"/>
              <a:gd name="connsiteY48" fmla="*/ 485473 h 1161397"/>
              <a:gd name="connsiteX49" fmla="*/ 2534360 w 6884912"/>
              <a:gd name="connsiteY49" fmla="*/ 480064 h 1161397"/>
              <a:gd name="connsiteX50" fmla="*/ 2536691 w 6884912"/>
              <a:gd name="connsiteY50" fmla="*/ 467018 h 1161397"/>
              <a:gd name="connsiteX51" fmla="*/ 2561265 w 6884912"/>
              <a:gd name="connsiteY51" fmla="*/ 450623 h 1161397"/>
              <a:gd name="connsiteX52" fmla="*/ 2594349 w 6884912"/>
              <a:gd name="connsiteY52" fmla="*/ 443884 h 1161397"/>
              <a:gd name="connsiteX53" fmla="*/ 2754324 w 6884912"/>
              <a:gd name="connsiteY53" fmla="*/ 424766 h 1161397"/>
              <a:gd name="connsiteX54" fmla="*/ 2848470 w 6884912"/>
              <a:gd name="connsiteY54" fmla="*/ 405966 h 1161397"/>
              <a:gd name="connsiteX55" fmla="*/ 2881772 w 6884912"/>
              <a:gd name="connsiteY55" fmla="*/ 387260 h 1161397"/>
              <a:gd name="connsiteX56" fmla="*/ 2929932 w 6884912"/>
              <a:gd name="connsiteY56" fmla="*/ 368912 h 1161397"/>
              <a:gd name="connsiteX57" fmla="*/ 3013020 w 6884912"/>
              <a:gd name="connsiteY57" fmla="*/ 327578 h 1161397"/>
              <a:gd name="connsiteX58" fmla="*/ 3127968 w 6884912"/>
              <a:gd name="connsiteY58" fmla="*/ 287613 h 1161397"/>
              <a:gd name="connsiteX59" fmla="*/ 3222191 w 6884912"/>
              <a:gd name="connsiteY59" fmla="*/ 307887 h 1161397"/>
              <a:gd name="connsiteX60" fmla="*/ 3227953 w 6884912"/>
              <a:gd name="connsiteY60" fmla="*/ 297650 h 1161397"/>
              <a:gd name="connsiteX61" fmla="*/ 3287859 w 6884912"/>
              <a:gd name="connsiteY61" fmla="*/ 287558 h 1161397"/>
              <a:gd name="connsiteX62" fmla="*/ 3510042 w 6884912"/>
              <a:gd name="connsiteY62" fmla="*/ 311820 h 1161397"/>
              <a:gd name="connsiteX63" fmla="*/ 3626773 w 6884912"/>
              <a:gd name="connsiteY63" fmla="*/ 290452 h 1161397"/>
              <a:gd name="connsiteX64" fmla="*/ 3666217 w 6884912"/>
              <a:gd name="connsiteY64" fmla="*/ 273255 h 1161397"/>
              <a:gd name="connsiteX65" fmla="*/ 3732427 w 6884912"/>
              <a:gd name="connsiteY65" fmla="*/ 245039 h 1161397"/>
              <a:gd name="connsiteX66" fmla="*/ 3777022 w 6884912"/>
              <a:gd name="connsiteY66" fmla="*/ 200276 h 1161397"/>
              <a:gd name="connsiteX67" fmla="*/ 3791246 w 6884912"/>
              <a:gd name="connsiteY67" fmla="*/ 189996 h 1161397"/>
              <a:gd name="connsiteX68" fmla="*/ 3819864 w 6884912"/>
              <a:gd name="connsiteY68" fmla="*/ 194605 h 1161397"/>
              <a:gd name="connsiteX69" fmla="*/ 3830398 w 6884912"/>
              <a:gd name="connsiteY69" fmla="*/ 188383 h 1161397"/>
              <a:gd name="connsiteX70" fmla="*/ 3834360 w 6884912"/>
              <a:gd name="connsiteY70" fmla="*/ 188992 h 1161397"/>
              <a:gd name="connsiteX71" fmla="*/ 3843715 w 6884912"/>
              <a:gd name="connsiteY71" fmla="*/ 188752 h 1161397"/>
              <a:gd name="connsiteX72" fmla="*/ 3842609 w 6884912"/>
              <a:gd name="connsiteY72" fmla="*/ 197386 h 1161397"/>
              <a:gd name="connsiteX73" fmla="*/ 3853961 w 6884912"/>
              <a:gd name="connsiteY73" fmla="*/ 213380 h 1161397"/>
              <a:gd name="connsiteX74" fmla="*/ 3907640 w 6884912"/>
              <a:gd name="connsiteY74" fmla="*/ 207568 h 1161397"/>
              <a:gd name="connsiteX75" fmla="*/ 3910449 w 6884912"/>
              <a:gd name="connsiteY75" fmla="*/ 197808 h 1161397"/>
              <a:gd name="connsiteX76" fmla="*/ 3917197 w 6884912"/>
              <a:gd name="connsiteY76" fmla="*/ 196121 h 1161397"/>
              <a:gd name="connsiteX77" fmla="*/ 3922400 w 6884912"/>
              <a:gd name="connsiteY77" fmla="*/ 205056 h 1161397"/>
              <a:gd name="connsiteX78" fmla="*/ 4013061 w 6884912"/>
              <a:gd name="connsiteY78" fmla="*/ 224874 h 1161397"/>
              <a:gd name="connsiteX79" fmla="*/ 4134285 w 6884912"/>
              <a:gd name="connsiteY79" fmla="*/ 235592 h 1161397"/>
              <a:gd name="connsiteX80" fmla="*/ 4220717 w 6884912"/>
              <a:gd name="connsiteY80" fmla="*/ 192946 h 1161397"/>
              <a:gd name="connsiteX81" fmla="*/ 4228802 w 6884912"/>
              <a:gd name="connsiteY81" fmla="*/ 201468 h 1161397"/>
              <a:gd name="connsiteX82" fmla="*/ 4289361 w 6884912"/>
              <a:gd name="connsiteY82" fmla="*/ 196642 h 1161397"/>
              <a:gd name="connsiteX83" fmla="*/ 4498913 w 6884912"/>
              <a:gd name="connsiteY83" fmla="*/ 118915 h 1161397"/>
              <a:gd name="connsiteX84" fmla="*/ 4617330 w 6884912"/>
              <a:gd name="connsiteY84" fmla="*/ 111163 h 1161397"/>
              <a:gd name="connsiteX85" fmla="*/ 4659778 w 6884912"/>
              <a:gd name="connsiteY85" fmla="*/ 118219 h 1161397"/>
              <a:gd name="connsiteX86" fmla="*/ 4730870 w 6884912"/>
              <a:gd name="connsiteY86" fmla="*/ 129432 h 1161397"/>
              <a:gd name="connsiteX87" fmla="*/ 4785037 w 6884912"/>
              <a:gd name="connsiteY87" fmla="*/ 161964 h 1161397"/>
              <a:gd name="connsiteX88" fmla="*/ 4844073 w 6884912"/>
              <a:gd name="connsiteY88" fmla="*/ 161768 h 1161397"/>
              <a:gd name="connsiteX89" fmla="*/ 4856454 w 6884912"/>
              <a:gd name="connsiteY89" fmla="*/ 130488 h 1161397"/>
              <a:gd name="connsiteX90" fmla="*/ 4920038 w 6884912"/>
              <a:gd name="connsiteY90" fmla="*/ 140418 h 1161397"/>
              <a:gd name="connsiteX91" fmla="*/ 5016639 w 6884912"/>
              <a:gd name="connsiteY91" fmla="*/ 158905 h 1161397"/>
              <a:gd name="connsiteX92" fmla="*/ 5072009 w 6884912"/>
              <a:gd name="connsiteY92" fmla="*/ 161502 h 1161397"/>
              <a:gd name="connsiteX93" fmla="*/ 5223626 w 6884912"/>
              <a:gd name="connsiteY93" fmla="*/ 177356 h 1161397"/>
              <a:gd name="connsiteX94" fmla="*/ 5375773 w 6884912"/>
              <a:gd name="connsiteY94" fmla="*/ 199913 h 1161397"/>
              <a:gd name="connsiteX95" fmla="*/ 5467502 w 6884912"/>
              <a:gd name="connsiteY95" fmla="*/ 250963 h 1161397"/>
              <a:gd name="connsiteX96" fmla="*/ 5592395 w 6884912"/>
              <a:gd name="connsiteY96" fmla="*/ 265434 h 1161397"/>
              <a:gd name="connsiteX97" fmla="*/ 5613532 w 6884912"/>
              <a:gd name="connsiteY97" fmla="*/ 273379 h 1161397"/>
              <a:gd name="connsiteX98" fmla="*/ 5642173 w 6884912"/>
              <a:gd name="connsiteY98" fmla="*/ 266904 h 1161397"/>
              <a:gd name="connsiteX99" fmla="*/ 5756910 w 6884912"/>
              <a:gd name="connsiteY99" fmla="*/ 239211 h 1161397"/>
              <a:gd name="connsiteX100" fmla="*/ 5846667 w 6884912"/>
              <a:gd name="connsiteY100" fmla="*/ 201786 h 1161397"/>
              <a:gd name="connsiteX101" fmla="*/ 5960732 w 6884912"/>
              <a:gd name="connsiteY101" fmla="*/ 220708 h 1161397"/>
              <a:gd name="connsiteX102" fmla="*/ 6029542 w 6884912"/>
              <a:gd name="connsiteY102" fmla="*/ 210339 h 1161397"/>
              <a:gd name="connsiteX103" fmla="*/ 6141123 w 6884912"/>
              <a:gd name="connsiteY103" fmla="*/ 159923 h 1161397"/>
              <a:gd name="connsiteX104" fmla="*/ 6290640 w 6884912"/>
              <a:gd name="connsiteY104" fmla="*/ 167441 h 1161397"/>
              <a:gd name="connsiteX105" fmla="*/ 6322806 w 6884912"/>
              <a:gd name="connsiteY105" fmla="*/ 213293 h 1161397"/>
              <a:gd name="connsiteX106" fmla="*/ 6364914 w 6884912"/>
              <a:gd name="connsiteY106" fmla="*/ 240140 h 1161397"/>
              <a:gd name="connsiteX107" fmla="*/ 6380420 w 6884912"/>
              <a:gd name="connsiteY107" fmla="*/ 173195 h 1161397"/>
              <a:gd name="connsiteX108" fmla="*/ 6507891 w 6884912"/>
              <a:gd name="connsiteY108" fmla="*/ 118474 h 1161397"/>
              <a:gd name="connsiteX109" fmla="*/ 6571807 w 6884912"/>
              <a:gd name="connsiteY109" fmla="*/ 98636 h 1161397"/>
              <a:gd name="connsiteX110" fmla="*/ 6671880 w 6884912"/>
              <a:gd name="connsiteY110" fmla="*/ 82931 h 1161397"/>
              <a:gd name="connsiteX111" fmla="*/ 6702266 w 6884912"/>
              <a:gd name="connsiteY111" fmla="*/ 75470 h 1161397"/>
              <a:gd name="connsiteX112" fmla="*/ 6845802 w 6884912"/>
              <a:gd name="connsiteY112" fmla="*/ 24496 h 116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6884912" h="1161397">
                <a:moveTo>
                  <a:pt x="6884912" y="0"/>
                </a:moveTo>
                <a:lnTo>
                  <a:pt x="6884912" y="1161397"/>
                </a:lnTo>
                <a:lnTo>
                  <a:pt x="0" y="1161397"/>
                </a:lnTo>
                <a:lnTo>
                  <a:pt x="27135" y="1147460"/>
                </a:lnTo>
                <a:cubicBezTo>
                  <a:pt x="57431" y="1167048"/>
                  <a:pt x="61886" y="1135904"/>
                  <a:pt x="115388" y="1159043"/>
                </a:cubicBezTo>
                <a:cubicBezTo>
                  <a:pt x="116121" y="1155340"/>
                  <a:pt x="117370" y="1151777"/>
                  <a:pt x="119094" y="1148463"/>
                </a:cubicBezTo>
                <a:cubicBezTo>
                  <a:pt x="129121" y="1129214"/>
                  <a:pt x="152727" y="1122391"/>
                  <a:pt x="171824" y="1133224"/>
                </a:cubicBezTo>
                <a:cubicBezTo>
                  <a:pt x="254344" y="1161369"/>
                  <a:pt x="315458" y="1143220"/>
                  <a:pt x="376455" y="1137381"/>
                </a:cubicBezTo>
                <a:cubicBezTo>
                  <a:pt x="443775" y="1125614"/>
                  <a:pt x="382885" y="1083927"/>
                  <a:pt x="478946" y="1106011"/>
                </a:cubicBezTo>
                <a:cubicBezTo>
                  <a:pt x="481662" y="1085172"/>
                  <a:pt x="491731" y="1081489"/>
                  <a:pt x="512111" y="1085599"/>
                </a:cubicBezTo>
                <a:cubicBezTo>
                  <a:pt x="544368" y="1078502"/>
                  <a:pt x="526559" y="1032754"/>
                  <a:pt x="567875" y="1051976"/>
                </a:cubicBezTo>
                <a:cubicBezTo>
                  <a:pt x="553871" y="1028602"/>
                  <a:pt x="624901" y="1025930"/>
                  <a:pt x="601644" y="1003997"/>
                </a:cubicBezTo>
                <a:cubicBezTo>
                  <a:pt x="614803" y="975652"/>
                  <a:pt x="637415" y="1010272"/>
                  <a:pt x="651408" y="984938"/>
                </a:cubicBezTo>
                <a:cubicBezTo>
                  <a:pt x="673042" y="974024"/>
                  <a:pt x="646948" y="1015207"/>
                  <a:pt x="673197" y="1010060"/>
                </a:cubicBezTo>
                <a:cubicBezTo>
                  <a:pt x="703527" y="999318"/>
                  <a:pt x="718626" y="1045053"/>
                  <a:pt x="723108" y="980081"/>
                </a:cubicBezTo>
                <a:cubicBezTo>
                  <a:pt x="760262" y="985126"/>
                  <a:pt x="757827" y="957145"/>
                  <a:pt x="797699" y="931362"/>
                </a:cubicBezTo>
                <a:cubicBezTo>
                  <a:pt x="821097" y="940623"/>
                  <a:pt x="833565" y="929189"/>
                  <a:pt x="843359" y="910894"/>
                </a:cubicBezTo>
                <a:cubicBezTo>
                  <a:pt x="887668" y="902160"/>
                  <a:pt x="919738" y="869376"/>
                  <a:pt x="965215" y="846701"/>
                </a:cubicBezTo>
                <a:cubicBezTo>
                  <a:pt x="1023081" y="848019"/>
                  <a:pt x="1036422" y="800154"/>
                  <a:pt x="1085080" y="776086"/>
                </a:cubicBezTo>
                <a:cubicBezTo>
                  <a:pt x="1140763" y="795544"/>
                  <a:pt x="1110309" y="730471"/>
                  <a:pt x="1131224" y="706160"/>
                </a:cubicBezTo>
                <a:lnTo>
                  <a:pt x="1138051" y="702034"/>
                </a:lnTo>
                <a:lnTo>
                  <a:pt x="1158800" y="700004"/>
                </a:lnTo>
                <a:lnTo>
                  <a:pt x="1166947" y="700762"/>
                </a:lnTo>
                <a:cubicBezTo>
                  <a:pt x="1172432" y="700717"/>
                  <a:pt x="1175913" y="699961"/>
                  <a:pt x="1178135" y="698631"/>
                </a:cubicBezTo>
                <a:lnTo>
                  <a:pt x="1178301" y="698094"/>
                </a:lnTo>
                <a:lnTo>
                  <a:pt x="1188995" y="697048"/>
                </a:lnTo>
                <a:cubicBezTo>
                  <a:pt x="1207294" y="696390"/>
                  <a:pt x="1225337" y="696802"/>
                  <a:pt x="1242716" y="698052"/>
                </a:cubicBezTo>
                <a:cubicBezTo>
                  <a:pt x="1250387" y="668345"/>
                  <a:pt x="1318259" y="689091"/>
                  <a:pt x="1299977" y="639196"/>
                </a:cubicBezTo>
                <a:cubicBezTo>
                  <a:pt x="1323072" y="639367"/>
                  <a:pt x="1341279" y="658105"/>
                  <a:pt x="1326190" y="625955"/>
                </a:cubicBezTo>
                <a:cubicBezTo>
                  <a:pt x="1333572" y="625050"/>
                  <a:pt x="1337406" y="621362"/>
                  <a:pt x="1339600" y="616295"/>
                </a:cubicBezTo>
                <a:lnTo>
                  <a:pt x="1340054" y="614022"/>
                </a:lnTo>
                <a:lnTo>
                  <a:pt x="1391606" y="615229"/>
                </a:lnTo>
                <a:lnTo>
                  <a:pt x="1397565" y="611490"/>
                </a:lnTo>
                <a:lnTo>
                  <a:pt x="1432302" y="617267"/>
                </a:lnTo>
                <a:lnTo>
                  <a:pt x="1449644" y="617591"/>
                </a:lnTo>
                <a:lnTo>
                  <a:pt x="1455793" y="623174"/>
                </a:lnTo>
                <a:cubicBezTo>
                  <a:pt x="1461744" y="626151"/>
                  <a:pt x="1469373" y="626493"/>
                  <a:pt x="1480758" y="620863"/>
                </a:cubicBezTo>
                <a:lnTo>
                  <a:pt x="1483154" y="618527"/>
                </a:lnTo>
                <a:lnTo>
                  <a:pt x="1505495" y="624325"/>
                </a:lnTo>
                <a:cubicBezTo>
                  <a:pt x="1512992" y="627532"/>
                  <a:pt x="1520025" y="632078"/>
                  <a:pt x="1526340" y="638496"/>
                </a:cubicBezTo>
                <a:cubicBezTo>
                  <a:pt x="1586113" y="586768"/>
                  <a:pt x="1659006" y="610309"/>
                  <a:pt x="1731986" y="589682"/>
                </a:cubicBezTo>
                <a:cubicBezTo>
                  <a:pt x="1750397" y="523106"/>
                  <a:pt x="1896056" y="573257"/>
                  <a:pt x="1927935" y="628540"/>
                </a:cubicBezTo>
                <a:cubicBezTo>
                  <a:pt x="1912854" y="559823"/>
                  <a:pt x="2112261" y="676347"/>
                  <a:pt x="2039075" y="599964"/>
                </a:cubicBezTo>
                <a:cubicBezTo>
                  <a:pt x="2066036" y="601198"/>
                  <a:pt x="2086366" y="569532"/>
                  <a:pt x="2066980" y="550413"/>
                </a:cubicBezTo>
                <a:cubicBezTo>
                  <a:pt x="2155364" y="582582"/>
                  <a:pt x="2259548" y="514786"/>
                  <a:pt x="2352236" y="519602"/>
                </a:cubicBezTo>
                <a:cubicBezTo>
                  <a:pt x="2388450" y="459394"/>
                  <a:pt x="2373298" y="511682"/>
                  <a:pt x="2420791" y="492826"/>
                </a:cubicBezTo>
                <a:cubicBezTo>
                  <a:pt x="2417962" y="542563"/>
                  <a:pt x="2475071" y="455098"/>
                  <a:pt x="2489932" y="507864"/>
                </a:cubicBezTo>
                <a:cubicBezTo>
                  <a:pt x="2498105" y="502761"/>
                  <a:pt x="2505553" y="496153"/>
                  <a:pt x="2512917" y="489127"/>
                </a:cubicBezTo>
                <a:lnTo>
                  <a:pt x="2516783" y="485473"/>
                </a:lnTo>
                <a:lnTo>
                  <a:pt x="2534360" y="480064"/>
                </a:lnTo>
                <a:lnTo>
                  <a:pt x="2536691" y="467018"/>
                </a:lnTo>
                <a:lnTo>
                  <a:pt x="2561265" y="450623"/>
                </a:lnTo>
                <a:cubicBezTo>
                  <a:pt x="2570872" y="446262"/>
                  <a:pt x="2581686" y="443655"/>
                  <a:pt x="2594349" y="443884"/>
                </a:cubicBezTo>
                <a:cubicBezTo>
                  <a:pt x="2640435" y="464638"/>
                  <a:pt x="2696955" y="396361"/>
                  <a:pt x="2754324" y="424766"/>
                </a:cubicBezTo>
                <a:cubicBezTo>
                  <a:pt x="2775130" y="430896"/>
                  <a:pt x="2837731" y="423458"/>
                  <a:pt x="2848470" y="405966"/>
                </a:cubicBezTo>
                <a:cubicBezTo>
                  <a:pt x="2861295" y="401100"/>
                  <a:pt x="2876936" y="405309"/>
                  <a:pt x="2881772" y="387260"/>
                </a:cubicBezTo>
                <a:cubicBezTo>
                  <a:pt x="2890299" y="365261"/>
                  <a:pt x="2938134" y="392997"/>
                  <a:pt x="2929932" y="368912"/>
                </a:cubicBezTo>
                <a:cubicBezTo>
                  <a:pt x="2963844" y="387799"/>
                  <a:pt x="2986550" y="341223"/>
                  <a:pt x="3013020" y="327578"/>
                </a:cubicBezTo>
                <a:cubicBezTo>
                  <a:pt x="3040041" y="346996"/>
                  <a:pt x="3068934" y="299222"/>
                  <a:pt x="3127968" y="287613"/>
                </a:cubicBezTo>
                <a:cubicBezTo>
                  <a:pt x="3157770" y="310215"/>
                  <a:pt x="3167695" y="279445"/>
                  <a:pt x="3222191" y="307887"/>
                </a:cubicBezTo>
                <a:cubicBezTo>
                  <a:pt x="3223593" y="304249"/>
                  <a:pt x="3225533" y="300801"/>
                  <a:pt x="3227953" y="297650"/>
                </a:cubicBezTo>
                <a:cubicBezTo>
                  <a:pt x="3242008" y="279345"/>
                  <a:pt x="3268831" y="274825"/>
                  <a:pt x="3287859" y="287558"/>
                </a:cubicBezTo>
                <a:cubicBezTo>
                  <a:pt x="3373144" y="323866"/>
                  <a:pt x="3442657" y="311681"/>
                  <a:pt x="3510042" y="311820"/>
                </a:cubicBezTo>
                <a:cubicBezTo>
                  <a:pt x="3585274" y="306641"/>
                  <a:pt x="3525753" y="258887"/>
                  <a:pt x="3626773" y="290452"/>
                </a:cubicBezTo>
                <a:cubicBezTo>
                  <a:pt x="3633124" y="269835"/>
                  <a:pt x="3644693" y="267134"/>
                  <a:pt x="3666217" y="273255"/>
                </a:cubicBezTo>
                <a:cubicBezTo>
                  <a:pt x="3702502" y="269310"/>
                  <a:pt x="3690563" y="221720"/>
                  <a:pt x="3732427" y="245039"/>
                </a:cubicBezTo>
                <a:cubicBezTo>
                  <a:pt x="3720985" y="220241"/>
                  <a:pt x="3798776" y="224539"/>
                  <a:pt x="3777022" y="200276"/>
                </a:cubicBezTo>
                <a:cubicBezTo>
                  <a:pt x="3781759" y="193499"/>
                  <a:pt x="3786499" y="190723"/>
                  <a:pt x="3791246" y="189996"/>
                </a:cubicBezTo>
                <a:cubicBezTo>
                  <a:pt x="3800740" y="188542"/>
                  <a:pt x="3810265" y="195284"/>
                  <a:pt x="3819864" y="194605"/>
                </a:cubicBezTo>
                <a:lnTo>
                  <a:pt x="3830398" y="188383"/>
                </a:lnTo>
                <a:lnTo>
                  <a:pt x="3834360" y="188992"/>
                </a:lnTo>
                <a:lnTo>
                  <a:pt x="3843715" y="188752"/>
                </a:lnTo>
                <a:lnTo>
                  <a:pt x="3842609" y="197386"/>
                </a:lnTo>
                <a:cubicBezTo>
                  <a:pt x="3840673" y="205638"/>
                  <a:pt x="3839248" y="214671"/>
                  <a:pt x="3853961" y="213380"/>
                </a:cubicBezTo>
                <a:cubicBezTo>
                  <a:pt x="3884396" y="206569"/>
                  <a:pt x="3895082" y="241941"/>
                  <a:pt x="3907640" y="207568"/>
                </a:cubicBezTo>
                <a:lnTo>
                  <a:pt x="3910449" y="197808"/>
                </a:lnTo>
                <a:lnTo>
                  <a:pt x="3917197" y="196121"/>
                </a:lnTo>
                <a:cubicBezTo>
                  <a:pt x="3920833" y="196372"/>
                  <a:pt x="3922919" y="198717"/>
                  <a:pt x="3922400" y="205056"/>
                </a:cubicBezTo>
                <a:cubicBezTo>
                  <a:pt x="3950680" y="178467"/>
                  <a:pt x="3984062" y="218098"/>
                  <a:pt x="4013061" y="224874"/>
                </a:cubicBezTo>
                <a:cubicBezTo>
                  <a:pt x="4034530" y="199451"/>
                  <a:pt x="4074202" y="238734"/>
                  <a:pt x="4134285" y="235592"/>
                </a:cubicBezTo>
                <a:cubicBezTo>
                  <a:pt x="4157674" y="206403"/>
                  <a:pt x="4174806" y="233822"/>
                  <a:pt x="4220717" y="192946"/>
                </a:cubicBezTo>
                <a:cubicBezTo>
                  <a:pt x="4222964" y="196132"/>
                  <a:pt x="4225687" y="199002"/>
                  <a:pt x="4228802" y="201468"/>
                </a:cubicBezTo>
                <a:cubicBezTo>
                  <a:pt x="4246898" y="215792"/>
                  <a:pt x="4274013" y="213632"/>
                  <a:pt x="4289361" y="196642"/>
                </a:cubicBezTo>
                <a:cubicBezTo>
                  <a:pt x="4363212" y="140627"/>
                  <a:pt x="4433598" y="135488"/>
                  <a:pt x="4498913" y="118915"/>
                </a:cubicBezTo>
                <a:cubicBezTo>
                  <a:pt x="4573135" y="105586"/>
                  <a:pt x="4527062" y="166416"/>
                  <a:pt x="4617330" y="111163"/>
                </a:cubicBezTo>
                <a:cubicBezTo>
                  <a:pt x="4628518" y="129608"/>
                  <a:pt x="4640397" y="129405"/>
                  <a:pt x="4659778" y="118219"/>
                </a:cubicBezTo>
                <a:cubicBezTo>
                  <a:pt x="4695929" y="113193"/>
                  <a:pt x="4695958" y="162259"/>
                  <a:pt x="4730870" y="129432"/>
                </a:cubicBezTo>
                <a:cubicBezTo>
                  <a:pt x="4725822" y="156271"/>
                  <a:pt x="4800214" y="133127"/>
                  <a:pt x="4785037" y="161964"/>
                </a:cubicBezTo>
                <a:cubicBezTo>
                  <a:pt x="4810025" y="183633"/>
                  <a:pt x="4819434" y="143205"/>
                  <a:pt x="4844073" y="161768"/>
                </a:cubicBezTo>
                <a:cubicBezTo>
                  <a:pt x="4870797" y="164132"/>
                  <a:pt x="4827288" y="135164"/>
                  <a:pt x="4856454" y="130488"/>
                </a:cubicBezTo>
                <a:cubicBezTo>
                  <a:pt x="4892086" y="129553"/>
                  <a:pt x="4889263" y="81477"/>
                  <a:pt x="4920038" y="140418"/>
                </a:cubicBezTo>
                <a:cubicBezTo>
                  <a:pt x="4956358" y="122308"/>
                  <a:pt x="4965108" y="149263"/>
                  <a:pt x="5016639" y="158905"/>
                </a:cubicBezTo>
                <a:cubicBezTo>
                  <a:pt x="5037063" y="141828"/>
                  <a:pt x="5054534" y="147986"/>
                  <a:pt x="5072009" y="161502"/>
                </a:cubicBezTo>
                <a:cubicBezTo>
                  <a:pt x="5121260" y="153653"/>
                  <a:pt x="5167555" y="172635"/>
                  <a:pt x="5223626" y="177356"/>
                </a:cubicBezTo>
                <a:cubicBezTo>
                  <a:pt x="5282824" y="155243"/>
                  <a:pt x="5315859" y="195041"/>
                  <a:pt x="5375773" y="199913"/>
                </a:cubicBezTo>
                <a:cubicBezTo>
                  <a:pt x="5432511" y="156218"/>
                  <a:pt x="5417550" y="256036"/>
                  <a:pt x="5467502" y="250963"/>
                </a:cubicBezTo>
                <a:cubicBezTo>
                  <a:pt x="5547124" y="209975"/>
                  <a:pt x="5467171" y="283839"/>
                  <a:pt x="5592395" y="265434"/>
                </a:cubicBezTo>
                <a:cubicBezTo>
                  <a:pt x="5599201" y="258867"/>
                  <a:pt x="5614752" y="264706"/>
                  <a:pt x="5613532" y="273379"/>
                </a:cubicBezTo>
                <a:cubicBezTo>
                  <a:pt x="5621390" y="270408"/>
                  <a:pt x="5639720" y="253173"/>
                  <a:pt x="5642173" y="266904"/>
                </a:cubicBezTo>
                <a:cubicBezTo>
                  <a:pt x="5682296" y="267049"/>
                  <a:pt x="5721812" y="257513"/>
                  <a:pt x="5756910" y="239211"/>
                </a:cubicBezTo>
                <a:cubicBezTo>
                  <a:pt x="5834998" y="260050"/>
                  <a:pt x="5790596" y="197229"/>
                  <a:pt x="5846667" y="201786"/>
                </a:cubicBezTo>
                <a:cubicBezTo>
                  <a:pt x="5892444" y="227312"/>
                  <a:pt x="5908324" y="204527"/>
                  <a:pt x="5960732" y="220708"/>
                </a:cubicBezTo>
                <a:cubicBezTo>
                  <a:pt x="5977124" y="175349"/>
                  <a:pt x="6009640" y="223654"/>
                  <a:pt x="6029542" y="210339"/>
                </a:cubicBezTo>
                <a:cubicBezTo>
                  <a:pt x="6063108" y="261420"/>
                  <a:pt x="6107411" y="160034"/>
                  <a:pt x="6141123" y="159923"/>
                </a:cubicBezTo>
                <a:cubicBezTo>
                  <a:pt x="6198068" y="167749"/>
                  <a:pt x="6260628" y="219715"/>
                  <a:pt x="6290640" y="167441"/>
                </a:cubicBezTo>
                <a:cubicBezTo>
                  <a:pt x="6295193" y="188689"/>
                  <a:pt x="6290494" y="217816"/>
                  <a:pt x="6322806" y="213293"/>
                </a:cubicBezTo>
                <a:cubicBezTo>
                  <a:pt x="6335911" y="223881"/>
                  <a:pt x="6338726" y="256581"/>
                  <a:pt x="6364914" y="240140"/>
                </a:cubicBezTo>
                <a:cubicBezTo>
                  <a:pt x="6331888" y="211628"/>
                  <a:pt x="6385856" y="207033"/>
                  <a:pt x="6380420" y="173195"/>
                </a:cubicBezTo>
                <a:cubicBezTo>
                  <a:pt x="6420580" y="151473"/>
                  <a:pt x="6513519" y="179296"/>
                  <a:pt x="6507891" y="118474"/>
                </a:cubicBezTo>
                <a:cubicBezTo>
                  <a:pt x="6519398" y="82452"/>
                  <a:pt x="6571830" y="137398"/>
                  <a:pt x="6571807" y="98636"/>
                </a:cubicBezTo>
                <a:cubicBezTo>
                  <a:pt x="6594702" y="123421"/>
                  <a:pt x="6634676" y="82071"/>
                  <a:pt x="6671880" y="82931"/>
                </a:cubicBezTo>
                <a:cubicBezTo>
                  <a:pt x="6678855" y="65407"/>
                  <a:pt x="6687415" y="66196"/>
                  <a:pt x="6702266" y="75470"/>
                </a:cubicBezTo>
                <a:cubicBezTo>
                  <a:pt x="6747004" y="78450"/>
                  <a:pt x="6798307" y="53072"/>
                  <a:pt x="6845802" y="24496"/>
                </a:cubicBezTo>
                <a:close/>
              </a:path>
            </a:pathLst>
          </a:custGeom>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Bembo"/>
              <a:ea typeface="+mn-ea"/>
              <a:cs typeface="+mn-cs"/>
            </a:endParaRPr>
          </a:p>
        </p:txBody>
      </p:sp>
      <p:sp>
        <p:nvSpPr>
          <p:cNvPr id="23" name="Freeform: Shape 22">
            <a:extLst>
              <a:ext uri="{FF2B5EF4-FFF2-40B4-BE49-F238E27FC236}">
                <a16:creationId xmlns:a16="http://schemas.microsoft.com/office/drawing/2014/main" id="{4E4B6B21-A690-42E7-A1B0-23F36836AB25}"/>
              </a:ext>
              <a:ext uri="{C183D7F6-B498-43B3-948B-1728B52AA6E4}">
                <adec:decorative xmlns:adec="http://schemas.microsoft.com/office/drawing/2017/decorative" val="1"/>
              </a:ext>
            </a:extLst>
          </p:cNvPr>
          <p:cNvSpPr/>
          <p:nvPr userDrawn="1"/>
        </p:nvSpPr>
        <p:spPr>
          <a:xfrm>
            <a:off x="2" y="0"/>
            <a:ext cx="7890120" cy="735601"/>
          </a:xfrm>
          <a:custGeom>
            <a:avLst/>
            <a:gdLst>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906706 w 10678681"/>
              <a:gd name="connsiteY64" fmla="*/ 1027961 h 1357700"/>
              <a:gd name="connsiteX65" fmla="*/ 6698313 w 10678681"/>
              <a:gd name="connsiteY65" fmla="*/ 1063249 h 1357700"/>
              <a:gd name="connsiteX66" fmla="*/ 6505317 w 10678681"/>
              <a:gd name="connsiteY66" fmla="*/ 1011686 h 1357700"/>
              <a:gd name="connsiteX67" fmla="*/ 6392549 w 10678681"/>
              <a:gd name="connsiteY67" fmla="*/ 1032948 h 1357700"/>
              <a:gd name="connsiteX68" fmla="*/ 6361470 w 10678681"/>
              <a:gd name="connsiteY68" fmla="*/ 1080572 h 1357700"/>
              <a:gd name="connsiteX69" fmla="*/ 6074811 w 10678681"/>
              <a:gd name="connsiteY69" fmla="*/ 1092701 h 1357700"/>
              <a:gd name="connsiteX70" fmla="*/ 6004655 w 10678681"/>
              <a:gd name="connsiteY70" fmla="*/ 1114946 h 1357700"/>
              <a:gd name="connsiteX71" fmla="*/ 5936643 w 10678681"/>
              <a:gd name="connsiteY71" fmla="*/ 1095428 h 1357700"/>
              <a:gd name="connsiteX72" fmla="*/ 5912484 w 10678681"/>
              <a:gd name="connsiteY72" fmla="*/ 1112624 h 1357700"/>
              <a:gd name="connsiteX73" fmla="*/ 5908387 w 10678681"/>
              <a:gd name="connsiteY73" fmla="*/ 1116018 h 1357700"/>
              <a:gd name="connsiteX74" fmla="*/ 5890495 w 10678681"/>
              <a:gd name="connsiteY74" fmla="*/ 1120268 h 1357700"/>
              <a:gd name="connsiteX75" fmla="*/ 5887318 w 10678681"/>
              <a:gd name="connsiteY75" fmla="*/ 1133134 h 1357700"/>
              <a:gd name="connsiteX76" fmla="*/ 5861726 w 10678681"/>
              <a:gd name="connsiteY76" fmla="*/ 1147891 h 1357700"/>
              <a:gd name="connsiteX77" fmla="*/ 5828273 w 10678681"/>
              <a:gd name="connsiteY77" fmla="*/ 1152456 h 1357700"/>
              <a:gd name="connsiteX78" fmla="*/ 5667391 w 10678681"/>
              <a:gd name="connsiteY78" fmla="*/ 1161093 h 1357700"/>
              <a:gd name="connsiteX79" fmla="*/ 5572219 w 10678681"/>
              <a:gd name="connsiteY79" fmla="*/ 1173708 h 1357700"/>
              <a:gd name="connsiteX80" fmla="*/ 5537768 w 10678681"/>
              <a:gd name="connsiteY80" fmla="*/ 1190202 h 1357700"/>
              <a:gd name="connsiteX81" fmla="*/ 5488513 w 10678681"/>
              <a:gd name="connsiteY81" fmla="*/ 1205367 h 1357700"/>
              <a:gd name="connsiteX82" fmla="*/ 5402905 w 10678681"/>
              <a:gd name="connsiteY82" fmla="*/ 1241191 h 1357700"/>
              <a:gd name="connsiteX83" fmla="*/ 5285593 w 10678681"/>
              <a:gd name="connsiteY83" fmla="*/ 1273569 h 1357700"/>
              <a:gd name="connsiteX84" fmla="*/ 5192893 w 10678681"/>
              <a:gd name="connsiteY84" fmla="*/ 1247188 h 1357700"/>
              <a:gd name="connsiteX85" fmla="*/ 5186475 w 10678681"/>
              <a:gd name="connsiteY85" fmla="*/ 1257028 h 1357700"/>
              <a:gd name="connsiteX86" fmla="*/ 5126038 w 10678681"/>
              <a:gd name="connsiteY86" fmla="*/ 1263189 h 1357700"/>
              <a:gd name="connsiteX87" fmla="*/ 4905913 w 10678681"/>
              <a:gd name="connsiteY87" fmla="*/ 1224477 h 1357700"/>
              <a:gd name="connsiteX88" fmla="*/ 4788036 w 10678681"/>
              <a:gd name="connsiteY88" fmla="*/ 1238182 h 1357700"/>
              <a:gd name="connsiteX89" fmla="*/ 4747555 w 10678681"/>
              <a:gd name="connsiteY89" fmla="*/ 1252768 h 1357700"/>
              <a:gd name="connsiteX90" fmla="*/ 4679644 w 10678681"/>
              <a:gd name="connsiteY90" fmla="*/ 1276603 h 1357700"/>
              <a:gd name="connsiteX91" fmla="*/ 4632222 w 10678681"/>
              <a:gd name="connsiteY91" fmla="*/ 1318360 h 1357700"/>
              <a:gd name="connsiteX92" fmla="*/ 4617358 w 10678681"/>
              <a:gd name="connsiteY92" fmla="*/ 1327690 h 1357700"/>
              <a:gd name="connsiteX93" fmla="*/ 4589102 w 10678681"/>
              <a:gd name="connsiteY93" fmla="*/ 1321223 h 1357700"/>
              <a:gd name="connsiteX94" fmla="*/ 4578184 w 10678681"/>
              <a:gd name="connsiteY94" fmla="*/ 1326745 h 1357700"/>
              <a:gd name="connsiteX95" fmla="*/ 4574270 w 10678681"/>
              <a:gd name="connsiteY95" fmla="*/ 1325878 h 1357700"/>
              <a:gd name="connsiteX96" fmla="*/ 4564919 w 10678681"/>
              <a:gd name="connsiteY96" fmla="*/ 1325507 h 1357700"/>
              <a:gd name="connsiteX97" fmla="*/ 4566586 w 10678681"/>
              <a:gd name="connsiteY97" fmla="*/ 1316963 h 1357700"/>
              <a:gd name="connsiteX98" fmla="*/ 4556303 w 10678681"/>
              <a:gd name="connsiteY98" fmla="*/ 1300262 h 1357700"/>
              <a:gd name="connsiteX99" fmla="*/ 4502358 w 10678681"/>
              <a:gd name="connsiteY99" fmla="*/ 1302558 h 1357700"/>
              <a:gd name="connsiteX100" fmla="*/ 4498919 w 10678681"/>
              <a:gd name="connsiteY100" fmla="*/ 1312115 h 1357700"/>
              <a:gd name="connsiteX101" fmla="*/ 4492075 w 10678681"/>
              <a:gd name="connsiteY101" fmla="*/ 1313357 h 1357700"/>
              <a:gd name="connsiteX102" fmla="*/ 4487466 w 10678681"/>
              <a:gd name="connsiteY102" fmla="*/ 1304102 h 1357700"/>
              <a:gd name="connsiteX103" fmla="*/ 4398292 w 10678681"/>
              <a:gd name="connsiteY103" fmla="*/ 1278410 h 1357700"/>
              <a:gd name="connsiteX104" fmla="*/ 4278026 w 10678681"/>
              <a:gd name="connsiteY104" fmla="*/ 1259803 h 1357700"/>
              <a:gd name="connsiteX105" fmla="*/ 4188995 w 10678681"/>
              <a:gd name="connsiteY105" fmla="*/ 1296718 h 1357700"/>
              <a:gd name="connsiteX106" fmla="*/ 4181483 w 10678681"/>
              <a:gd name="connsiteY106" fmla="*/ 1287686 h 1357700"/>
              <a:gd name="connsiteX107" fmla="*/ 4120739 w 10678681"/>
              <a:gd name="connsiteY107" fmla="*/ 1288549 h 1357700"/>
              <a:gd name="connsiteX108" fmla="*/ 3906561 w 10678681"/>
              <a:gd name="connsiteY108" fmla="*/ 1352435 h 1357700"/>
              <a:gd name="connsiteX109" fmla="*/ 3787890 w 10678681"/>
              <a:gd name="connsiteY109" fmla="*/ 1352442 h 1357700"/>
              <a:gd name="connsiteX110" fmla="*/ 3745993 w 10678681"/>
              <a:gd name="connsiteY110" fmla="*/ 1342630 h 1357700"/>
              <a:gd name="connsiteX111" fmla="*/ 3675785 w 10678681"/>
              <a:gd name="connsiteY111" fmla="*/ 1326802 h 1357700"/>
              <a:gd name="connsiteX112" fmla="*/ 3623856 w 10678681"/>
              <a:gd name="connsiteY112" fmla="*/ 1290804 h 1357700"/>
              <a:gd name="connsiteX113" fmla="*/ 3564933 w 10678681"/>
              <a:gd name="connsiteY113" fmla="*/ 1287147 h 1357700"/>
              <a:gd name="connsiteX114" fmla="*/ 3550537 w 10678681"/>
              <a:gd name="connsiteY114" fmla="*/ 1317552 h 1357700"/>
              <a:gd name="connsiteX115" fmla="*/ 3487736 w 10678681"/>
              <a:gd name="connsiteY115" fmla="*/ 1303493 h 1357700"/>
              <a:gd name="connsiteX116" fmla="*/ 3392548 w 10678681"/>
              <a:gd name="connsiteY116" fmla="*/ 1278741 h 1357700"/>
              <a:gd name="connsiteX117" fmla="*/ 3337466 w 10678681"/>
              <a:gd name="connsiteY117" fmla="*/ 1272537 h 1357700"/>
              <a:gd name="connsiteX118" fmla="*/ 3187206 w 10678681"/>
              <a:gd name="connsiteY118" fmla="*/ 1246821 h 1357700"/>
              <a:gd name="connsiteX119" fmla="*/ 3036856 w 10678681"/>
              <a:gd name="connsiteY119" fmla="*/ 1214383 h 1357700"/>
              <a:gd name="connsiteX120" fmla="*/ 2948654 w 10678681"/>
              <a:gd name="connsiteY120" fmla="*/ 1157455 h 1357700"/>
              <a:gd name="connsiteX121" fmla="*/ 2824973 w 10678681"/>
              <a:gd name="connsiteY121" fmla="*/ 1134864 h 1357700"/>
              <a:gd name="connsiteX122" fmla="*/ 2804398 w 10678681"/>
              <a:gd name="connsiteY122" fmla="*/ 1125556 h 1357700"/>
              <a:gd name="connsiteX123" fmla="*/ 2775396 w 10678681"/>
              <a:gd name="connsiteY123" fmla="*/ 1130148 h 1357700"/>
              <a:gd name="connsiteX124" fmla="*/ 2659096 w 10678681"/>
              <a:gd name="connsiteY124" fmla="*/ 1150294 h 1357700"/>
              <a:gd name="connsiteX125" fmla="*/ 2567088 w 10678681"/>
              <a:gd name="connsiteY125" fmla="*/ 1181781 h 1357700"/>
              <a:gd name="connsiteX126" fmla="*/ 2454501 w 10678681"/>
              <a:gd name="connsiteY126" fmla="*/ 1155455 h 1357700"/>
              <a:gd name="connsiteX127" fmla="*/ 2385161 w 10678681"/>
              <a:gd name="connsiteY127" fmla="*/ 1161312 h 1357700"/>
              <a:gd name="connsiteX128" fmla="*/ 2270528 w 10678681"/>
              <a:gd name="connsiteY128" fmla="*/ 1204338 h 1357700"/>
              <a:gd name="connsiteX129" fmla="*/ 2121820 w 10678681"/>
              <a:gd name="connsiteY129" fmla="*/ 1187078 h 1357700"/>
              <a:gd name="connsiteX130" fmla="*/ 2092716 w 10678681"/>
              <a:gd name="connsiteY130" fmla="*/ 1139224 h 1357700"/>
              <a:gd name="connsiteX131" fmla="*/ 2052449 w 10678681"/>
              <a:gd name="connsiteY131" fmla="*/ 1109687 h 1357700"/>
              <a:gd name="connsiteX132" fmla="*/ 2032607 w 10678681"/>
              <a:gd name="connsiteY132" fmla="*/ 1175477 h 1357700"/>
              <a:gd name="connsiteX133" fmla="*/ 1901837 w 10678681"/>
              <a:gd name="connsiteY133" fmla="*/ 1221762 h 1357700"/>
              <a:gd name="connsiteX134" fmla="*/ 1836762 w 10678681"/>
              <a:gd name="connsiteY134" fmla="*/ 1237387 h 1357700"/>
              <a:gd name="connsiteX135" fmla="*/ 1735877 w 10678681"/>
              <a:gd name="connsiteY135" fmla="*/ 1246527 h 1357700"/>
              <a:gd name="connsiteX136" fmla="*/ 1705069 w 10678681"/>
              <a:gd name="connsiteY136" fmla="*/ 1251989 h 1357700"/>
              <a:gd name="connsiteX137" fmla="*/ 1397689 w 10678681"/>
              <a:gd name="connsiteY137" fmla="*/ 1336144 h 1357700"/>
              <a:gd name="connsiteX138" fmla="*/ 1220734 w 10678681"/>
              <a:gd name="connsiteY138" fmla="*/ 1257811 h 1357700"/>
              <a:gd name="connsiteX139" fmla="*/ 1021737 w 10678681"/>
              <a:gd name="connsiteY139" fmla="*/ 1238739 h 1357700"/>
              <a:gd name="connsiteX140" fmla="*/ 959820 w 10678681"/>
              <a:gd name="connsiteY140" fmla="*/ 1275863 h 1357700"/>
              <a:gd name="connsiteX141" fmla="*/ 929137 w 10678681"/>
              <a:gd name="connsiteY141" fmla="*/ 1273957 h 1357700"/>
              <a:gd name="connsiteX142" fmla="*/ 878849 w 10678681"/>
              <a:gd name="connsiteY142" fmla="*/ 1266740 h 1357700"/>
              <a:gd name="connsiteX143" fmla="*/ 800667 w 10678681"/>
              <a:gd name="connsiteY143" fmla="*/ 1282041 h 1357700"/>
              <a:gd name="connsiteX144" fmla="*/ 644906 w 10678681"/>
              <a:gd name="connsiteY144" fmla="*/ 1273685 h 1357700"/>
              <a:gd name="connsiteX145" fmla="*/ 379869 w 10678681"/>
              <a:gd name="connsiteY145" fmla="*/ 1339165 h 1357700"/>
              <a:gd name="connsiteX146" fmla="*/ 137696 w 10678681"/>
              <a:gd name="connsiteY146" fmla="*/ 1319217 h 1357700"/>
              <a:gd name="connsiteX147" fmla="*/ 54250 w 10678681"/>
              <a:gd name="connsiteY147" fmla="*/ 1315838 h 1357700"/>
              <a:gd name="connsiteX148" fmla="*/ 28042 w 10678681"/>
              <a:gd name="connsiteY148" fmla="*/ 1297822 h 1357700"/>
              <a:gd name="connsiteX149" fmla="*/ 0 w 10678681"/>
              <a:gd name="connsiteY149" fmla="*/ 1294612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906706 w 10678681"/>
              <a:gd name="connsiteY64" fmla="*/ 1027961 h 1357700"/>
              <a:gd name="connsiteX65" fmla="*/ 6698313 w 10678681"/>
              <a:gd name="connsiteY65" fmla="*/ 1063249 h 1357700"/>
              <a:gd name="connsiteX66" fmla="*/ 6505317 w 10678681"/>
              <a:gd name="connsiteY66" fmla="*/ 1011686 h 1357700"/>
              <a:gd name="connsiteX67" fmla="*/ 6392549 w 10678681"/>
              <a:gd name="connsiteY67" fmla="*/ 1032948 h 1357700"/>
              <a:gd name="connsiteX68" fmla="*/ 6361470 w 10678681"/>
              <a:gd name="connsiteY68" fmla="*/ 1080572 h 1357700"/>
              <a:gd name="connsiteX69" fmla="*/ 6074811 w 10678681"/>
              <a:gd name="connsiteY69" fmla="*/ 1092701 h 1357700"/>
              <a:gd name="connsiteX70" fmla="*/ 6004655 w 10678681"/>
              <a:gd name="connsiteY70" fmla="*/ 1114946 h 1357700"/>
              <a:gd name="connsiteX71" fmla="*/ 5936643 w 10678681"/>
              <a:gd name="connsiteY71" fmla="*/ 1095428 h 1357700"/>
              <a:gd name="connsiteX72" fmla="*/ 5912484 w 10678681"/>
              <a:gd name="connsiteY72" fmla="*/ 1112624 h 1357700"/>
              <a:gd name="connsiteX73" fmla="*/ 5908387 w 10678681"/>
              <a:gd name="connsiteY73" fmla="*/ 1116018 h 1357700"/>
              <a:gd name="connsiteX74" fmla="*/ 5890495 w 10678681"/>
              <a:gd name="connsiteY74" fmla="*/ 1120268 h 1357700"/>
              <a:gd name="connsiteX75" fmla="*/ 5887318 w 10678681"/>
              <a:gd name="connsiteY75" fmla="*/ 1133134 h 1357700"/>
              <a:gd name="connsiteX76" fmla="*/ 5861726 w 10678681"/>
              <a:gd name="connsiteY76" fmla="*/ 1147891 h 1357700"/>
              <a:gd name="connsiteX77" fmla="*/ 5828273 w 10678681"/>
              <a:gd name="connsiteY77" fmla="*/ 1152456 h 1357700"/>
              <a:gd name="connsiteX78" fmla="*/ 5667391 w 10678681"/>
              <a:gd name="connsiteY78" fmla="*/ 1161093 h 1357700"/>
              <a:gd name="connsiteX79" fmla="*/ 5572219 w 10678681"/>
              <a:gd name="connsiteY79" fmla="*/ 1173708 h 1357700"/>
              <a:gd name="connsiteX80" fmla="*/ 5537768 w 10678681"/>
              <a:gd name="connsiteY80" fmla="*/ 1190202 h 1357700"/>
              <a:gd name="connsiteX81" fmla="*/ 5488513 w 10678681"/>
              <a:gd name="connsiteY81" fmla="*/ 1205367 h 1357700"/>
              <a:gd name="connsiteX82" fmla="*/ 5402905 w 10678681"/>
              <a:gd name="connsiteY82" fmla="*/ 1241191 h 1357700"/>
              <a:gd name="connsiteX83" fmla="*/ 5285593 w 10678681"/>
              <a:gd name="connsiteY83" fmla="*/ 1273569 h 1357700"/>
              <a:gd name="connsiteX84" fmla="*/ 5192893 w 10678681"/>
              <a:gd name="connsiteY84" fmla="*/ 1247188 h 1357700"/>
              <a:gd name="connsiteX85" fmla="*/ 5186475 w 10678681"/>
              <a:gd name="connsiteY85" fmla="*/ 1257028 h 1357700"/>
              <a:gd name="connsiteX86" fmla="*/ 5126038 w 10678681"/>
              <a:gd name="connsiteY86" fmla="*/ 1263189 h 1357700"/>
              <a:gd name="connsiteX87" fmla="*/ 4905913 w 10678681"/>
              <a:gd name="connsiteY87" fmla="*/ 1224477 h 1357700"/>
              <a:gd name="connsiteX88" fmla="*/ 4788036 w 10678681"/>
              <a:gd name="connsiteY88" fmla="*/ 1238182 h 1357700"/>
              <a:gd name="connsiteX89" fmla="*/ 4747555 w 10678681"/>
              <a:gd name="connsiteY89" fmla="*/ 1252768 h 1357700"/>
              <a:gd name="connsiteX90" fmla="*/ 4679644 w 10678681"/>
              <a:gd name="connsiteY90" fmla="*/ 1276603 h 1357700"/>
              <a:gd name="connsiteX91" fmla="*/ 4632222 w 10678681"/>
              <a:gd name="connsiteY91" fmla="*/ 1318360 h 1357700"/>
              <a:gd name="connsiteX92" fmla="*/ 4617358 w 10678681"/>
              <a:gd name="connsiteY92" fmla="*/ 1327690 h 1357700"/>
              <a:gd name="connsiteX93" fmla="*/ 4589102 w 10678681"/>
              <a:gd name="connsiteY93" fmla="*/ 1321223 h 1357700"/>
              <a:gd name="connsiteX94" fmla="*/ 4578184 w 10678681"/>
              <a:gd name="connsiteY94" fmla="*/ 1326745 h 1357700"/>
              <a:gd name="connsiteX95" fmla="*/ 4574270 w 10678681"/>
              <a:gd name="connsiteY95" fmla="*/ 1325878 h 1357700"/>
              <a:gd name="connsiteX96" fmla="*/ 4564919 w 10678681"/>
              <a:gd name="connsiteY96" fmla="*/ 1325507 h 1357700"/>
              <a:gd name="connsiteX97" fmla="*/ 4566586 w 10678681"/>
              <a:gd name="connsiteY97" fmla="*/ 1316963 h 1357700"/>
              <a:gd name="connsiteX98" fmla="*/ 4556303 w 10678681"/>
              <a:gd name="connsiteY98" fmla="*/ 1300262 h 1357700"/>
              <a:gd name="connsiteX99" fmla="*/ 4502358 w 10678681"/>
              <a:gd name="connsiteY99" fmla="*/ 1302558 h 1357700"/>
              <a:gd name="connsiteX100" fmla="*/ 4498919 w 10678681"/>
              <a:gd name="connsiteY100" fmla="*/ 1312115 h 1357700"/>
              <a:gd name="connsiteX101" fmla="*/ 4492075 w 10678681"/>
              <a:gd name="connsiteY101" fmla="*/ 1313357 h 1357700"/>
              <a:gd name="connsiteX102" fmla="*/ 4487466 w 10678681"/>
              <a:gd name="connsiteY102" fmla="*/ 1304102 h 1357700"/>
              <a:gd name="connsiteX103" fmla="*/ 4398292 w 10678681"/>
              <a:gd name="connsiteY103" fmla="*/ 1278410 h 1357700"/>
              <a:gd name="connsiteX104" fmla="*/ 4278026 w 10678681"/>
              <a:gd name="connsiteY104" fmla="*/ 1259803 h 1357700"/>
              <a:gd name="connsiteX105" fmla="*/ 4188995 w 10678681"/>
              <a:gd name="connsiteY105" fmla="*/ 1296718 h 1357700"/>
              <a:gd name="connsiteX106" fmla="*/ 4181483 w 10678681"/>
              <a:gd name="connsiteY106" fmla="*/ 1287686 h 1357700"/>
              <a:gd name="connsiteX107" fmla="*/ 4120739 w 10678681"/>
              <a:gd name="connsiteY107" fmla="*/ 1288549 h 1357700"/>
              <a:gd name="connsiteX108" fmla="*/ 3906561 w 10678681"/>
              <a:gd name="connsiteY108" fmla="*/ 1352435 h 1357700"/>
              <a:gd name="connsiteX109" fmla="*/ 3787890 w 10678681"/>
              <a:gd name="connsiteY109" fmla="*/ 1352442 h 1357700"/>
              <a:gd name="connsiteX110" fmla="*/ 3745993 w 10678681"/>
              <a:gd name="connsiteY110" fmla="*/ 1342630 h 1357700"/>
              <a:gd name="connsiteX111" fmla="*/ 3675785 w 10678681"/>
              <a:gd name="connsiteY111" fmla="*/ 1326802 h 1357700"/>
              <a:gd name="connsiteX112" fmla="*/ 3623856 w 10678681"/>
              <a:gd name="connsiteY112" fmla="*/ 1290804 h 1357700"/>
              <a:gd name="connsiteX113" fmla="*/ 3564933 w 10678681"/>
              <a:gd name="connsiteY113" fmla="*/ 1287147 h 1357700"/>
              <a:gd name="connsiteX114" fmla="*/ 3550537 w 10678681"/>
              <a:gd name="connsiteY114" fmla="*/ 1317552 h 1357700"/>
              <a:gd name="connsiteX115" fmla="*/ 3487736 w 10678681"/>
              <a:gd name="connsiteY115" fmla="*/ 1303493 h 1357700"/>
              <a:gd name="connsiteX116" fmla="*/ 3392548 w 10678681"/>
              <a:gd name="connsiteY116" fmla="*/ 1278741 h 1357700"/>
              <a:gd name="connsiteX117" fmla="*/ 3337466 w 10678681"/>
              <a:gd name="connsiteY117" fmla="*/ 1272537 h 1357700"/>
              <a:gd name="connsiteX118" fmla="*/ 3187206 w 10678681"/>
              <a:gd name="connsiteY118" fmla="*/ 1246821 h 1357700"/>
              <a:gd name="connsiteX119" fmla="*/ 3036856 w 10678681"/>
              <a:gd name="connsiteY119" fmla="*/ 1214383 h 1357700"/>
              <a:gd name="connsiteX120" fmla="*/ 2948654 w 10678681"/>
              <a:gd name="connsiteY120" fmla="*/ 1157455 h 1357700"/>
              <a:gd name="connsiteX121" fmla="*/ 2824973 w 10678681"/>
              <a:gd name="connsiteY121" fmla="*/ 1134864 h 1357700"/>
              <a:gd name="connsiteX122" fmla="*/ 2804398 w 10678681"/>
              <a:gd name="connsiteY122" fmla="*/ 1125556 h 1357700"/>
              <a:gd name="connsiteX123" fmla="*/ 2775396 w 10678681"/>
              <a:gd name="connsiteY123" fmla="*/ 1130148 h 1357700"/>
              <a:gd name="connsiteX124" fmla="*/ 2659096 w 10678681"/>
              <a:gd name="connsiteY124" fmla="*/ 1150294 h 1357700"/>
              <a:gd name="connsiteX125" fmla="*/ 2567088 w 10678681"/>
              <a:gd name="connsiteY125" fmla="*/ 1181781 h 1357700"/>
              <a:gd name="connsiteX126" fmla="*/ 2454501 w 10678681"/>
              <a:gd name="connsiteY126" fmla="*/ 1155455 h 1357700"/>
              <a:gd name="connsiteX127" fmla="*/ 2385161 w 10678681"/>
              <a:gd name="connsiteY127" fmla="*/ 1161312 h 1357700"/>
              <a:gd name="connsiteX128" fmla="*/ 2270528 w 10678681"/>
              <a:gd name="connsiteY128" fmla="*/ 1204338 h 1357700"/>
              <a:gd name="connsiteX129" fmla="*/ 2121820 w 10678681"/>
              <a:gd name="connsiteY129" fmla="*/ 1187078 h 1357700"/>
              <a:gd name="connsiteX130" fmla="*/ 2092716 w 10678681"/>
              <a:gd name="connsiteY130" fmla="*/ 1139224 h 1357700"/>
              <a:gd name="connsiteX131" fmla="*/ 2052449 w 10678681"/>
              <a:gd name="connsiteY131" fmla="*/ 1109687 h 1357700"/>
              <a:gd name="connsiteX132" fmla="*/ 2032607 w 10678681"/>
              <a:gd name="connsiteY132" fmla="*/ 1175477 h 1357700"/>
              <a:gd name="connsiteX133" fmla="*/ 1901837 w 10678681"/>
              <a:gd name="connsiteY133" fmla="*/ 1221762 h 1357700"/>
              <a:gd name="connsiteX134" fmla="*/ 1836762 w 10678681"/>
              <a:gd name="connsiteY134" fmla="*/ 1237387 h 1357700"/>
              <a:gd name="connsiteX135" fmla="*/ 1735877 w 10678681"/>
              <a:gd name="connsiteY135" fmla="*/ 1246527 h 1357700"/>
              <a:gd name="connsiteX136" fmla="*/ 1705069 w 10678681"/>
              <a:gd name="connsiteY136" fmla="*/ 1251989 h 1357700"/>
              <a:gd name="connsiteX137" fmla="*/ 1397689 w 10678681"/>
              <a:gd name="connsiteY137" fmla="*/ 1336144 h 1357700"/>
              <a:gd name="connsiteX138" fmla="*/ 1220734 w 10678681"/>
              <a:gd name="connsiteY138" fmla="*/ 1257811 h 1357700"/>
              <a:gd name="connsiteX139" fmla="*/ 1021737 w 10678681"/>
              <a:gd name="connsiteY139" fmla="*/ 1238739 h 1357700"/>
              <a:gd name="connsiteX140" fmla="*/ 959820 w 10678681"/>
              <a:gd name="connsiteY140" fmla="*/ 1275863 h 1357700"/>
              <a:gd name="connsiteX141" fmla="*/ 929137 w 10678681"/>
              <a:gd name="connsiteY141" fmla="*/ 1273957 h 1357700"/>
              <a:gd name="connsiteX142" fmla="*/ 878849 w 10678681"/>
              <a:gd name="connsiteY142" fmla="*/ 1266740 h 1357700"/>
              <a:gd name="connsiteX143" fmla="*/ 800667 w 10678681"/>
              <a:gd name="connsiteY143" fmla="*/ 1282041 h 1357700"/>
              <a:gd name="connsiteX144" fmla="*/ 644906 w 10678681"/>
              <a:gd name="connsiteY144" fmla="*/ 1273685 h 1357700"/>
              <a:gd name="connsiteX145" fmla="*/ 379869 w 10678681"/>
              <a:gd name="connsiteY145" fmla="*/ 1339165 h 1357700"/>
              <a:gd name="connsiteX146" fmla="*/ 137696 w 10678681"/>
              <a:gd name="connsiteY146" fmla="*/ 1319217 h 1357700"/>
              <a:gd name="connsiteX147" fmla="*/ 54250 w 10678681"/>
              <a:gd name="connsiteY147" fmla="*/ 1315838 h 1357700"/>
              <a:gd name="connsiteX148" fmla="*/ 28042 w 10678681"/>
              <a:gd name="connsiteY148" fmla="*/ 1297822 h 1357700"/>
              <a:gd name="connsiteX149" fmla="*/ 0 w 10678681"/>
              <a:gd name="connsiteY149" fmla="*/ 1294612 h 1357700"/>
              <a:gd name="connsiteX150" fmla="*/ 0 w 10678681"/>
              <a:gd name="connsiteY150"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98313 w 10678681"/>
              <a:gd name="connsiteY65" fmla="*/ 1063249 h 1357700"/>
              <a:gd name="connsiteX66" fmla="*/ 6505317 w 10678681"/>
              <a:gd name="connsiteY66" fmla="*/ 1011686 h 1357700"/>
              <a:gd name="connsiteX67" fmla="*/ 6392549 w 10678681"/>
              <a:gd name="connsiteY67" fmla="*/ 1032948 h 1357700"/>
              <a:gd name="connsiteX68" fmla="*/ 6361470 w 10678681"/>
              <a:gd name="connsiteY68" fmla="*/ 1080572 h 1357700"/>
              <a:gd name="connsiteX69" fmla="*/ 6074811 w 10678681"/>
              <a:gd name="connsiteY69" fmla="*/ 1092701 h 1357700"/>
              <a:gd name="connsiteX70" fmla="*/ 6004655 w 10678681"/>
              <a:gd name="connsiteY70" fmla="*/ 1114946 h 1357700"/>
              <a:gd name="connsiteX71" fmla="*/ 5936643 w 10678681"/>
              <a:gd name="connsiteY71" fmla="*/ 1095428 h 1357700"/>
              <a:gd name="connsiteX72" fmla="*/ 5912484 w 10678681"/>
              <a:gd name="connsiteY72" fmla="*/ 1112624 h 1357700"/>
              <a:gd name="connsiteX73" fmla="*/ 5908387 w 10678681"/>
              <a:gd name="connsiteY73" fmla="*/ 1116018 h 1357700"/>
              <a:gd name="connsiteX74" fmla="*/ 5890495 w 10678681"/>
              <a:gd name="connsiteY74" fmla="*/ 1120268 h 1357700"/>
              <a:gd name="connsiteX75" fmla="*/ 5887318 w 10678681"/>
              <a:gd name="connsiteY75" fmla="*/ 1133134 h 1357700"/>
              <a:gd name="connsiteX76" fmla="*/ 5861726 w 10678681"/>
              <a:gd name="connsiteY76" fmla="*/ 1147891 h 1357700"/>
              <a:gd name="connsiteX77" fmla="*/ 5828273 w 10678681"/>
              <a:gd name="connsiteY77" fmla="*/ 1152456 h 1357700"/>
              <a:gd name="connsiteX78" fmla="*/ 5667391 w 10678681"/>
              <a:gd name="connsiteY78" fmla="*/ 1161093 h 1357700"/>
              <a:gd name="connsiteX79" fmla="*/ 5572219 w 10678681"/>
              <a:gd name="connsiteY79" fmla="*/ 1173708 h 1357700"/>
              <a:gd name="connsiteX80" fmla="*/ 5537768 w 10678681"/>
              <a:gd name="connsiteY80" fmla="*/ 1190202 h 1357700"/>
              <a:gd name="connsiteX81" fmla="*/ 5488513 w 10678681"/>
              <a:gd name="connsiteY81" fmla="*/ 1205367 h 1357700"/>
              <a:gd name="connsiteX82" fmla="*/ 5402905 w 10678681"/>
              <a:gd name="connsiteY82" fmla="*/ 1241191 h 1357700"/>
              <a:gd name="connsiteX83" fmla="*/ 5285593 w 10678681"/>
              <a:gd name="connsiteY83" fmla="*/ 1273569 h 1357700"/>
              <a:gd name="connsiteX84" fmla="*/ 5192893 w 10678681"/>
              <a:gd name="connsiteY84" fmla="*/ 1247188 h 1357700"/>
              <a:gd name="connsiteX85" fmla="*/ 5186475 w 10678681"/>
              <a:gd name="connsiteY85" fmla="*/ 1257028 h 1357700"/>
              <a:gd name="connsiteX86" fmla="*/ 5126038 w 10678681"/>
              <a:gd name="connsiteY86" fmla="*/ 1263189 h 1357700"/>
              <a:gd name="connsiteX87" fmla="*/ 4905913 w 10678681"/>
              <a:gd name="connsiteY87" fmla="*/ 1224477 h 1357700"/>
              <a:gd name="connsiteX88" fmla="*/ 4788036 w 10678681"/>
              <a:gd name="connsiteY88" fmla="*/ 1238182 h 1357700"/>
              <a:gd name="connsiteX89" fmla="*/ 4747555 w 10678681"/>
              <a:gd name="connsiteY89" fmla="*/ 1252768 h 1357700"/>
              <a:gd name="connsiteX90" fmla="*/ 4679644 w 10678681"/>
              <a:gd name="connsiteY90" fmla="*/ 1276603 h 1357700"/>
              <a:gd name="connsiteX91" fmla="*/ 4632222 w 10678681"/>
              <a:gd name="connsiteY91" fmla="*/ 1318360 h 1357700"/>
              <a:gd name="connsiteX92" fmla="*/ 4617358 w 10678681"/>
              <a:gd name="connsiteY92" fmla="*/ 1327690 h 1357700"/>
              <a:gd name="connsiteX93" fmla="*/ 4589102 w 10678681"/>
              <a:gd name="connsiteY93" fmla="*/ 1321223 h 1357700"/>
              <a:gd name="connsiteX94" fmla="*/ 4578184 w 10678681"/>
              <a:gd name="connsiteY94" fmla="*/ 1326745 h 1357700"/>
              <a:gd name="connsiteX95" fmla="*/ 4574270 w 10678681"/>
              <a:gd name="connsiteY95" fmla="*/ 1325878 h 1357700"/>
              <a:gd name="connsiteX96" fmla="*/ 4564919 w 10678681"/>
              <a:gd name="connsiteY96" fmla="*/ 1325507 h 1357700"/>
              <a:gd name="connsiteX97" fmla="*/ 4566586 w 10678681"/>
              <a:gd name="connsiteY97" fmla="*/ 1316963 h 1357700"/>
              <a:gd name="connsiteX98" fmla="*/ 4556303 w 10678681"/>
              <a:gd name="connsiteY98" fmla="*/ 1300262 h 1357700"/>
              <a:gd name="connsiteX99" fmla="*/ 4502358 w 10678681"/>
              <a:gd name="connsiteY99" fmla="*/ 1302558 h 1357700"/>
              <a:gd name="connsiteX100" fmla="*/ 4498919 w 10678681"/>
              <a:gd name="connsiteY100" fmla="*/ 1312115 h 1357700"/>
              <a:gd name="connsiteX101" fmla="*/ 4492075 w 10678681"/>
              <a:gd name="connsiteY101" fmla="*/ 1313357 h 1357700"/>
              <a:gd name="connsiteX102" fmla="*/ 4487466 w 10678681"/>
              <a:gd name="connsiteY102" fmla="*/ 1304102 h 1357700"/>
              <a:gd name="connsiteX103" fmla="*/ 4398292 w 10678681"/>
              <a:gd name="connsiteY103" fmla="*/ 1278410 h 1357700"/>
              <a:gd name="connsiteX104" fmla="*/ 4278026 w 10678681"/>
              <a:gd name="connsiteY104" fmla="*/ 1259803 h 1357700"/>
              <a:gd name="connsiteX105" fmla="*/ 4188995 w 10678681"/>
              <a:gd name="connsiteY105" fmla="*/ 1296718 h 1357700"/>
              <a:gd name="connsiteX106" fmla="*/ 4181483 w 10678681"/>
              <a:gd name="connsiteY106" fmla="*/ 1287686 h 1357700"/>
              <a:gd name="connsiteX107" fmla="*/ 4120739 w 10678681"/>
              <a:gd name="connsiteY107" fmla="*/ 1288549 h 1357700"/>
              <a:gd name="connsiteX108" fmla="*/ 3906561 w 10678681"/>
              <a:gd name="connsiteY108" fmla="*/ 1352435 h 1357700"/>
              <a:gd name="connsiteX109" fmla="*/ 3787890 w 10678681"/>
              <a:gd name="connsiteY109" fmla="*/ 1352442 h 1357700"/>
              <a:gd name="connsiteX110" fmla="*/ 3745993 w 10678681"/>
              <a:gd name="connsiteY110" fmla="*/ 1342630 h 1357700"/>
              <a:gd name="connsiteX111" fmla="*/ 3675785 w 10678681"/>
              <a:gd name="connsiteY111" fmla="*/ 1326802 h 1357700"/>
              <a:gd name="connsiteX112" fmla="*/ 3623856 w 10678681"/>
              <a:gd name="connsiteY112" fmla="*/ 1290804 h 1357700"/>
              <a:gd name="connsiteX113" fmla="*/ 3564933 w 10678681"/>
              <a:gd name="connsiteY113" fmla="*/ 1287147 h 1357700"/>
              <a:gd name="connsiteX114" fmla="*/ 3550537 w 10678681"/>
              <a:gd name="connsiteY114" fmla="*/ 1317552 h 1357700"/>
              <a:gd name="connsiteX115" fmla="*/ 3487736 w 10678681"/>
              <a:gd name="connsiteY115" fmla="*/ 1303493 h 1357700"/>
              <a:gd name="connsiteX116" fmla="*/ 3392548 w 10678681"/>
              <a:gd name="connsiteY116" fmla="*/ 1278741 h 1357700"/>
              <a:gd name="connsiteX117" fmla="*/ 3337466 w 10678681"/>
              <a:gd name="connsiteY117" fmla="*/ 1272537 h 1357700"/>
              <a:gd name="connsiteX118" fmla="*/ 3187206 w 10678681"/>
              <a:gd name="connsiteY118" fmla="*/ 1246821 h 1357700"/>
              <a:gd name="connsiteX119" fmla="*/ 3036856 w 10678681"/>
              <a:gd name="connsiteY119" fmla="*/ 1214383 h 1357700"/>
              <a:gd name="connsiteX120" fmla="*/ 2948654 w 10678681"/>
              <a:gd name="connsiteY120" fmla="*/ 1157455 h 1357700"/>
              <a:gd name="connsiteX121" fmla="*/ 2824973 w 10678681"/>
              <a:gd name="connsiteY121" fmla="*/ 1134864 h 1357700"/>
              <a:gd name="connsiteX122" fmla="*/ 2804398 w 10678681"/>
              <a:gd name="connsiteY122" fmla="*/ 1125556 h 1357700"/>
              <a:gd name="connsiteX123" fmla="*/ 2775396 w 10678681"/>
              <a:gd name="connsiteY123" fmla="*/ 1130148 h 1357700"/>
              <a:gd name="connsiteX124" fmla="*/ 2659096 w 10678681"/>
              <a:gd name="connsiteY124" fmla="*/ 1150294 h 1357700"/>
              <a:gd name="connsiteX125" fmla="*/ 2567088 w 10678681"/>
              <a:gd name="connsiteY125" fmla="*/ 1181781 h 1357700"/>
              <a:gd name="connsiteX126" fmla="*/ 2454501 w 10678681"/>
              <a:gd name="connsiteY126" fmla="*/ 1155455 h 1357700"/>
              <a:gd name="connsiteX127" fmla="*/ 2385161 w 10678681"/>
              <a:gd name="connsiteY127" fmla="*/ 1161312 h 1357700"/>
              <a:gd name="connsiteX128" fmla="*/ 2270528 w 10678681"/>
              <a:gd name="connsiteY128" fmla="*/ 1204338 h 1357700"/>
              <a:gd name="connsiteX129" fmla="*/ 2121820 w 10678681"/>
              <a:gd name="connsiteY129" fmla="*/ 1187078 h 1357700"/>
              <a:gd name="connsiteX130" fmla="*/ 2092716 w 10678681"/>
              <a:gd name="connsiteY130" fmla="*/ 1139224 h 1357700"/>
              <a:gd name="connsiteX131" fmla="*/ 2052449 w 10678681"/>
              <a:gd name="connsiteY131" fmla="*/ 1109687 h 1357700"/>
              <a:gd name="connsiteX132" fmla="*/ 2032607 w 10678681"/>
              <a:gd name="connsiteY132" fmla="*/ 1175477 h 1357700"/>
              <a:gd name="connsiteX133" fmla="*/ 1901837 w 10678681"/>
              <a:gd name="connsiteY133" fmla="*/ 1221762 h 1357700"/>
              <a:gd name="connsiteX134" fmla="*/ 1836762 w 10678681"/>
              <a:gd name="connsiteY134" fmla="*/ 1237387 h 1357700"/>
              <a:gd name="connsiteX135" fmla="*/ 1735877 w 10678681"/>
              <a:gd name="connsiteY135" fmla="*/ 1246527 h 1357700"/>
              <a:gd name="connsiteX136" fmla="*/ 1705069 w 10678681"/>
              <a:gd name="connsiteY136" fmla="*/ 1251989 h 1357700"/>
              <a:gd name="connsiteX137" fmla="*/ 1397689 w 10678681"/>
              <a:gd name="connsiteY137" fmla="*/ 1336144 h 1357700"/>
              <a:gd name="connsiteX138" fmla="*/ 1220734 w 10678681"/>
              <a:gd name="connsiteY138" fmla="*/ 1257811 h 1357700"/>
              <a:gd name="connsiteX139" fmla="*/ 1021737 w 10678681"/>
              <a:gd name="connsiteY139" fmla="*/ 1238739 h 1357700"/>
              <a:gd name="connsiteX140" fmla="*/ 959820 w 10678681"/>
              <a:gd name="connsiteY140" fmla="*/ 1275863 h 1357700"/>
              <a:gd name="connsiteX141" fmla="*/ 929137 w 10678681"/>
              <a:gd name="connsiteY141" fmla="*/ 1273957 h 1357700"/>
              <a:gd name="connsiteX142" fmla="*/ 878849 w 10678681"/>
              <a:gd name="connsiteY142" fmla="*/ 1266740 h 1357700"/>
              <a:gd name="connsiteX143" fmla="*/ 800667 w 10678681"/>
              <a:gd name="connsiteY143" fmla="*/ 1282041 h 1357700"/>
              <a:gd name="connsiteX144" fmla="*/ 644906 w 10678681"/>
              <a:gd name="connsiteY144" fmla="*/ 1273685 h 1357700"/>
              <a:gd name="connsiteX145" fmla="*/ 379869 w 10678681"/>
              <a:gd name="connsiteY145" fmla="*/ 1339165 h 1357700"/>
              <a:gd name="connsiteX146" fmla="*/ 137696 w 10678681"/>
              <a:gd name="connsiteY146" fmla="*/ 1319217 h 1357700"/>
              <a:gd name="connsiteX147" fmla="*/ 54250 w 10678681"/>
              <a:gd name="connsiteY147" fmla="*/ 1315838 h 1357700"/>
              <a:gd name="connsiteX148" fmla="*/ 28042 w 10678681"/>
              <a:gd name="connsiteY148" fmla="*/ 1297822 h 1357700"/>
              <a:gd name="connsiteX149" fmla="*/ 0 w 10678681"/>
              <a:gd name="connsiteY149" fmla="*/ 1294612 h 1357700"/>
              <a:gd name="connsiteX150" fmla="*/ 0 w 10678681"/>
              <a:gd name="connsiteY150"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98313 w 10678681"/>
              <a:gd name="connsiteY65" fmla="*/ 1063249 h 1357700"/>
              <a:gd name="connsiteX66" fmla="*/ 6550218 w 10678681"/>
              <a:gd name="connsiteY66" fmla="*/ 1026825 h 1357700"/>
              <a:gd name="connsiteX67" fmla="*/ 6392549 w 10678681"/>
              <a:gd name="connsiteY67" fmla="*/ 1032948 h 1357700"/>
              <a:gd name="connsiteX68" fmla="*/ 6361470 w 10678681"/>
              <a:gd name="connsiteY68" fmla="*/ 1080572 h 1357700"/>
              <a:gd name="connsiteX69" fmla="*/ 6074811 w 10678681"/>
              <a:gd name="connsiteY69" fmla="*/ 1092701 h 1357700"/>
              <a:gd name="connsiteX70" fmla="*/ 6004655 w 10678681"/>
              <a:gd name="connsiteY70" fmla="*/ 1114946 h 1357700"/>
              <a:gd name="connsiteX71" fmla="*/ 5936643 w 10678681"/>
              <a:gd name="connsiteY71" fmla="*/ 1095428 h 1357700"/>
              <a:gd name="connsiteX72" fmla="*/ 5912484 w 10678681"/>
              <a:gd name="connsiteY72" fmla="*/ 1112624 h 1357700"/>
              <a:gd name="connsiteX73" fmla="*/ 5908387 w 10678681"/>
              <a:gd name="connsiteY73" fmla="*/ 1116018 h 1357700"/>
              <a:gd name="connsiteX74" fmla="*/ 5890495 w 10678681"/>
              <a:gd name="connsiteY74" fmla="*/ 1120268 h 1357700"/>
              <a:gd name="connsiteX75" fmla="*/ 5887318 w 10678681"/>
              <a:gd name="connsiteY75" fmla="*/ 1133134 h 1357700"/>
              <a:gd name="connsiteX76" fmla="*/ 5861726 w 10678681"/>
              <a:gd name="connsiteY76" fmla="*/ 1147891 h 1357700"/>
              <a:gd name="connsiteX77" fmla="*/ 5828273 w 10678681"/>
              <a:gd name="connsiteY77" fmla="*/ 1152456 h 1357700"/>
              <a:gd name="connsiteX78" fmla="*/ 5667391 w 10678681"/>
              <a:gd name="connsiteY78" fmla="*/ 1161093 h 1357700"/>
              <a:gd name="connsiteX79" fmla="*/ 5572219 w 10678681"/>
              <a:gd name="connsiteY79" fmla="*/ 1173708 h 1357700"/>
              <a:gd name="connsiteX80" fmla="*/ 5537768 w 10678681"/>
              <a:gd name="connsiteY80" fmla="*/ 1190202 h 1357700"/>
              <a:gd name="connsiteX81" fmla="*/ 5488513 w 10678681"/>
              <a:gd name="connsiteY81" fmla="*/ 1205367 h 1357700"/>
              <a:gd name="connsiteX82" fmla="*/ 5402905 w 10678681"/>
              <a:gd name="connsiteY82" fmla="*/ 1241191 h 1357700"/>
              <a:gd name="connsiteX83" fmla="*/ 5285593 w 10678681"/>
              <a:gd name="connsiteY83" fmla="*/ 1273569 h 1357700"/>
              <a:gd name="connsiteX84" fmla="*/ 5192893 w 10678681"/>
              <a:gd name="connsiteY84" fmla="*/ 1247188 h 1357700"/>
              <a:gd name="connsiteX85" fmla="*/ 5186475 w 10678681"/>
              <a:gd name="connsiteY85" fmla="*/ 1257028 h 1357700"/>
              <a:gd name="connsiteX86" fmla="*/ 5126038 w 10678681"/>
              <a:gd name="connsiteY86" fmla="*/ 1263189 h 1357700"/>
              <a:gd name="connsiteX87" fmla="*/ 4905913 w 10678681"/>
              <a:gd name="connsiteY87" fmla="*/ 1224477 h 1357700"/>
              <a:gd name="connsiteX88" fmla="*/ 4788036 w 10678681"/>
              <a:gd name="connsiteY88" fmla="*/ 1238182 h 1357700"/>
              <a:gd name="connsiteX89" fmla="*/ 4747555 w 10678681"/>
              <a:gd name="connsiteY89" fmla="*/ 1252768 h 1357700"/>
              <a:gd name="connsiteX90" fmla="*/ 4679644 w 10678681"/>
              <a:gd name="connsiteY90" fmla="*/ 1276603 h 1357700"/>
              <a:gd name="connsiteX91" fmla="*/ 4632222 w 10678681"/>
              <a:gd name="connsiteY91" fmla="*/ 1318360 h 1357700"/>
              <a:gd name="connsiteX92" fmla="*/ 4617358 w 10678681"/>
              <a:gd name="connsiteY92" fmla="*/ 1327690 h 1357700"/>
              <a:gd name="connsiteX93" fmla="*/ 4589102 w 10678681"/>
              <a:gd name="connsiteY93" fmla="*/ 1321223 h 1357700"/>
              <a:gd name="connsiteX94" fmla="*/ 4578184 w 10678681"/>
              <a:gd name="connsiteY94" fmla="*/ 1326745 h 1357700"/>
              <a:gd name="connsiteX95" fmla="*/ 4574270 w 10678681"/>
              <a:gd name="connsiteY95" fmla="*/ 1325878 h 1357700"/>
              <a:gd name="connsiteX96" fmla="*/ 4564919 w 10678681"/>
              <a:gd name="connsiteY96" fmla="*/ 1325507 h 1357700"/>
              <a:gd name="connsiteX97" fmla="*/ 4566586 w 10678681"/>
              <a:gd name="connsiteY97" fmla="*/ 1316963 h 1357700"/>
              <a:gd name="connsiteX98" fmla="*/ 4556303 w 10678681"/>
              <a:gd name="connsiteY98" fmla="*/ 1300262 h 1357700"/>
              <a:gd name="connsiteX99" fmla="*/ 4502358 w 10678681"/>
              <a:gd name="connsiteY99" fmla="*/ 1302558 h 1357700"/>
              <a:gd name="connsiteX100" fmla="*/ 4498919 w 10678681"/>
              <a:gd name="connsiteY100" fmla="*/ 1312115 h 1357700"/>
              <a:gd name="connsiteX101" fmla="*/ 4492075 w 10678681"/>
              <a:gd name="connsiteY101" fmla="*/ 1313357 h 1357700"/>
              <a:gd name="connsiteX102" fmla="*/ 4487466 w 10678681"/>
              <a:gd name="connsiteY102" fmla="*/ 1304102 h 1357700"/>
              <a:gd name="connsiteX103" fmla="*/ 4398292 w 10678681"/>
              <a:gd name="connsiteY103" fmla="*/ 1278410 h 1357700"/>
              <a:gd name="connsiteX104" fmla="*/ 4278026 w 10678681"/>
              <a:gd name="connsiteY104" fmla="*/ 1259803 h 1357700"/>
              <a:gd name="connsiteX105" fmla="*/ 4188995 w 10678681"/>
              <a:gd name="connsiteY105" fmla="*/ 1296718 h 1357700"/>
              <a:gd name="connsiteX106" fmla="*/ 4181483 w 10678681"/>
              <a:gd name="connsiteY106" fmla="*/ 1287686 h 1357700"/>
              <a:gd name="connsiteX107" fmla="*/ 4120739 w 10678681"/>
              <a:gd name="connsiteY107" fmla="*/ 1288549 h 1357700"/>
              <a:gd name="connsiteX108" fmla="*/ 3906561 w 10678681"/>
              <a:gd name="connsiteY108" fmla="*/ 1352435 h 1357700"/>
              <a:gd name="connsiteX109" fmla="*/ 3787890 w 10678681"/>
              <a:gd name="connsiteY109" fmla="*/ 1352442 h 1357700"/>
              <a:gd name="connsiteX110" fmla="*/ 3745993 w 10678681"/>
              <a:gd name="connsiteY110" fmla="*/ 1342630 h 1357700"/>
              <a:gd name="connsiteX111" fmla="*/ 3675785 w 10678681"/>
              <a:gd name="connsiteY111" fmla="*/ 1326802 h 1357700"/>
              <a:gd name="connsiteX112" fmla="*/ 3623856 w 10678681"/>
              <a:gd name="connsiteY112" fmla="*/ 1290804 h 1357700"/>
              <a:gd name="connsiteX113" fmla="*/ 3564933 w 10678681"/>
              <a:gd name="connsiteY113" fmla="*/ 1287147 h 1357700"/>
              <a:gd name="connsiteX114" fmla="*/ 3550537 w 10678681"/>
              <a:gd name="connsiteY114" fmla="*/ 1317552 h 1357700"/>
              <a:gd name="connsiteX115" fmla="*/ 3487736 w 10678681"/>
              <a:gd name="connsiteY115" fmla="*/ 1303493 h 1357700"/>
              <a:gd name="connsiteX116" fmla="*/ 3392548 w 10678681"/>
              <a:gd name="connsiteY116" fmla="*/ 1278741 h 1357700"/>
              <a:gd name="connsiteX117" fmla="*/ 3337466 w 10678681"/>
              <a:gd name="connsiteY117" fmla="*/ 1272537 h 1357700"/>
              <a:gd name="connsiteX118" fmla="*/ 3187206 w 10678681"/>
              <a:gd name="connsiteY118" fmla="*/ 1246821 h 1357700"/>
              <a:gd name="connsiteX119" fmla="*/ 3036856 w 10678681"/>
              <a:gd name="connsiteY119" fmla="*/ 1214383 h 1357700"/>
              <a:gd name="connsiteX120" fmla="*/ 2948654 w 10678681"/>
              <a:gd name="connsiteY120" fmla="*/ 1157455 h 1357700"/>
              <a:gd name="connsiteX121" fmla="*/ 2824973 w 10678681"/>
              <a:gd name="connsiteY121" fmla="*/ 1134864 h 1357700"/>
              <a:gd name="connsiteX122" fmla="*/ 2804398 w 10678681"/>
              <a:gd name="connsiteY122" fmla="*/ 1125556 h 1357700"/>
              <a:gd name="connsiteX123" fmla="*/ 2775396 w 10678681"/>
              <a:gd name="connsiteY123" fmla="*/ 1130148 h 1357700"/>
              <a:gd name="connsiteX124" fmla="*/ 2659096 w 10678681"/>
              <a:gd name="connsiteY124" fmla="*/ 1150294 h 1357700"/>
              <a:gd name="connsiteX125" fmla="*/ 2567088 w 10678681"/>
              <a:gd name="connsiteY125" fmla="*/ 1181781 h 1357700"/>
              <a:gd name="connsiteX126" fmla="*/ 2454501 w 10678681"/>
              <a:gd name="connsiteY126" fmla="*/ 1155455 h 1357700"/>
              <a:gd name="connsiteX127" fmla="*/ 2385161 w 10678681"/>
              <a:gd name="connsiteY127" fmla="*/ 1161312 h 1357700"/>
              <a:gd name="connsiteX128" fmla="*/ 2270528 w 10678681"/>
              <a:gd name="connsiteY128" fmla="*/ 1204338 h 1357700"/>
              <a:gd name="connsiteX129" fmla="*/ 2121820 w 10678681"/>
              <a:gd name="connsiteY129" fmla="*/ 1187078 h 1357700"/>
              <a:gd name="connsiteX130" fmla="*/ 2092716 w 10678681"/>
              <a:gd name="connsiteY130" fmla="*/ 1139224 h 1357700"/>
              <a:gd name="connsiteX131" fmla="*/ 2052449 w 10678681"/>
              <a:gd name="connsiteY131" fmla="*/ 1109687 h 1357700"/>
              <a:gd name="connsiteX132" fmla="*/ 2032607 w 10678681"/>
              <a:gd name="connsiteY132" fmla="*/ 1175477 h 1357700"/>
              <a:gd name="connsiteX133" fmla="*/ 1901837 w 10678681"/>
              <a:gd name="connsiteY133" fmla="*/ 1221762 h 1357700"/>
              <a:gd name="connsiteX134" fmla="*/ 1836762 w 10678681"/>
              <a:gd name="connsiteY134" fmla="*/ 1237387 h 1357700"/>
              <a:gd name="connsiteX135" fmla="*/ 1735877 w 10678681"/>
              <a:gd name="connsiteY135" fmla="*/ 1246527 h 1357700"/>
              <a:gd name="connsiteX136" fmla="*/ 1705069 w 10678681"/>
              <a:gd name="connsiteY136" fmla="*/ 1251989 h 1357700"/>
              <a:gd name="connsiteX137" fmla="*/ 1397689 w 10678681"/>
              <a:gd name="connsiteY137" fmla="*/ 1336144 h 1357700"/>
              <a:gd name="connsiteX138" fmla="*/ 1220734 w 10678681"/>
              <a:gd name="connsiteY138" fmla="*/ 1257811 h 1357700"/>
              <a:gd name="connsiteX139" fmla="*/ 1021737 w 10678681"/>
              <a:gd name="connsiteY139" fmla="*/ 1238739 h 1357700"/>
              <a:gd name="connsiteX140" fmla="*/ 959820 w 10678681"/>
              <a:gd name="connsiteY140" fmla="*/ 1275863 h 1357700"/>
              <a:gd name="connsiteX141" fmla="*/ 929137 w 10678681"/>
              <a:gd name="connsiteY141" fmla="*/ 1273957 h 1357700"/>
              <a:gd name="connsiteX142" fmla="*/ 878849 w 10678681"/>
              <a:gd name="connsiteY142" fmla="*/ 1266740 h 1357700"/>
              <a:gd name="connsiteX143" fmla="*/ 800667 w 10678681"/>
              <a:gd name="connsiteY143" fmla="*/ 1282041 h 1357700"/>
              <a:gd name="connsiteX144" fmla="*/ 644906 w 10678681"/>
              <a:gd name="connsiteY144" fmla="*/ 1273685 h 1357700"/>
              <a:gd name="connsiteX145" fmla="*/ 379869 w 10678681"/>
              <a:gd name="connsiteY145" fmla="*/ 1339165 h 1357700"/>
              <a:gd name="connsiteX146" fmla="*/ 137696 w 10678681"/>
              <a:gd name="connsiteY146" fmla="*/ 1319217 h 1357700"/>
              <a:gd name="connsiteX147" fmla="*/ 54250 w 10678681"/>
              <a:gd name="connsiteY147" fmla="*/ 1315838 h 1357700"/>
              <a:gd name="connsiteX148" fmla="*/ 28042 w 10678681"/>
              <a:gd name="connsiteY148" fmla="*/ 1297822 h 1357700"/>
              <a:gd name="connsiteX149" fmla="*/ 0 w 10678681"/>
              <a:gd name="connsiteY149" fmla="*/ 1294612 h 1357700"/>
              <a:gd name="connsiteX150" fmla="*/ 0 w 10678681"/>
              <a:gd name="connsiteY150"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98313 w 10678681"/>
              <a:gd name="connsiteY65" fmla="*/ 1063249 h 1357700"/>
              <a:gd name="connsiteX66" fmla="*/ 6550218 w 10678681"/>
              <a:gd name="connsiteY66" fmla="*/ 1026825 h 1357700"/>
              <a:gd name="connsiteX67" fmla="*/ 6392549 w 10678681"/>
              <a:gd name="connsiteY67" fmla="*/ 1032948 h 1357700"/>
              <a:gd name="connsiteX68" fmla="*/ 6327795 w 10678681"/>
              <a:gd name="connsiteY68" fmla="*/ 1088142 h 1357700"/>
              <a:gd name="connsiteX69" fmla="*/ 6074811 w 10678681"/>
              <a:gd name="connsiteY69" fmla="*/ 1092701 h 1357700"/>
              <a:gd name="connsiteX70" fmla="*/ 6004655 w 10678681"/>
              <a:gd name="connsiteY70" fmla="*/ 1114946 h 1357700"/>
              <a:gd name="connsiteX71" fmla="*/ 5936643 w 10678681"/>
              <a:gd name="connsiteY71" fmla="*/ 1095428 h 1357700"/>
              <a:gd name="connsiteX72" fmla="*/ 5912484 w 10678681"/>
              <a:gd name="connsiteY72" fmla="*/ 1112624 h 1357700"/>
              <a:gd name="connsiteX73" fmla="*/ 5908387 w 10678681"/>
              <a:gd name="connsiteY73" fmla="*/ 1116018 h 1357700"/>
              <a:gd name="connsiteX74" fmla="*/ 5890495 w 10678681"/>
              <a:gd name="connsiteY74" fmla="*/ 1120268 h 1357700"/>
              <a:gd name="connsiteX75" fmla="*/ 5887318 w 10678681"/>
              <a:gd name="connsiteY75" fmla="*/ 1133134 h 1357700"/>
              <a:gd name="connsiteX76" fmla="*/ 5861726 w 10678681"/>
              <a:gd name="connsiteY76" fmla="*/ 1147891 h 1357700"/>
              <a:gd name="connsiteX77" fmla="*/ 5828273 w 10678681"/>
              <a:gd name="connsiteY77" fmla="*/ 1152456 h 1357700"/>
              <a:gd name="connsiteX78" fmla="*/ 5667391 w 10678681"/>
              <a:gd name="connsiteY78" fmla="*/ 1161093 h 1357700"/>
              <a:gd name="connsiteX79" fmla="*/ 5572219 w 10678681"/>
              <a:gd name="connsiteY79" fmla="*/ 1173708 h 1357700"/>
              <a:gd name="connsiteX80" fmla="*/ 5537768 w 10678681"/>
              <a:gd name="connsiteY80" fmla="*/ 1190202 h 1357700"/>
              <a:gd name="connsiteX81" fmla="*/ 5488513 w 10678681"/>
              <a:gd name="connsiteY81" fmla="*/ 1205367 h 1357700"/>
              <a:gd name="connsiteX82" fmla="*/ 5402905 w 10678681"/>
              <a:gd name="connsiteY82" fmla="*/ 1241191 h 1357700"/>
              <a:gd name="connsiteX83" fmla="*/ 5285593 w 10678681"/>
              <a:gd name="connsiteY83" fmla="*/ 1273569 h 1357700"/>
              <a:gd name="connsiteX84" fmla="*/ 5192893 w 10678681"/>
              <a:gd name="connsiteY84" fmla="*/ 1247188 h 1357700"/>
              <a:gd name="connsiteX85" fmla="*/ 5186475 w 10678681"/>
              <a:gd name="connsiteY85" fmla="*/ 1257028 h 1357700"/>
              <a:gd name="connsiteX86" fmla="*/ 5126038 w 10678681"/>
              <a:gd name="connsiteY86" fmla="*/ 1263189 h 1357700"/>
              <a:gd name="connsiteX87" fmla="*/ 4905913 w 10678681"/>
              <a:gd name="connsiteY87" fmla="*/ 1224477 h 1357700"/>
              <a:gd name="connsiteX88" fmla="*/ 4788036 w 10678681"/>
              <a:gd name="connsiteY88" fmla="*/ 1238182 h 1357700"/>
              <a:gd name="connsiteX89" fmla="*/ 4747555 w 10678681"/>
              <a:gd name="connsiteY89" fmla="*/ 1252768 h 1357700"/>
              <a:gd name="connsiteX90" fmla="*/ 4679644 w 10678681"/>
              <a:gd name="connsiteY90" fmla="*/ 1276603 h 1357700"/>
              <a:gd name="connsiteX91" fmla="*/ 4632222 w 10678681"/>
              <a:gd name="connsiteY91" fmla="*/ 1318360 h 1357700"/>
              <a:gd name="connsiteX92" fmla="*/ 4617358 w 10678681"/>
              <a:gd name="connsiteY92" fmla="*/ 1327690 h 1357700"/>
              <a:gd name="connsiteX93" fmla="*/ 4589102 w 10678681"/>
              <a:gd name="connsiteY93" fmla="*/ 1321223 h 1357700"/>
              <a:gd name="connsiteX94" fmla="*/ 4578184 w 10678681"/>
              <a:gd name="connsiteY94" fmla="*/ 1326745 h 1357700"/>
              <a:gd name="connsiteX95" fmla="*/ 4574270 w 10678681"/>
              <a:gd name="connsiteY95" fmla="*/ 1325878 h 1357700"/>
              <a:gd name="connsiteX96" fmla="*/ 4564919 w 10678681"/>
              <a:gd name="connsiteY96" fmla="*/ 1325507 h 1357700"/>
              <a:gd name="connsiteX97" fmla="*/ 4566586 w 10678681"/>
              <a:gd name="connsiteY97" fmla="*/ 1316963 h 1357700"/>
              <a:gd name="connsiteX98" fmla="*/ 4556303 w 10678681"/>
              <a:gd name="connsiteY98" fmla="*/ 1300262 h 1357700"/>
              <a:gd name="connsiteX99" fmla="*/ 4502358 w 10678681"/>
              <a:gd name="connsiteY99" fmla="*/ 1302558 h 1357700"/>
              <a:gd name="connsiteX100" fmla="*/ 4498919 w 10678681"/>
              <a:gd name="connsiteY100" fmla="*/ 1312115 h 1357700"/>
              <a:gd name="connsiteX101" fmla="*/ 4492075 w 10678681"/>
              <a:gd name="connsiteY101" fmla="*/ 1313357 h 1357700"/>
              <a:gd name="connsiteX102" fmla="*/ 4487466 w 10678681"/>
              <a:gd name="connsiteY102" fmla="*/ 1304102 h 1357700"/>
              <a:gd name="connsiteX103" fmla="*/ 4398292 w 10678681"/>
              <a:gd name="connsiteY103" fmla="*/ 1278410 h 1357700"/>
              <a:gd name="connsiteX104" fmla="*/ 4278026 w 10678681"/>
              <a:gd name="connsiteY104" fmla="*/ 1259803 h 1357700"/>
              <a:gd name="connsiteX105" fmla="*/ 4188995 w 10678681"/>
              <a:gd name="connsiteY105" fmla="*/ 1296718 h 1357700"/>
              <a:gd name="connsiteX106" fmla="*/ 4181483 w 10678681"/>
              <a:gd name="connsiteY106" fmla="*/ 1287686 h 1357700"/>
              <a:gd name="connsiteX107" fmla="*/ 4120739 w 10678681"/>
              <a:gd name="connsiteY107" fmla="*/ 1288549 h 1357700"/>
              <a:gd name="connsiteX108" fmla="*/ 3906561 w 10678681"/>
              <a:gd name="connsiteY108" fmla="*/ 1352435 h 1357700"/>
              <a:gd name="connsiteX109" fmla="*/ 3787890 w 10678681"/>
              <a:gd name="connsiteY109" fmla="*/ 1352442 h 1357700"/>
              <a:gd name="connsiteX110" fmla="*/ 3745993 w 10678681"/>
              <a:gd name="connsiteY110" fmla="*/ 1342630 h 1357700"/>
              <a:gd name="connsiteX111" fmla="*/ 3675785 w 10678681"/>
              <a:gd name="connsiteY111" fmla="*/ 1326802 h 1357700"/>
              <a:gd name="connsiteX112" fmla="*/ 3623856 w 10678681"/>
              <a:gd name="connsiteY112" fmla="*/ 1290804 h 1357700"/>
              <a:gd name="connsiteX113" fmla="*/ 3564933 w 10678681"/>
              <a:gd name="connsiteY113" fmla="*/ 1287147 h 1357700"/>
              <a:gd name="connsiteX114" fmla="*/ 3550537 w 10678681"/>
              <a:gd name="connsiteY114" fmla="*/ 1317552 h 1357700"/>
              <a:gd name="connsiteX115" fmla="*/ 3487736 w 10678681"/>
              <a:gd name="connsiteY115" fmla="*/ 1303493 h 1357700"/>
              <a:gd name="connsiteX116" fmla="*/ 3392548 w 10678681"/>
              <a:gd name="connsiteY116" fmla="*/ 1278741 h 1357700"/>
              <a:gd name="connsiteX117" fmla="*/ 3337466 w 10678681"/>
              <a:gd name="connsiteY117" fmla="*/ 1272537 h 1357700"/>
              <a:gd name="connsiteX118" fmla="*/ 3187206 w 10678681"/>
              <a:gd name="connsiteY118" fmla="*/ 1246821 h 1357700"/>
              <a:gd name="connsiteX119" fmla="*/ 3036856 w 10678681"/>
              <a:gd name="connsiteY119" fmla="*/ 1214383 h 1357700"/>
              <a:gd name="connsiteX120" fmla="*/ 2948654 w 10678681"/>
              <a:gd name="connsiteY120" fmla="*/ 1157455 h 1357700"/>
              <a:gd name="connsiteX121" fmla="*/ 2824973 w 10678681"/>
              <a:gd name="connsiteY121" fmla="*/ 1134864 h 1357700"/>
              <a:gd name="connsiteX122" fmla="*/ 2804398 w 10678681"/>
              <a:gd name="connsiteY122" fmla="*/ 1125556 h 1357700"/>
              <a:gd name="connsiteX123" fmla="*/ 2775396 w 10678681"/>
              <a:gd name="connsiteY123" fmla="*/ 1130148 h 1357700"/>
              <a:gd name="connsiteX124" fmla="*/ 2659096 w 10678681"/>
              <a:gd name="connsiteY124" fmla="*/ 1150294 h 1357700"/>
              <a:gd name="connsiteX125" fmla="*/ 2567088 w 10678681"/>
              <a:gd name="connsiteY125" fmla="*/ 1181781 h 1357700"/>
              <a:gd name="connsiteX126" fmla="*/ 2454501 w 10678681"/>
              <a:gd name="connsiteY126" fmla="*/ 1155455 h 1357700"/>
              <a:gd name="connsiteX127" fmla="*/ 2385161 w 10678681"/>
              <a:gd name="connsiteY127" fmla="*/ 1161312 h 1357700"/>
              <a:gd name="connsiteX128" fmla="*/ 2270528 w 10678681"/>
              <a:gd name="connsiteY128" fmla="*/ 1204338 h 1357700"/>
              <a:gd name="connsiteX129" fmla="*/ 2121820 w 10678681"/>
              <a:gd name="connsiteY129" fmla="*/ 1187078 h 1357700"/>
              <a:gd name="connsiteX130" fmla="*/ 2092716 w 10678681"/>
              <a:gd name="connsiteY130" fmla="*/ 1139224 h 1357700"/>
              <a:gd name="connsiteX131" fmla="*/ 2052449 w 10678681"/>
              <a:gd name="connsiteY131" fmla="*/ 1109687 h 1357700"/>
              <a:gd name="connsiteX132" fmla="*/ 2032607 w 10678681"/>
              <a:gd name="connsiteY132" fmla="*/ 1175477 h 1357700"/>
              <a:gd name="connsiteX133" fmla="*/ 1901837 w 10678681"/>
              <a:gd name="connsiteY133" fmla="*/ 1221762 h 1357700"/>
              <a:gd name="connsiteX134" fmla="*/ 1836762 w 10678681"/>
              <a:gd name="connsiteY134" fmla="*/ 1237387 h 1357700"/>
              <a:gd name="connsiteX135" fmla="*/ 1735877 w 10678681"/>
              <a:gd name="connsiteY135" fmla="*/ 1246527 h 1357700"/>
              <a:gd name="connsiteX136" fmla="*/ 1705069 w 10678681"/>
              <a:gd name="connsiteY136" fmla="*/ 1251989 h 1357700"/>
              <a:gd name="connsiteX137" fmla="*/ 1397689 w 10678681"/>
              <a:gd name="connsiteY137" fmla="*/ 1336144 h 1357700"/>
              <a:gd name="connsiteX138" fmla="*/ 1220734 w 10678681"/>
              <a:gd name="connsiteY138" fmla="*/ 1257811 h 1357700"/>
              <a:gd name="connsiteX139" fmla="*/ 1021737 w 10678681"/>
              <a:gd name="connsiteY139" fmla="*/ 1238739 h 1357700"/>
              <a:gd name="connsiteX140" fmla="*/ 959820 w 10678681"/>
              <a:gd name="connsiteY140" fmla="*/ 1275863 h 1357700"/>
              <a:gd name="connsiteX141" fmla="*/ 929137 w 10678681"/>
              <a:gd name="connsiteY141" fmla="*/ 1273957 h 1357700"/>
              <a:gd name="connsiteX142" fmla="*/ 878849 w 10678681"/>
              <a:gd name="connsiteY142" fmla="*/ 1266740 h 1357700"/>
              <a:gd name="connsiteX143" fmla="*/ 800667 w 10678681"/>
              <a:gd name="connsiteY143" fmla="*/ 1282041 h 1357700"/>
              <a:gd name="connsiteX144" fmla="*/ 644906 w 10678681"/>
              <a:gd name="connsiteY144" fmla="*/ 1273685 h 1357700"/>
              <a:gd name="connsiteX145" fmla="*/ 379869 w 10678681"/>
              <a:gd name="connsiteY145" fmla="*/ 1339165 h 1357700"/>
              <a:gd name="connsiteX146" fmla="*/ 137696 w 10678681"/>
              <a:gd name="connsiteY146" fmla="*/ 1319217 h 1357700"/>
              <a:gd name="connsiteX147" fmla="*/ 54250 w 10678681"/>
              <a:gd name="connsiteY147" fmla="*/ 1315838 h 1357700"/>
              <a:gd name="connsiteX148" fmla="*/ 28042 w 10678681"/>
              <a:gd name="connsiteY148" fmla="*/ 1297822 h 1357700"/>
              <a:gd name="connsiteX149" fmla="*/ 0 w 10678681"/>
              <a:gd name="connsiteY149" fmla="*/ 1294612 h 1357700"/>
              <a:gd name="connsiteX150" fmla="*/ 0 w 10678681"/>
              <a:gd name="connsiteY150"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98313 w 10678681"/>
              <a:gd name="connsiteY65" fmla="*/ 1063249 h 1357700"/>
              <a:gd name="connsiteX66" fmla="*/ 6550218 w 10678681"/>
              <a:gd name="connsiteY66" fmla="*/ 1026825 h 1357700"/>
              <a:gd name="connsiteX67" fmla="*/ 6437450 w 10678681"/>
              <a:gd name="connsiteY67" fmla="*/ 1101075 h 1357700"/>
              <a:gd name="connsiteX68" fmla="*/ 6327795 w 10678681"/>
              <a:gd name="connsiteY68" fmla="*/ 1088142 h 1357700"/>
              <a:gd name="connsiteX69" fmla="*/ 6074811 w 10678681"/>
              <a:gd name="connsiteY69" fmla="*/ 1092701 h 1357700"/>
              <a:gd name="connsiteX70" fmla="*/ 6004655 w 10678681"/>
              <a:gd name="connsiteY70" fmla="*/ 1114946 h 1357700"/>
              <a:gd name="connsiteX71" fmla="*/ 5936643 w 10678681"/>
              <a:gd name="connsiteY71" fmla="*/ 1095428 h 1357700"/>
              <a:gd name="connsiteX72" fmla="*/ 5912484 w 10678681"/>
              <a:gd name="connsiteY72" fmla="*/ 1112624 h 1357700"/>
              <a:gd name="connsiteX73" fmla="*/ 5908387 w 10678681"/>
              <a:gd name="connsiteY73" fmla="*/ 1116018 h 1357700"/>
              <a:gd name="connsiteX74" fmla="*/ 5890495 w 10678681"/>
              <a:gd name="connsiteY74" fmla="*/ 1120268 h 1357700"/>
              <a:gd name="connsiteX75" fmla="*/ 5887318 w 10678681"/>
              <a:gd name="connsiteY75" fmla="*/ 1133134 h 1357700"/>
              <a:gd name="connsiteX76" fmla="*/ 5861726 w 10678681"/>
              <a:gd name="connsiteY76" fmla="*/ 1147891 h 1357700"/>
              <a:gd name="connsiteX77" fmla="*/ 5828273 w 10678681"/>
              <a:gd name="connsiteY77" fmla="*/ 1152456 h 1357700"/>
              <a:gd name="connsiteX78" fmla="*/ 5667391 w 10678681"/>
              <a:gd name="connsiteY78" fmla="*/ 1161093 h 1357700"/>
              <a:gd name="connsiteX79" fmla="*/ 5572219 w 10678681"/>
              <a:gd name="connsiteY79" fmla="*/ 1173708 h 1357700"/>
              <a:gd name="connsiteX80" fmla="*/ 5537768 w 10678681"/>
              <a:gd name="connsiteY80" fmla="*/ 1190202 h 1357700"/>
              <a:gd name="connsiteX81" fmla="*/ 5488513 w 10678681"/>
              <a:gd name="connsiteY81" fmla="*/ 1205367 h 1357700"/>
              <a:gd name="connsiteX82" fmla="*/ 5402905 w 10678681"/>
              <a:gd name="connsiteY82" fmla="*/ 1241191 h 1357700"/>
              <a:gd name="connsiteX83" fmla="*/ 5285593 w 10678681"/>
              <a:gd name="connsiteY83" fmla="*/ 1273569 h 1357700"/>
              <a:gd name="connsiteX84" fmla="*/ 5192893 w 10678681"/>
              <a:gd name="connsiteY84" fmla="*/ 1247188 h 1357700"/>
              <a:gd name="connsiteX85" fmla="*/ 5186475 w 10678681"/>
              <a:gd name="connsiteY85" fmla="*/ 1257028 h 1357700"/>
              <a:gd name="connsiteX86" fmla="*/ 5126038 w 10678681"/>
              <a:gd name="connsiteY86" fmla="*/ 1263189 h 1357700"/>
              <a:gd name="connsiteX87" fmla="*/ 4905913 w 10678681"/>
              <a:gd name="connsiteY87" fmla="*/ 1224477 h 1357700"/>
              <a:gd name="connsiteX88" fmla="*/ 4788036 w 10678681"/>
              <a:gd name="connsiteY88" fmla="*/ 1238182 h 1357700"/>
              <a:gd name="connsiteX89" fmla="*/ 4747555 w 10678681"/>
              <a:gd name="connsiteY89" fmla="*/ 1252768 h 1357700"/>
              <a:gd name="connsiteX90" fmla="*/ 4679644 w 10678681"/>
              <a:gd name="connsiteY90" fmla="*/ 1276603 h 1357700"/>
              <a:gd name="connsiteX91" fmla="*/ 4632222 w 10678681"/>
              <a:gd name="connsiteY91" fmla="*/ 1318360 h 1357700"/>
              <a:gd name="connsiteX92" fmla="*/ 4617358 w 10678681"/>
              <a:gd name="connsiteY92" fmla="*/ 1327690 h 1357700"/>
              <a:gd name="connsiteX93" fmla="*/ 4589102 w 10678681"/>
              <a:gd name="connsiteY93" fmla="*/ 1321223 h 1357700"/>
              <a:gd name="connsiteX94" fmla="*/ 4578184 w 10678681"/>
              <a:gd name="connsiteY94" fmla="*/ 1326745 h 1357700"/>
              <a:gd name="connsiteX95" fmla="*/ 4574270 w 10678681"/>
              <a:gd name="connsiteY95" fmla="*/ 1325878 h 1357700"/>
              <a:gd name="connsiteX96" fmla="*/ 4564919 w 10678681"/>
              <a:gd name="connsiteY96" fmla="*/ 1325507 h 1357700"/>
              <a:gd name="connsiteX97" fmla="*/ 4566586 w 10678681"/>
              <a:gd name="connsiteY97" fmla="*/ 1316963 h 1357700"/>
              <a:gd name="connsiteX98" fmla="*/ 4556303 w 10678681"/>
              <a:gd name="connsiteY98" fmla="*/ 1300262 h 1357700"/>
              <a:gd name="connsiteX99" fmla="*/ 4502358 w 10678681"/>
              <a:gd name="connsiteY99" fmla="*/ 1302558 h 1357700"/>
              <a:gd name="connsiteX100" fmla="*/ 4498919 w 10678681"/>
              <a:gd name="connsiteY100" fmla="*/ 1312115 h 1357700"/>
              <a:gd name="connsiteX101" fmla="*/ 4492075 w 10678681"/>
              <a:gd name="connsiteY101" fmla="*/ 1313357 h 1357700"/>
              <a:gd name="connsiteX102" fmla="*/ 4487466 w 10678681"/>
              <a:gd name="connsiteY102" fmla="*/ 1304102 h 1357700"/>
              <a:gd name="connsiteX103" fmla="*/ 4398292 w 10678681"/>
              <a:gd name="connsiteY103" fmla="*/ 1278410 h 1357700"/>
              <a:gd name="connsiteX104" fmla="*/ 4278026 w 10678681"/>
              <a:gd name="connsiteY104" fmla="*/ 1259803 h 1357700"/>
              <a:gd name="connsiteX105" fmla="*/ 4188995 w 10678681"/>
              <a:gd name="connsiteY105" fmla="*/ 1296718 h 1357700"/>
              <a:gd name="connsiteX106" fmla="*/ 4181483 w 10678681"/>
              <a:gd name="connsiteY106" fmla="*/ 1287686 h 1357700"/>
              <a:gd name="connsiteX107" fmla="*/ 4120739 w 10678681"/>
              <a:gd name="connsiteY107" fmla="*/ 1288549 h 1357700"/>
              <a:gd name="connsiteX108" fmla="*/ 3906561 w 10678681"/>
              <a:gd name="connsiteY108" fmla="*/ 1352435 h 1357700"/>
              <a:gd name="connsiteX109" fmla="*/ 3787890 w 10678681"/>
              <a:gd name="connsiteY109" fmla="*/ 1352442 h 1357700"/>
              <a:gd name="connsiteX110" fmla="*/ 3745993 w 10678681"/>
              <a:gd name="connsiteY110" fmla="*/ 1342630 h 1357700"/>
              <a:gd name="connsiteX111" fmla="*/ 3675785 w 10678681"/>
              <a:gd name="connsiteY111" fmla="*/ 1326802 h 1357700"/>
              <a:gd name="connsiteX112" fmla="*/ 3623856 w 10678681"/>
              <a:gd name="connsiteY112" fmla="*/ 1290804 h 1357700"/>
              <a:gd name="connsiteX113" fmla="*/ 3564933 w 10678681"/>
              <a:gd name="connsiteY113" fmla="*/ 1287147 h 1357700"/>
              <a:gd name="connsiteX114" fmla="*/ 3550537 w 10678681"/>
              <a:gd name="connsiteY114" fmla="*/ 1317552 h 1357700"/>
              <a:gd name="connsiteX115" fmla="*/ 3487736 w 10678681"/>
              <a:gd name="connsiteY115" fmla="*/ 1303493 h 1357700"/>
              <a:gd name="connsiteX116" fmla="*/ 3392548 w 10678681"/>
              <a:gd name="connsiteY116" fmla="*/ 1278741 h 1357700"/>
              <a:gd name="connsiteX117" fmla="*/ 3337466 w 10678681"/>
              <a:gd name="connsiteY117" fmla="*/ 1272537 h 1357700"/>
              <a:gd name="connsiteX118" fmla="*/ 3187206 w 10678681"/>
              <a:gd name="connsiteY118" fmla="*/ 1246821 h 1357700"/>
              <a:gd name="connsiteX119" fmla="*/ 3036856 w 10678681"/>
              <a:gd name="connsiteY119" fmla="*/ 1214383 h 1357700"/>
              <a:gd name="connsiteX120" fmla="*/ 2948654 w 10678681"/>
              <a:gd name="connsiteY120" fmla="*/ 1157455 h 1357700"/>
              <a:gd name="connsiteX121" fmla="*/ 2824973 w 10678681"/>
              <a:gd name="connsiteY121" fmla="*/ 1134864 h 1357700"/>
              <a:gd name="connsiteX122" fmla="*/ 2804398 w 10678681"/>
              <a:gd name="connsiteY122" fmla="*/ 1125556 h 1357700"/>
              <a:gd name="connsiteX123" fmla="*/ 2775396 w 10678681"/>
              <a:gd name="connsiteY123" fmla="*/ 1130148 h 1357700"/>
              <a:gd name="connsiteX124" fmla="*/ 2659096 w 10678681"/>
              <a:gd name="connsiteY124" fmla="*/ 1150294 h 1357700"/>
              <a:gd name="connsiteX125" fmla="*/ 2567088 w 10678681"/>
              <a:gd name="connsiteY125" fmla="*/ 1181781 h 1357700"/>
              <a:gd name="connsiteX126" fmla="*/ 2454501 w 10678681"/>
              <a:gd name="connsiteY126" fmla="*/ 1155455 h 1357700"/>
              <a:gd name="connsiteX127" fmla="*/ 2385161 w 10678681"/>
              <a:gd name="connsiteY127" fmla="*/ 1161312 h 1357700"/>
              <a:gd name="connsiteX128" fmla="*/ 2270528 w 10678681"/>
              <a:gd name="connsiteY128" fmla="*/ 1204338 h 1357700"/>
              <a:gd name="connsiteX129" fmla="*/ 2121820 w 10678681"/>
              <a:gd name="connsiteY129" fmla="*/ 1187078 h 1357700"/>
              <a:gd name="connsiteX130" fmla="*/ 2092716 w 10678681"/>
              <a:gd name="connsiteY130" fmla="*/ 1139224 h 1357700"/>
              <a:gd name="connsiteX131" fmla="*/ 2052449 w 10678681"/>
              <a:gd name="connsiteY131" fmla="*/ 1109687 h 1357700"/>
              <a:gd name="connsiteX132" fmla="*/ 2032607 w 10678681"/>
              <a:gd name="connsiteY132" fmla="*/ 1175477 h 1357700"/>
              <a:gd name="connsiteX133" fmla="*/ 1901837 w 10678681"/>
              <a:gd name="connsiteY133" fmla="*/ 1221762 h 1357700"/>
              <a:gd name="connsiteX134" fmla="*/ 1836762 w 10678681"/>
              <a:gd name="connsiteY134" fmla="*/ 1237387 h 1357700"/>
              <a:gd name="connsiteX135" fmla="*/ 1735877 w 10678681"/>
              <a:gd name="connsiteY135" fmla="*/ 1246527 h 1357700"/>
              <a:gd name="connsiteX136" fmla="*/ 1705069 w 10678681"/>
              <a:gd name="connsiteY136" fmla="*/ 1251989 h 1357700"/>
              <a:gd name="connsiteX137" fmla="*/ 1397689 w 10678681"/>
              <a:gd name="connsiteY137" fmla="*/ 1336144 h 1357700"/>
              <a:gd name="connsiteX138" fmla="*/ 1220734 w 10678681"/>
              <a:gd name="connsiteY138" fmla="*/ 1257811 h 1357700"/>
              <a:gd name="connsiteX139" fmla="*/ 1021737 w 10678681"/>
              <a:gd name="connsiteY139" fmla="*/ 1238739 h 1357700"/>
              <a:gd name="connsiteX140" fmla="*/ 959820 w 10678681"/>
              <a:gd name="connsiteY140" fmla="*/ 1275863 h 1357700"/>
              <a:gd name="connsiteX141" fmla="*/ 929137 w 10678681"/>
              <a:gd name="connsiteY141" fmla="*/ 1273957 h 1357700"/>
              <a:gd name="connsiteX142" fmla="*/ 878849 w 10678681"/>
              <a:gd name="connsiteY142" fmla="*/ 1266740 h 1357700"/>
              <a:gd name="connsiteX143" fmla="*/ 800667 w 10678681"/>
              <a:gd name="connsiteY143" fmla="*/ 1282041 h 1357700"/>
              <a:gd name="connsiteX144" fmla="*/ 644906 w 10678681"/>
              <a:gd name="connsiteY144" fmla="*/ 1273685 h 1357700"/>
              <a:gd name="connsiteX145" fmla="*/ 379869 w 10678681"/>
              <a:gd name="connsiteY145" fmla="*/ 1339165 h 1357700"/>
              <a:gd name="connsiteX146" fmla="*/ 137696 w 10678681"/>
              <a:gd name="connsiteY146" fmla="*/ 1319217 h 1357700"/>
              <a:gd name="connsiteX147" fmla="*/ 54250 w 10678681"/>
              <a:gd name="connsiteY147" fmla="*/ 1315838 h 1357700"/>
              <a:gd name="connsiteX148" fmla="*/ 28042 w 10678681"/>
              <a:gd name="connsiteY148" fmla="*/ 1297822 h 1357700"/>
              <a:gd name="connsiteX149" fmla="*/ 0 w 10678681"/>
              <a:gd name="connsiteY149" fmla="*/ 1294612 h 1357700"/>
              <a:gd name="connsiteX150" fmla="*/ 0 w 10678681"/>
              <a:gd name="connsiteY150"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98313 w 10678681"/>
              <a:gd name="connsiteY65" fmla="*/ 1063249 h 1357700"/>
              <a:gd name="connsiteX66" fmla="*/ 6550218 w 10678681"/>
              <a:gd name="connsiteY66" fmla="*/ 1026825 h 1357700"/>
              <a:gd name="connsiteX67" fmla="*/ 6437450 w 10678681"/>
              <a:gd name="connsiteY67" fmla="*/ 1101075 h 1357700"/>
              <a:gd name="connsiteX68" fmla="*/ 6327795 w 10678681"/>
              <a:gd name="connsiteY68" fmla="*/ 1088142 h 1357700"/>
              <a:gd name="connsiteX69" fmla="*/ 6136549 w 10678681"/>
              <a:gd name="connsiteY69" fmla="*/ 1100268 h 1357700"/>
              <a:gd name="connsiteX70" fmla="*/ 6004655 w 10678681"/>
              <a:gd name="connsiteY70" fmla="*/ 1114946 h 1357700"/>
              <a:gd name="connsiteX71" fmla="*/ 5936643 w 10678681"/>
              <a:gd name="connsiteY71" fmla="*/ 1095428 h 1357700"/>
              <a:gd name="connsiteX72" fmla="*/ 5912484 w 10678681"/>
              <a:gd name="connsiteY72" fmla="*/ 1112624 h 1357700"/>
              <a:gd name="connsiteX73" fmla="*/ 5908387 w 10678681"/>
              <a:gd name="connsiteY73" fmla="*/ 1116018 h 1357700"/>
              <a:gd name="connsiteX74" fmla="*/ 5890495 w 10678681"/>
              <a:gd name="connsiteY74" fmla="*/ 1120268 h 1357700"/>
              <a:gd name="connsiteX75" fmla="*/ 5887318 w 10678681"/>
              <a:gd name="connsiteY75" fmla="*/ 1133134 h 1357700"/>
              <a:gd name="connsiteX76" fmla="*/ 5861726 w 10678681"/>
              <a:gd name="connsiteY76" fmla="*/ 1147891 h 1357700"/>
              <a:gd name="connsiteX77" fmla="*/ 5828273 w 10678681"/>
              <a:gd name="connsiteY77" fmla="*/ 1152456 h 1357700"/>
              <a:gd name="connsiteX78" fmla="*/ 5667391 w 10678681"/>
              <a:gd name="connsiteY78" fmla="*/ 1161093 h 1357700"/>
              <a:gd name="connsiteX79" fmla="*/ 5572219 w 10678681"/>
              <a:gd name="connsiteY79" fmla="*/ 1173708 h 1357700"/>
              <a:gd name="connsiteX80" fmla="*/ 5537768 w 10678681"/>
              <a:gd name="connsiteY80" fmla="*/ 1190202 h 1357700"/>
              <a:gd name="connsiteX81" fmla="*/ 5488513 w 10678681"/>
              <a:gd name="connsiteY81" fmla="*/ 1205367 h 1357700"/>
              <a:gd name="connsiteX82" fmla="*/ 5402905 w 10678681"/>
              <a:gd name="connsiteY82" fmla="*/ 1241191 h 1357700"/>
              <a:gd name="connsiteX83" fmla="*/ 5285593 w 10678681"/>
              <a:gd name="connsiteY83" fmla="*/ 1273569 h 1357700"/>
              <a:gd name="connsiteX84" fmla="*/ 5192893 w 10678681"/>
              <a:gd name="connsiteY84" fmla="*/ 1247188 h 1357700"/>
              <a:gd name="connsiteX85" fmla="*/ 5186475 w 10678681"/>
              <a:gd name="connsiteY85" fmla="*/ 1257028 h 1357700"/>
              <a:gd name="connsiteX86" fmla="*/ 5126038 w 10678681"/>
              <a:gd name="connsiteY86" fmla="*/ 1263189 h 1357700"/>
              <a:gd name="connsiteX87" fmla="*/ 4905913 w 10678681"/>
              <a:gd name="connsiteY87" fmla="*/ 1224477 h 1357700"/>
              <a:gd name="connsiteX88" fmla="*/ 4788036 w 10678681"/>
              <a:gd name="connsiteY88" fmla="*/ 1238182 h 1357700"/>
              <a:gd name="connsiteX89" fmla="*/ 4747555 w 10678681"/>
              <a:gd name="connsiteY89" fmla="*/ 1252768 h 1357700"/>
              <a:gd name="connsiteX90" fmla="*/ 4679644 w 10678681"/>
              <a:gd name="connsiteY90" fmla="*/ 1276603 h 1357700"/>
              <a:gd name="connsiteX91" fmla="*/ 4632222 w 10678681"/>
              <a:gd name="connsiteY91" fmla="*/ 1318360 h 1357700"/>
              <a:gd name="connsiteX92" fmla="*/ 4617358 w 10678681"/>
              <a:gd name="connsiteY92" fmla="*/ 1327690 h 1357700"/>
              <a:gd name="connsiteX93" fmla="*/ 4589102 w 10678681"/>
              <a:gd name="connsiteY93" fmla="*/ 1321223 h 1357700"/>
              <a:gd name="connsiteX94" fmla="*/ 4578184 w 10678681"/>
              <a:gd name="connsiteY94" fmla="*/ 1326745 h 1357700"/>
              <a:gd name="connsiteX95" fmla="*/ 4574270 w 10678681"/>
              <a:gd name="connsiteY95" fmla="*/ 1325878 h 1357700"/>
              <a:gd name="connsiteX96" fmla="*/ 4564919 w 10678681"/>
              <a:gd name="connsiteY96" fmla="*/ 1325507 h 1357700"/>
              <a:gd name="connsiteX97" fmla="*/ 4566586 w 10678681"/>
              <a:gd name="connsiteY97" fmla="*/ 1316963 h 1357700"/>
              <a:gd name="connsiteX98" fmla="*/ 4556303 w 10678681"/>
              <a:gd name="connsiteY98" fmla="*/ 1300262 h 1357700"/>
              <a:gd name="connsiteX99" fmla="*/ 4502358 w 10678681"/>
              <a:gd name="connsiteY99" fmla="*/ 1302558 h 1357700"/>
              <a:gd name="connsiteX100" fmla="*/ 4498919 w 10678681"/>
              <a:gd name="connsiteY100" fmla="*/ 1312115 h 1357700"/>
              <a:gd name="connsiteX101" fmla="*/ 4492075 w 10678681"/>
              <a:gd name="connsiteY101" fmla="*/ 1313357 h 1357700"/>
              <a:gd name="connsiteX102" fmla="*/ 4487466 w 10678681"/>
              <a:gd name="connsiteY102" fmla="*/ 1304102 h 1357700"/>
              <a:gd name="connsiteX103" fmla="*/ 4398292 w 10678681"/>
              <a:gd name="connsiteY103" fmla="*/ 1278410 h 1357700"/>
              <a:gd name="connsiteX104" fmla="*/ 4278026 w 10678681"/>
              <a:gd name="connsiteY104" fmla="*/ 1259803 h 1357700"/>
              <a:gd name="connsiteX105" fmla="*/ 4188995 w 10678681"/>
              <a:gd name="connsiteY105" fmla="*/ 1296718 h 1357700"/>
              <a:gd name="connsiteX106" fmla="*/ 4181483 w 10678681"/>
              <a:gd name="connsiteY106" fmla="*/ 1287686 h 1357700"/>
              <a:gd name="connsiteX107" fmla="*/ 4120739 w 10678681"/>
              <a:gd name="connsiteY107" fmla="*/ 1288549 h 1357700"/>
              <a:gd name="connsiteX108" fmla="*/ 3906561 w 10678681"/>
              <a:gd name="connsiteY108" fmla="*/ 1352435 h 1357700"/>
              <a:gd name="connsiteX109" fmla="*/ 3787890 w 10678681"/>
              <a:gd name="connsiteY109" fmla="*/ 1352442 h 1357700"/>
              <a:gd name="connsiteX110" fmla="*/ 3745993 w 10678681"/>
              <a:gd name="connsiteY110" fmla="*/ 1342630 h 1357700"/>
              <a:gd name="connsiteX111" fmla="*/ 3675785 w 10678681"/>
              <a:gd name="connsiteY111" fmla="*/ 1326802 h 1357700"/>
              <a:gd name="connsiteX112" fmla="*/ 3623856 w 10678681"/>
              <a:gd name="connsiteY112" fmla="*/ 1290804 h 1357700"/>
              <a:gd name="connsiteX113" fmla="*/ 3564933 w 10678681"/>
              <a:gd name="connsiteY113" fmla="*/ 1287147 h 1357700"/>
              <a:gd name="connsiteX114" fmla="*/ 3550537 w 10678681"/>
              <a:gd name="connsiteY114" fmla="*/ 1317552 h 1357700"/>
              <a:gd name="connsiteX115" fmla="*/ 3487736 w 10678681"/>
              <a:gd name="connsiteY115" fmla="*/ 1303493 h 1357700"/>
              <a:gd name="connsiteX116" fmla="*/ 3392548 w 10678681"/>
              <a:gd name="connsiteY116" fmla="*/ 1278741 h 1357700"/>
              <a:gd name="connsiteX117" fmla="*/ 3337466 w 10678681"/>
              <a:gd name="connsiteY117" fmla="*/ 1272537 h 1357700"/>
              <a:gd name="connsiteX118" fmla="*/ 3187206 w 10678681"/>
              <a:gd name="connsiteY118" fmla="*/ 1246821 h 1357700"/>
              <a:gd name="connsiteX119" fmla="*/ 3036856 w 10678681"/>
              <a:gd name="connsiteY119" fmla="*/ 1214383 h 1357700"/>
              <a:gd name="connsiteX120" fmla="*/ 2948654 w 10678681"/>
              <a:gd name="connsiteY120" fmla="*/ 1157455 h 1357700"/>
              <a:gd name="connsiteX121" fmla="*/ 2824973 w 10678681"/>
              <a:gd name="connsiteY121" fmla="*/ 1134864 h 1357700"/>
              <a:gd name="connsiteX122" fmla="*/ 2804398 w 10678681"/>
              <a:gd name="connsiteY122" fmla="*/ 1125556 h 1357700"/>
              <a:gd name="connsiteX123" fmla="*/ 2775396 w 10678681"/>
              <a:gd name="connsiteY123" fmla="*/ 1130148 h 1357700"/>
              <a:gd name="connsiteX124" fmla="*/ 2659096 w 10678681"/>
              <a:gd name="connsiteY124" fmla="*/ 1150294 h 1357700"/>
              <a:gd name="connsiteX125" fmla="*/ 2567088 w 10678681"/>
              <a:gd name="connsiteY125" fmla="*/ 1181781 h 1357700"/>
              <a:gd name="connsiteX126" fmla="*/ 2454501 w 10678681"/>
              <a:gd name="connsiteY126" fmla="*/ 1155455 h 1357700"/>
              <a:gd name="connsiteX127" fmla="*/ 2385161 w 10678681"/>
              <a:gd name="connsiteY127" fmla="*/ 1161312 h 1357700"/>
              <a:gd name="connsiteX128" fmla="*/ 2270528 w 10678681"/>
              <a:gd name="connsiteY128" fmla="*/ 1204338 h 1357700"/>
              <a:gd name="connsiteX129" fmla="*/ 2121820 w 10678681"/>
              <a:gd name="connsiteY129" fmla="*/ 1187078 h 1357700"/>
              <a:gd name="connsiteX130" fmla="*/ 2092716 w 10678681"/>
              <a:gd name="connsiteY130" fmla="*/ 1139224 h 1357700"/>
              <a:gd name="connsiteX131" fmla="*/ 2052449 w 10678681"/>
              <a:gd name="connsiteY131" fmla="*/ 1109687 h 1357700"/>
              <a:gd name="connsiteX132" fmla="*/ 2032607 w 10678681"/>
              <a:gd name="connsiteY132" fmla="*/ 1175477 h 1357700"/>
              <a:gd name="connsiteX133" fmla="*/ 1901837 w 10678681"/>
              <a:gd name="connsiteY133" fmla="*/ 1221762 h 1357700"/>
              <a:gd name="connsiteX134" fmla="*/ 1836762 w 10678681"/>
              <a:gd name="connsiteY134" fmla="*/ 1237387 h 1357700"/>
              <a:gd name="connsiteX135" fmla="*/ 1735877 w 10678681"/>
              <a:gd name="connsiteY135" fmla="*/ 1246527 h 1357700"/>
              <a:gd name="connsiteX136" fmla="*/ 1705069 w 10678681"/>
              <a:gd name="connsiteY136" fmla="*/ 1251989 h 1357700"/>
              <a:gd name="connsiteX137" fmla="*/ 1397689 w 10678681"/>
              <a:gd name="connsiteY137" fmla="*/ 1336144 h 1357700"/>
              <a:gd name="connsiteX138" fmla="*/ 1220734 w 10678681"/>
              <a:gd name="connsiteY138" fmla="*/ 1257811 h 1357700"/>
              <a:gd name="connsiteX139" fmla="*/ 1021737 w 10678681"/>
              <a:gd name="connsiteY139" fmla="*/ 1238739 h 1357700"/>
              <a:gd name="connsiteX140" fmla="*/ 959820 w 10678681"/>
              <a:gd name="connsiteY140" fmla="*/ 1275863 h 1357700"/>
              <a:gd name="connsiteX141" fmla="*/ 929137 w 10678681"/>
              <a:gd name="connsiteY141" fmla="*/ 1273957 h 1357700"/>
              <a:gd name="connsiteX142" fmla="*/ 878849 w 10678681"/>
              <a:gd name="connsiteY142" fmla="*/ 1266740 h 1357700"/>
              <a:gd name="connsiteX143" fmla="*/ 800667 w 10678681"/>
              <a:gd name="connsiteY143" fmla="*/ 1282041 h 1357700"/>
              <a:gd name="connsiteX144" fmla="*/ 644906 w 10678681"/>
              <a:gd name="connsiteY144" fmla="*/ 1273685 h 1357700"/>
              <a:gd name="connsiteX145" fmla="*/ 379869 w 10678681"/>
              <a:gd name="connsiteY145" fmla="*/ 1339165 h 1357700"/>
              <a:gd name="connsiteX146" fmla="*/ 137696 w 10678681"/>
              <a:gd name="connsiteY146" fmla="*/ 1319217 h 1357700"/>
              <a:gd name="connsiteX147" fmla="*/ 54250 w 10678681"/>
              <a:gd name="connsiteY147" fmla="*/ 1315838 h 1357700"/>
              <a:gd name="connsiteX148" fmla="*/ 28042 w 10678681"/>
              <a:gd name="connsiteY148" fmla="*/ 1297822 h 1357700"/>
              <a:gd name="connsiteX149" fmla="*/ 0 w 10678681"/>
              <a:gd name="connsiteY149" fmla="*/ 1294612 h 1357700"/>
              <a:gd name="connsiteX150" fmla="*/ 0 w 10678681"/>
              <a:gd name="connsiteY150"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98313 w 10678681"/>
              <a:gd name="connsiteY65" fmla="*/ 1063249 h 1357700"/>
              <a:gd name="connsiteX66" fmla="*/ 6550218 w 10678681"/>
              <a:gd name="connsiteY66" fmla="*/ 1026825 h 1357700"/>
              <a:gd name="connsiteX67" fmla="*/ 6437450 w 10678681"/>
              <a:gd name="connsiteY67" fmla="*/ 1101075 h 1357700"/>
              <a:gd name="connsiteX68" fmla="*/ 6327795 w 10678681"/>
              <a:gd name="connsiteY68" fmla="*/ 1088142 h 1357700"/>
              <a:gd name="connsiteX69" fmla="*/ 6136549 w 10678681"/>
              <a:gd name="connsiteY69" fmla="*/ 1100268 h 1357700"/>
              <a:gd name="connsiteX70" fmla="*/ 6004655 w 10678681"/>
              <a:gd name="connsiteY70" fmla="*/ 1114946 h 1357700"/>
              <a:gd name="connsiteX71" fmla="*/ 5936643 w 10678681"/>
              <a:gd name="connsiteY71" fmla="*/ 1095428 h 1357700"/>
              <a:gd name="connsiteX72" fmla="*/ 5912484 w 10678681"/>
              <a:gd name="connsiteY72" fmla="*/ 1112624 h 1357700"/>
              <a:gd name="connsiteX73" fmla="*/ 5908387 w 10678681"/>
              <a:gd name="connsiteY73" fmla="*/ 1116018 h 1357700"/>
              <a:gd name="connsiteX74" fmla="*/ 5890495 w 10678681"/>
              <a:gd name="connsiteY74" fmla="*/ 1120268 h 1357700"/>
              <a:gd name="connsiteX75" fmla="*/ 5887318 w 10678681"/>
              <a:gd name="connsiteY75" fmla="*/ 1133134 h 1357700"/>
              <a:gd name="connsiteX76" fmla="*/ 5861726 w 10678681"/>
              <a:gd name="connsiteY76" fmla="*/ 1147891 h 1357700"/>
              <a:gd name="connsiteX77" fmla="*/ 5805823 w 10678681"/>
              <a:gd name="connsiteY77" fmla="*/ 1152457 h 1357700"/>
              <a:gd name="connsiteX78" fmla="*/ 5667391 w 10678681"/>
              <a:gd name="connsiteY78" fmla="*/ 1161093 h 1357700"/>
              <a:gd name="connsiteX79" fmla="*/ 5572219 w 10678681"/>
              <a:gd name="connsiteY79" fmla="*/ 1173708 h 1357700"/>
              <a:gd name="connsiteX80" fmla="*/ 5537768 w 10678681"/>
              <a:gd name="connsiteY80" fmla="*/ 1190202 h 1357700"/>
              <a:gd name="connsiteX81" fmla="*/ 5488513 w 10678681"/>
              <a:gd name="connsiteY81" fmla="*/ 1205367 h 1357700"/>
              <a:gd name="connsiteX82" fmla="*/ 5402905 w 10678681"/>
              <a:gd name="connsiteY82" fmla="*/ 1241191 h 1357700"/>
              <a:gd name="connsiteX83" fmla="*/ 5285593 w 10678681"/>
              <a:gd name="connsiteY83" fmla="*/ 1273569 h 1357700"/>
              <a:gd name="connsiteX84" fmla="*/ 5192893 w 10678681"/>
              <a:gd name="connsiteY84" fmla="*/ 1247188 h 1357700"/>
              <a:gd name="connsiteX85" fmla="*/ 5186475 w 10678681"/>
              <a:gd name="connsiteY85" fmla="*/ 1257028 h 1357700"/>
              <a:gd name="connsiteX86" fmla="*/ 5126038 w 10678681"/>
              <a:gd name="connsiteY86" fmla="*/ 1263189 h 1357700"/>
              <a:gd name="connsiteX87" fmla="*/ 4905913 w 10678681"/>
              <a:gd name="connsiteY87" fmla="*/ 1224477 h 1357700"/>
              <a:gd name="connsiteX88" fmla="*/ 4788036 w 10678681"/>
              <a:gd name="connsiteY88" fmla="*/ 1238182 h 1357700"/>
              <a:gd name="connsiteX89" fmla="*/ 4747555 w 10678681"/>
              <a:gd name="connsiteY89" fmla="*/ 1252768 h 1357700"/>
              <a:gd name="connsiteX90" fmla="*/ 4679644 w 10678681"/>
              <a:gd name="connsiteY90" fmla="*/ 1276603 h 1357700"/>
              <a:gd name="connsiteX91" fmla="*/ 4632222 w 10678681"/>
              <a:gd name="connsiteY91" fmla="*/ 1318360 h 1357700"/>
              <a:gd name="connsiteX92" fmla="*/ 4617358 w 10678681"/>
              <a:gd name="connsiteY92" fmla="*/ 1327690 h 1357700"/>
              <a:gd name="connsiteX93" fmla="*/ 4589102 w 10678681"/>
              <a:gd name="connsiteY93" fmla="*/ 1321223 h 1357700"/>
              <a:gd name="connsiteX94" fmla="*/ 4578184 w 10678681"/>
              <a:gd name="connsiteY94" fmla="*/ 1326745 h 1357700"/>
              <a:gd name="connsiteX95" fmla="*/ 4574270 w 10678681"/>
              <a:gd name="connsiteY95" fmla="*/ 1325878 h 1357700"/>
              <a:gd name="connsiteX96" fmla="*/ 4564919 w 10678681"/>
              <a:gd name="connsiteY96" fmla="*/ 1325507 h 1357700"/>
              <a:gd name="connsiteX97" fmla="*/ 4566586 w 10678681"/>
              <a:gd name="connsiteY97" fmla="*/ 1316963 h 1357700"/>
              <a:gd name="connsiteX98" fmla="*/ 4556303 w 10678681"/>
              <a:gd name="connsiteY98" fmla="*/ 1300262 h 1357700"/>
              <a:gd name="connsiteX99" fmla="*/ 4502358 w 10678681"/>
              <a:gd name="connsiteY99" fmla="*/ 1302558 h 1357700"/>
              <a:gd name="connsiteX100" fmla="*/ 4498919 w 10678681"/>
              <a:gd name="connsiteY100" fmla="*/ 1312115 h 1357700"/>
              <a:gd name="connsiteX101" fmla="*/ 4492075 w 10678681"/>
              <a:gd name="connsiteY101" fmla="*/ 1313357 h 1357700"/>
              <a:gd name="connsiteX102" fmla="*/ 4487466 w 10678681"/>
              <a:gd name="connsiteY102" fmla="*/ 1304102 h 1357700"/>
              <a:gd name="connsiteX103" fmla="*/ 4398292 w 10678681"/>
              <a:gd name="connsiteY103" fmla="*/ 1278410 h 1357700"/>
              <a:gd name="connsiteX104" fmla="*/ 4278026 w 10678681"/>
              <a:gd name="connsiteY104" fmla="*/ 1259803 h 1357700"/>
              <a:gd name="connsiteX105" fmla="*/ 4188995 w 10678681"/>
              <a:gd name="connsiteY105" fmla="*/ 1296718 h 1357700"/>
              <a:gd name="connsiteX106" fmla="*/ 4181483 w 10678681"/>
              <a:gd name="connsiteY106" fmla="*/ 1287686 h 1357700"/>
              <a:gd name="connsiteX107" fmla="*/ 4120739 w 10678681"/>
              <a:gd name="connsiteY107" fmla="*/ 1288549 h 1357700"/>
              <a:gd name="connsiteX108" fmla="*/ 3906561 w 10678681"/>
              <a:gd name="connsiteY108" fmla="*/ 1352435 h 1357700"/>
              <a:gd name="connsiteX109" fmla="*/ 3787890 w 10678681"/>
              <a:gd name="connsiteY109" fmla="*/ 1352442 h 1357700"/>
              <a:gd name="connsiteX110" fmla="*/ 3745993 w 10678681"/>
              <a:gd name="connsiteY110" fmla="*/ 1342630 h 1357700"/>
              <a:gd name="connsiteX111" fmla="*/ 3675785 w 10678681"/>
              <a:gd name="connsiteY111" fmla="*/ 1326802 h 1357700"/>
              <a:gd name="connsiteX112" fmla="*/ 3623856 w 10678681"/>
              <a:gd name="connsiteY112" fmla="*/ 1290804 h 1357700"/>
              <a:gd name="connsiteX113" fmla="*/ 3564933 w 10678681"/>
              <a:gd name="connsiteY113" fmla="*/ 1287147 h 1357700"/>
              <a:gd name="connsiteX114" fmla="*/ 3550537 w 10678681"/>
              <a:gd name="connsiteY114" fmla="*/ 1317552 h 1357700"/>
              <a:gd name="connsiteX115" fmla="*/ 3487736 w 10678681"/>
              <a:gd name="connsiteY115" fmla="*/ 1303493 h 1357700"/>
              <a:gd name="connsiteX116" fmla="*/ 3392548 w 10678681"/>
              <a:gd name="connsiteY116" fmla="*/ 1278741 h 1357700"/>
              <a:gd name="connsiteX117" fmla="*/ 3337466 w 10678681"/>
              <a:gd name="connsiteY117" fmla="*/ 1272537 h 1357700"/>
              <a:gd name="connsiteX118" fmla="*/ 3187206 w 10678681"/>
              <a:gd name="connsiteY118" fmla="*/ 1246821 h 1357700"/>
              <a:gd name="connsiteX119" fmla="*/ 3036856 w 10678681"/>
              <a:gd name="connsiteY119" fmla="*/ 1214383 h 1357700"/>
              <a:gd name="connsiteX120" fmla="*/ 2948654 w 10678681"/>
              <a:gd name="connsiteY120" fmla="*/ 1157455 h 1357700"/>
              <a:gd name="connsiteX121" fmla="*/ 2824973 w 10678681"/>
              <a:gd name="connsiteY121" fmla="*/ 1134864 h 1357700"/>
              <a:gd name="connsiteX122" fmla="*/ 2804398 w 10678681"/>
              <a:gd name="connsiteY122" fmla="*/ 1125556 h 1357700"/>
              <a:gd name="connsiteX123" fmla="*/ 2775396 w 10678681"/>
              <a:gd name="connsiteY123" fmla="*/ 1130148 h 1357700"/>
              <a:gd name="connsiteX124" fmla="*/ 2659096 w 10678681"/>
              <a:gd name="connsiteY124" fmla="*/ 1150294 h 1357700"/>
              <a:gd name="connsiteX125" fmla="*/ 2567088 w 10678681"/>
              <a:gd name="connsiteY125" fmla="*/ 1181781 h 1357700"/>
              <a:gd name="connsiteX126" fmla="*/ 2454501 w 10678681"/>
              <a:gd name="connsiteY126" fmla="*/ 1155455 h 1357700"/>
              <a:gd name="connsiteX127" fmla="*/ 2385161 w 10678681"/>
              <a:gd name="connsiteY127" fmla="*/ 1161312 h 1357700"/>
              <a:gd name="connsiteX128" fmla="*/ 2270528 w 10678681"/>
              <a:gd name="connsiteY128" fmla="*/ 1204338 h 1357700"/>
              <a:gd name="connsiteX129" fmla="*/ 2121820 w 10678681"/>
              <a:gd name="connsiteY129" fmla="*/ 1187078 h 1357700"/>
              <a:gd name="connsiteX130" fmla="*/ 2092716 w 10678681"/>
              <a:gd name="connsiteY130" fmla="*/ 1139224 h 1357700"/>
              <a:gd name="connsiteX131" fmla="*/ 2052449 w 10678681"/>
              <a:gd name="connsiteY131" fmla="*/ 1109687 h 1357700"/>
              <a:gd name="connsiteX132" fmla="*/ 2032607 w 10678681"/>
              <a:gd name="connsiteY132" fmla="*/ 1175477 h 1357700"/>
              <a:gd name="connsiteX133" fmla="*/ 1901837 w 10678681"/>
              <a:gd name="connsiteY133" fmla="*/ 1221762 h 1357700"/>
              <a:gd name="connsiteX134" fmla="*/ 1836762 w 10678681"/>
              <a:gd name="connsiteY134" fmla="*/ 1237387 h 1357700"/>
              <a:gd name="connsiteX135" fmla="*/ 1735877 w 10678681"/>
              <a:gd name="connsiteY135" fmla="*/ 1246527 h 1357700"/>
              <a:gd name="connsiteX136" fmla="*/ 1705069 w 10678681"/>
              <a:gd name="connsiteY136" fmla="*/ 1251989 h 1357700"/>
              <a:gd name="connsiteX137" fmla="*/ 1397689 w 10678681"/>
              <a:gd name="connsiteY137" fmla="*/ 1336144 h 1357700"/>
              <a:gd name="connsiteX138" fmla="*/ 1220734 w 10678681"/>
              <a:gd name="connsiteY138" fmla="*/ 1257811 h 1357700"/>
              <a:gd name="connsiteX139" fmla="*/ 1021737 w 10678681"/>
              <a:gd name="connsiteY139" fmla="*/ 1238739 h 1357700"/>
              <a:gd name="connsiteX140" fmla="*/ 959820 w 10678681"/>
              <a:gd name="connsiteY140" fmla="*/ 1275863 h 1357700"/>
              <a:gd name="connsiteX141" fmla="*/ 929137 w 10678681"/>
              <a:gd name="connsiteY141" fmla="*/ 1273957 h 1357700"/>
              <a:gd name="connsiteX142" fmla="*/ 878849 w 10678681"/>
              <a:gd name="connsiteY142" fmla="*/ 1266740 h 1357700"/>
              <a:gd name="connsiteX143" fmla="*/ 800667 w 10678681"/>
              <a:gd name="connsiteY143" fmla="*/ 1282041 h 1357700"/>
              <a:gd name="connsiteX144" fmla="*/ 644906 w 10678681"/>
              <a:gd name="connsiteY144" fmla="*/ 1273685 h 1357700"/>
              <a:gd name="connsiteX145" fmla="*/ 379869 w 10678681"/>
              <a:gd name="connsiteY145" fmla="*/ 1339165 h 1357700"/>
              <a:gd name="connsiteX146" fmla="*/ 137696 w 10678681"/>
              <a:gd name="connsiteY146" fmla="*/ 1319217 h 1357700"/>
              <a:gd name="connsiteX147" fmla="*/ 54250 w 10678681"/>
              <a:gd name="connsiteY147" fmla="*/ 1315838 h 1357700"/>
              <a:gd name="connsiteX148" fmla="*/ 28042 w 10678681"/>
              <a:gd name="connsiteY148" fmla="*/ 1297822 h 1357700"/>
              <a:gd name="connsiteX149" fmla="*/ 0 w 10678681"/>
              <a:gd name="connsiteY149" fmla="*/ 1294612 h 1357700"/>
              <a:gd name="connsiteX150" fmla="*/ 0 w 10678681"/>
              <a:gd name="connsiteY150"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98313 w 10678681"/>
              <a:gd name="connsiteY65" fmla="*/ 1063249 h 1357700"/>
              <a:gd name="connsiteX66" fmla="*/ 6550218 w 10678681"/>
              <a:gd name="connsiteY66" fmla="*/ 1026825 h 1357700"/>
              <a:gd name="connsiteX67" fmla="*/ 6437450 w 10678681"/>
              <a:gd name="connsiteY67" fmla="*/ 1101075 h 1357700"/>
              <a:gd name="connsiteX68" fmla="*/ 6327795 w 10678681"/>
              <a:gd name="connsiteY68" fmla="*/ 1088142 h 1357700"/>
              <a:gd name="connsiteX69" fmla="*/ 6136549 w 10678681"/>
              <a:gd name="connsiteY69" fmla="*/ 1100268 h 1357700"/>
              <a:gd name="connsiteX70" fmla="*/ 6004655 w 10678681"/>
              <a:gd name="connsiteY70" fmla="*/ 1114946 h 1357700"/>
              <a:gd name="connsiteX71" fmla="*/ 5936643 w 10678681"/>
              <a:gd name="connsiteY71" fmla="*/ 1095428 h 1357700"/>
              <a:gd name="connsiteX72" fmla="*/ 5912484 w 10678681"/>
              <a:gd name="connsiteY72" fmla="*/ 1112624 h 1357700"/>
              <a:gd name="connsiteX73" fmla="*/ 5908387 w 10678681"/>
              <a:gd name="connsiteY73" fmla="*/ 1116018 h 1357700"/>
              <a:gd name="connsiteX74" fmla="*/ 5890495 w 10678681"/>
              <a:gd name="connsiteY74" fmla="*/ 1120268 h 1357700"/>
              <a:gd name="connsiteX75" fmla="*/ 5887318 w 10678681"/>
              <a:gd name="connsiteY75" fmla="*/ 1133134 h 1357700"/>
              <a:gd name="connsiteX76" fmla="*/ 5861726 w 10678681"/>
              <a:gd name="connsiteY76" fmla="*/ 1147891 h 1357700"/>
              <a:gd name="connsiteX77" fmla="*/ 5805823 w 10678681"/>
              <a:gd name="connsiteY77" fmla="*/ 1152457 h 1357700"/>
              <a:gd name="connsiteX78" fmla="*/ 5689841 w 10678681"/>
              <a:gd name="connsiteY78" fmla="*/ 1176232 h 1357700"/>
              <a:gd name="connsiteX79" fmla="*/ 5572219 w 10678681"/>
              <a:gd name="connsiteY79" fmla="*/ 1173708 h 1357700"/>
              <a:gd name="connsiteX80" fmla="*/ 5537768 w 10678681"/>
              <a:gd name="connsiteY80" fmla="*/ 1190202 h 1357700"/>
              <a:gd name="connsiteX81" fmla="*/ 5488513 w 10678681"/>
              <a:gd name="connsiteY81" fmla="*/ 1205367 h 1357700"/>
              <a:gd name="connsiteX82" fmla="*/ 5402905 w 10678681"/>
              <a:gd name="connsiteY82" fmla="*/ 1241191 h 1357700"/>
              <a:gd name="connsiteX83" fmla="*/ 5285593 w 10678681"/>
              <a:gd name="connsiteY83" fmla="*/ 1273569 h 1357700"/>
              <a:gd name="connsiteX84" fmla="*/ 5192893 w 10678681"/>
              <a:gd name="connsiteY84" fmla="*/ 1247188 h 1357700"/>
              <a:gd name="connsiteX85" fmla="*/ 5186475 w 10678681"/>
              <a:gd name="connsiteY85" fmla="*/ 1257028 h 1357700"/>
              <a:gd name="connsiteX86" fmla="*/ 5126038 w 10678681"/>
              <a:gd name="connsiteY86" fmla="*/ 1263189 h 1357700"/>
              <a:gd name="connsiteX87" fmla="*/ 4905913 w 10678681"/>
              <a:gd name="connsiteY87" fmla="*/ 1224477 h 1357700"/>
              <a:gd name="connsiteX88" fmla="*/ 4788036 w 10678681"/>
              <a:gd name="connsiteY88" fmla="*/ 1238182 h 1357700"/>
              <a:gd name="connsiteX89" fmla="*/ 4747555 w 10678681"/>
              <a:gd name="connsiteY89" fmla="*/ 1252768 h 1357700"/>
              <a:gd name="connsiteX90" fmla="*/ 4679644 w 10678681"/>
              <a:gd name="connsiteY90" fmla="*/ 1276603 h 1357700"/>
              <a:gd name="connsiteX91" fmla="*/ 4632222 w 10678681"/>
              <a:gd name="connsiteY91" fmla="*/ 1318360 h 1357700"/>
              <a:gd name="connsiteX92" fmla="*/ 4617358 w 10678681"/>
              <a:gd name="connsiteY92" fmla="*/ 1327690 h 1357700"/>
              <a:gd name="connsiteX93" fmla="*/ 4589102 w 10678681"/>
              <a:gd name="connsiteY93" fmla="*/ 1321223 h 1357700"/>
              <a:gd name="connsiteX94" fmla="*/ 4578184 w 10678681"/>
              <a:gd name="connsiteY94" fmla="*/ 1326745 h 1357700"/>
              <a:gd name="connsiteX95" fmla="*/ 4574270 w 10678681"/>
              <a:gd name="connsiteY95" fmla="*/ 1325878 h 1357700"/>
              <a:gd name="connsiteX96" fmla="*/ 4564919 w 10678681"/>
              <a:gd name="connsiteY96" fmla="*/ 1325507 h 1357700"/>
              <a:gd name="connsiteX97" fmla="*/ 4566586 w 10678681"/>
              <a:gd name="connsiteY97" fmla="*/ 1316963 h 1357700"/>
              <a:gd name="connsiteX98" fmla="*/ 4556303 w 10678681"/>
              <a:gd name="connsiteY98" fmla="*/ 1300262 h 1357700"/>
              <a:gd name="connsiteX99" fmla="*/ 4502358 w 10678681"/>
              <a:gd name="connsiteY99" fmla="*/ 1302558 h 1357700"/>
              <a:gd name="connsiteX100" fmla="*/ 4498919 w 10678681"/>
              <a:gd name="connsiteY100" fmla="*/ 1312115 h 1357700"/>
              <a:gd name="connsiteX101" fmla="*/ 4492075 w 10678681"/>
              <a:gd name="connsiteY101" fmla="*/ 1313357 h 1357700"/>
              <a:gd name="connsiteX102" fmla="*/ 4487466 w 10678681"/>
              <a:gd name="connsiteY102" fmla="*/ 1304102 h 1357700"/>
              <a:gd name="connsiteX103" fmla="*/ 4398292 w 10678681"/>
              <a:gd name="connsiteY103" fmla="*/ 1278410 h 1357700"/>
              <a:gd name="connsiteX104" fmla="*/ 4278026 w 10678681"/>
              <a:gd name="connsiteY104" fmla="*/ 1259803 h 1357700"/>
              <a:gd name="connsiteX105" fmla="*/ 4188995 w 10678681"/>
              <a:gd name="connsiteY105" fmla="*/ 1296718 h 1357700"/>
              <a:gd name="connsiteX106" fmla="*/ 4181483 w 10678681"/>
              <a:gd name="connsiteY106" fmla="*/ 1287686 h 1357700"/>
              <a:gd name="connsiteX107" fmla="*/ 4120739 w 10678681"/>
              <a:gd name="connsiteY107" fmla="*/ 1288549 h 1357700"/>
              <a:gd name="connsiteX108" fmla="*/ 3906561 w 10678681"/>
              <a:gd name="connsiteY108" fmla="*/ 1352435 h 1357700"/>
              <a:gd name="connsiteX109" fmla="*/ 3787890 w 10678681"/>
              <a:gd name="connsiteY109" fmla="*/ 1352442 h 1357700"/>
              <a:gd name="connsiteX110" fmla="*/ 3745993 w 10678681"/>
              <a:gd name="connsiteY110" fmla="*/ 1342630 h 1357700"/>
              <a:gd name="connsiteX111" fmla="*/ 3675785 w 10678681"/>
              <a:gd name="connsiteY111" fmla="*/ 1326802 h 1357700"/>
              <a:gd name="connsiteX112" fmla="*/ 3623856 w 10678681"/>
              <a:gd name="connsiteY112" fmla="*/ 1290804 h 1357700"/>
              <a:gd name="connsiteX113" fmla="*/ 3564933 w 10678681"/>
              <a:gd name="connsiteY113" fmla="*/ 1287147 h 1357700"/>
              <a:gd name="connsiteX114" fmla="*/ 3550537 w 10678681"/>
              <a:gd name="connsiteY114" fmla="*/ 1317552 h 1357700"/>
              <a:gd name="connsiteX115" fmla="*/ 3487736 w 10678681"/>
              <a:gd name="connsiteY115" fmla="*/ 1303493 h 1357700"/>
              <a:gd name="connsiteX116" fmla="*/ 3392548 w 10678681"/>
              <a:gd name="connsiteY116" fmla="*/ 1278741 h 1357700"/>
              <a:gd name="connsiteX117" fmla="*/ 3337466 w 10678681"/>
              <a:gd name="connsiteY117" fmla="*/ 1272537 h 1357700"/>
              <a:gd name="connsiteX118" fmla="*/ 3187206 w 10678681"/>
              <a:gd name="connsiteY118" fmla="*/ 1246821 h 1357700"/>
              <a:gd name="connsiteX119" fmla="*/ 3036856 w 10678681"/>
              <a:gd name="connsiteY119" fmla="*/ 1214383 h 1357700"/>
              <a:gd name="connsiteX120" fmla="*/ 2948654 w 10678681"/>
              <a:gd name="connsiteY120" fmla="*/ 1157455 h 1357700"/>
              <a:gd name="connsiteX121" fmla="*/ 2824973 w 10678681"/>
              <a:gd name="connsiteY121" fmla="*/ 1134864 h 1357700"/>
              <a:gd name="connsiteX122" fmla="*/ 2804398 w 10678681"/>
              <a:gd name="connsiteY122" fmla="*/ 1125556 h 1357700"/>
              <a:gd name="connsiteX123" fmla="*/ 2775396 w 10678681"/>
              <a:gd name="connsiteY123" fmla="*/ 1130148 h 1357700"/>
              <a:gd name="connsiteX124" fmla="*/ 2659096 w 10678681"/>
              <a:gd name="connsiteY124" fmla="*/ 1150294 h 1357700"/>
              <a:gd name="connsiteX125" fmla="*/ 2567088 w 10678681"/>
              <a:gd name="connsiteY125" fmla="*/ 1181781 h 1357700"/>
              <a:gd name="connsiteX126" fmla="*/ 2454501 w 10678681"/>
              <a:gd name="connsiteY126" fmla="*/ 1155455 h 1357700"/>
              <a:gd name="connsiteX127" fmla="*/ 2385161 w 10678681"/>
              <a:gd name="connsiteY127" fmla="*/ 1161312 h 1357700"/>
              <a:gd name="connsiteX128" fmla="*/ 2270528 w 10678681"/>
              <a:gd name="connsiteY128" fmla="*/ 1204338 h 1357700"/>
              <a:gd name="connsiteX129" fmla="*/ 2121820 w 10678681"/>
              <a:gd name="connsiteY129" fmla="*/ 1187078 h 1357700"/>
              <a:gd name="connsiteX130" fmla="*/ 2092716 w 10678681"/>
              <a:gd name="connsiteY130" fmla="*/ 1139224 h 1357700"/>
              <a:gd name="connsiteX131" fmla="*/ 2052449 w 10678681"/>
              <a:gd name="connsiteY131" fmla="*/ 1109687 h 1357700"/>
              <a:gd name="connsiteX132" fmla="*/ 2032607 w 10678681"/>
              <a:gd name="connsiteY132" fmla="*/ 1175477 h 1357700"/>
              <a:gd name="connsiteX133" fmla="*/ 1901837 w 10678681"/>
              <a:gd name="connsiteY133" fmla="*/ 1221762 h 1357700"/>
              <a:gd name="connsiteX134" fmla="*/ 1836762 w 10678681"/>
              <a:gd name="connsiteY134" fmla="*/ 1237387 h 1357700"/>
              <a:gd name="connsiteX135" fmla="*/ 1735877 w 10678681"/>
              <a:gd name="connsiteY135" fmla="*/ 1246527 h 1357700"/>
              <a:gd name="connsiteX136" fmla="*/ 1705069 w 10678681"/>
              <a:gd name="connsiteY136" fmla="*/ 1251989 h 1357700"/>
              <a:gd name="connsiteX137" fmla="*/ 1397689 w 10678681"/>
              <a:gd name="connsiteY137" fmla="*/ 1336144 h 1357700"/>
              <a:gd name="connsiteX138" fmla="*/ 1220734 w 10678681"/>
              <a:gd name="connsiteY138" fmla="*/ 1257811 h 1357700"/>
              <a:gd name="connsiteX139" fmla="*/ 1021737 w 10678681"/>
              <a:gd name="connsiteY139" fmla="*/ 1238739 h 1357700"/>
              <a:gd name="connsiteX140" fmla="*/ 959820 w 10678681"/>
              <a:gd name="connsiteY140" fmla="*/ 1275863 h 1357700"/>
              <a:gd name="connsiteX141" fmla="*/ 929137 w 10678681"/>
              <a:gd name="connsiteY141" fmla="*/ 1273957 h 1357700"/>
              <a:gd name="connsiteX142" fmla="*/ 878849 w 10678681"/>
              <a:gd name="connsiteY142" fmla="*/ 1266740 h 1357700"/>
              <a:gd name="connsiteX143" fmla="*/ 800667 w 10678681"/>
              <a:gd name="connsiteY143" fmla="*/ 1282041 h 1357700"/>
              <a:gd name="connsiteX144" fmla="*/ 644906 w 10678681"/>
              <a:gd name="connsiteY144" fmla="*/ 1273685 h 1357700"/>
              <a:gd name="connsiteX145" fmla="*/ 379869 w 10678681"/>
              <a:gd name="connsiteY145" fmla="*/ 1339165 h 1357700"/>
              <a:gd name="connsiteX146" fmla="*/ 137696 w 10678681"/>
              <a:gd name="connsiteY146" fmla="*/ 1319217 h 1357700"/>
              <a:gd name="connsiteX147" fmla="*/ 54250 w 10678681"/>
              <a:gd name="connsiteY147" fmla="*/ 1315838 h 1357700"/>
              <a:gd name="connsiteX148" fmla="*/ 28042 w 10678681"/>
              <a:gd name="connsiteY148" fmla="*/ 1297822 h 1357700"/>
              <a:gd name="connsiteX149" fmla="*/ 0 w 10678681"/>
              <a:gd name="connsiteY149" fmla="*/ 1294612 h 1357700"/>
              <a:gd name="connsiteX150" fmla="*/ 0 w 10678681"/>
              <a:gd name="connsiteY150"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98313 w 10678681"/>
              <a:gd name="connsiteY65" fmla="*/ 1063249 h 1357700"/>
              <a:gd name="connsiteX66" fmla="*/ 6550218 w 10678681"/>
              <a:gd name="connsiteY66" fmla="*/ 1026825 h 1357700"/>
              <a:gd name="connsiteX67" fmla="*/ 6437450 w 10678681"/>
              <a:gd name="connsiteY67" fmla="*/ 1101075 h 1357700"/>
              <a:gd name="connsiteX68" fmla="*/ 6327795 w 10678681"/>
              <a:gd name="connsiteY68" fmla="*/ 1088142 h 1357700"/>
              <a:gd name="connsiteX69" fmla="*/ 6136549 w 10678681"/>
              <a:gd name="connsiteY69" fmla="*/ 1100268 h 1357700"/>
              <a:gd name="connsiteX70" fmla="*/ 6004655 w 10678681"/>
              <a:gd name="connsiteY70" fmla="*/ 1114946 h 1357700"/>
              <a:gd name="connsiteX71" fmla="*/ 5936643 w 10678681"/>
              <a:gd name="connsiteY71" fmla="*/ 1095428 h 1357700"/>
              <a:gd name="connsiteX72" fmla="*/ 5912484 w 10678681"/>
              <a:gd name="connsiteY72" fmla="*/ 1112624 h 1357700"/>
              <a:gd name="connsiteX73" fmla="*/ 5908387 w 10678681"/>
              <a:gd name="connsiteY73" fmla="*/ 1116018 h 1357700"/>
              <a:gd name="connsiteX74" fmla="*/ 5890495 w 10678681"/>
              <a:gd name="connsiteY74" fmla="*/ 1120268 h 1357700"/>
              <a:gd name="connsiteX75" fmla="*/ 5887318 w 10678681"/>
              <a:gd name="connsiteY75" fmla="*/ 1133134 h 1357700"/>
              <a:gd name="connsiteX76" fmla="*/ 5861726 w 10678681"/>
              <a:gd name="connsiteY76" fmla="*/ 1147891 h 1357700"/>
              <a:gd name="connsiteX77" fmla="*/ 5805823 w 10678681"/>
              <a:gd name="connsiteY77" fmla="*/ 1152457 h 1357700"/>
              <a:gd name="connsiteX78" fmla="*/ 5689841 w 10678681"/>
              <a:gd name="connsiteY78" fmla="*/ 1176232 h 1357700"/>
              <a:gd name="connsiteX79" fmla="*/ 5537768 w 10678681"/>
              <a:gd name="connsiteY79" fmla="*/ 1190202 h 1357700"/>
              <a:gd name="connsiteX80" fmla="*/ 5488513 w 10678681"/>
              <a:gd name="connsiteY80" fmla="*/ 1205367 h 1357700"/>
              <a:gd name="connsiteX81" fmla="*/ 5402905 w 10678681"/>
              <a:gd name="connsiteY81" fmla="*/ 1241191 h 1357700"/>
              <a:gd name="connsiteX82" fmla="*/ 5285593 w 10678681"/>
              <a:gd name="connsiteY82" fmla="*/ 1273569 h 1357700"/>
              <a:gd name="connsiteX83" fmla="*/ 5192893 w 10678681"/>
              <a:gd name="connsiteY83" fmla="*/ 1247188 h 1357700"/>
              <a:gd name="connsiteX84" fmla="*/ 5186475 w 10678681"/>
              <a:gd name="connsiteY84" fmla="*/ 1257028 h 1357700"/>
              <a:gd name="connsiteX85" fmla="*/ 5126038 w 10678681"/>
              <a:gd name="connsiteY85" fmla="*/ 1263189 h 1357700"/>
              <a:gd name="connsiteX86" fmla="*/ 4905913 w 10678681"/>
              <a:gd name="connsiteY86" fmla="*/ 1224477 h 1357700"/>
              <a:gd name="connsiteX87" fmla="*/ 4788036 w 10678681"/>
              <a:gd name="connsiteY87" fmla="*/ 1238182 h 1357700"/>
              <a:gd name="connsiteX88" fmla="*/ 4747555 w 10678681"/>
              <a:gd name="connsiteY88" fmla="*/ 1252768 h 1357700"/>
              <a:gd name="connsiteX89" fmla="*/ 4679644 w 10678681"/>
              <a:gd name="connsiteY89" fmla="*/ 1276603 h 1357700"/>
              <a:gd name="connsiteX90" fmla="*/ 4632222 w 10678681"/>
              <a:gd name="connsiteY90" fmla="*/ 1318360 h 1357700"/>
              <a:gd name="connsiteX91" fmla="*/ 4617358 w 10678681"/>
              <a:gd name="connsiteY91" fmla="*/ 1327690 h 1357700"/>
              <a:gd name="connsiteX92" fmla="*/ 4589102 w 10678681"/>
              <a:gd name="connsiteY92" fmla="*/ 1321223 h 1357700"/>
              <a:gd name="connsiteX93" fmla="*/ 4578184 w 10678681"/>
              <a:gd name="connsiteY93" fmla="*/ 1326745 h 1357700"/>
              <a:gd name="connsiteX94" fmla="*/ 4574270 w 10678681"/>
              <a:gd name="connsiteY94" fmla="*/ 1325878 h 1357700"/>
              <a:gd name="connsiteX95" fmla="*/ 4564919 w 10678681"/>
              <a:gd name="connsiteY95" fmla="*/ 1325507 h 1357700"/>
              <a:gd name="connsiteX96" fmla="*/ 4566586 w 10678681"/>
              <a:gd name="connsiteY96" fmla="*/ 1316963 h 1357700"/>
              <a:gd name="connsiteX97" fmla="*/ 4556303 w 10678681"/>
              <a:gd name="connsiteY97" fmla="*/ 1300262 h 1357700"/>
              <a:gd name="connsiteX98" fmla="*/ 4502358 w 10678681"/>
              <a:gd name="connsiteY98" fmla="*/ 1302558 h 1357700"/>
              <a:gd name="connsiteX99" fmla="*/ 4498919 w 10678681"/>
              <a:gd name="connsiteY99" fmla="*/ 1312115 h 1357700"/>
              <a:gd name="connsiteX100" fmla="*/ 4492075 w 10678681"/>
              <a:gd name="connsiteY100" fmla="*/ 1313357 h 1357700"/>
              <a:gd name="connsiteX101" fmla="*/ 4487466 w 10678681"/>
              <a:gd name="connsiteY101" fmla="*/ 1304102 h 1357700"/>
              <a:gd name="connsiteX102" fmla="*/ 4398292 w 10678681"/>
              <a:gd name="connsiteY102" fmla="*/ 1278410 h 1357700"/>
              <a:gd name="connsiteX103" fmla="*/ 4278026 w 10678681"/>
              <a:gd name="connsiteY103" fmla="*/ 1259803 h 1357700"/>
              <a:gd name="connsiteX104" fmla="*/ 4188995 w 10678681"/>
              <a:gd name="connsiteY104" fmla="*/ 1296718 h 1357700"/>
              <a:gd name="connsiteX105" fmla="*/ 4181483 w 10678681"/>
              <a:gd name="connsiteY105" fmla="*/ 1287686 h 1357700"/>
              <a:gd name="connsiteX106" fmla="*/ 4120739 w 10678681"/>
              <a:gd name="connsiteY106" fmla="*/ 1288549 h 1357700"/>
              <a:gd name="connsiteX107" fmla="*/ 3906561 w 10678681"/>
              <a:gd name="connsiteY107" fmla="*/ 1352435 h 1357700"/>
              <a:gd name="connsiteX108" fmla="*/ 3787890 w 10678681"/>
              <a:gd name="connsiteY108" fmla="*/ 1352442 h 1357700"/>
              <a:gd name="connsiteX109" fmla="*/ 3745993 w 10678681"/>
              <a:gd name="connsiteY109" fmla="*/ 1342630 h 1357700"/>
              <a:gd name="connsiteX110" fmla="*/ 3675785 w 10678681"/>
              <a:gd name="connsiteY110" fmla="*/ 1326802 h 1357700"/>
              <a:gd name="connsiteX111" fmla="*/ 3623856 w 10678681"/>
              <a:gd name="connsiteY111" fmla="*/ 1290804 h 1357700"/>
              <a:gd name="connsiteX112" fmla="*/ 3564933 w 10678681"/>
              <a:gd name="connsiteY112" fmla="*/ 1287147 h 1357700"/>
              <a:gd name="connsiteX113" fmla="*/ 3550537 w 10678681"/>
              <a:gd name="connsiteY113" fmla="*/ 1317552 h 1357700"/>
              <a:gd name="connsiteX114" fmla="*/ 3487736 w 10678681"/>
              <a:gd name="connsiteY114" fmla="*/ 1303493 h 1357700"/>
              <a:gd name="connsiteX115" fmla="*/ 3392548 w 10678681"/>
              <a:gd name="connsiteY115" fmla="*/ 1278741 h 1357700"/>
              <a:gd name="connsiteX116" fmla="*/ 3337466 w 10678681"/>
              <a:gd name="connsiteY116" fmla="*/ 1272537 h 1357700"/>
              <a:gd name="connsiteX117" fmla="*/ 3187206 w 10678681"/>
              <a:gd name="connsiteY117" fmla="*/ 1246821 h 1357700"/>
              <a:gd name="connsiteX118" fmla="*/ 3036856 w 10678681"/>
              <a:gd name="connsiteY118" fmla="*/ 1214383 h 1357700"/>
              <a:gd name="connsiteX119" fmla="*/ 2948654 w 10678681"/>
              <a:gd name="connsiteY119" fmla="*/ 1157455 h 1357700"/>
              <a:gd name="connsiteX120" fmla="*/ 2824973 w 10678681"/>
              <a:gd name="connsiteY120" fmla="*/ 1134864 h 1357700"/>
              <a:gd name="connsiteX121" fmla="*/ 2804398 w 10678681"/>
              <a:gd name="connsiteY121" fmla="*/ 1125556 h 1357700"/>
              <a:gd name="connsiteX122" fmla="*/ 2775396 w 10678681"/>
              <a:gd name="connsiteY122" fmla="*/ 1130148 h 1357700"/>
              <a:gd name="connsiteX123" fmla="*/ 2659096 w 10678681"/>
              <a:gd name="connsiteY123" fmla="*/ 1150294 h 1357700"/>
              <a:gd name="connsiteX124" fmla="*/ 2567088 w 10678681"/>
              <a:gd name="connsiteY124" fmla="*/ 1181781 h 1357700"/>
              <a:gd name="connsiteX125" fmla="*/ 2454501 w 10678681"/>
              <a:gd name="connsiteY125" fmla="*/ 1155455 h 1357700"/>
              <a:gd name="connsiteX126" fmla="*/ 2385161 w 10678681"/>
              <a:gd name="connsiteY126" fmla="*/ 1161312 h 1357700"/>
              <a:gd name="connsiteX127" fmla="*/ 2270528 w 10678681"/>
              <a:gd name="connsiteY127" fmla="*/ 1204338 h 1357700"/>
              <a:gd name="connsiteX128" fmla="*/ 2121820 w 10678681"/>
              <a:gd name="connsiteY128" fmla="*/ 1187078 h 1357700"/>
              <a:gd name="connsiteX129" fmla="*/ 2092716 w 10678681"/>
              <a:gd name="connsiteY129" fmla="*/ 1139224 h 1357700"/>
              <a:gd name="connsiteX130" fmla="*/ 2052449 w 10678681"/>
              <a:gd name="connsiteY130" fmla="*/ 1109687 h 1357700"/>
              <a:gd name="connsiteX131" fmla="*/ 2032607 w 10678681"/>
              <a:gd name="connsiteY131" fmla="*/ 1175477 h 1357700"/>
              <a:gd name="connsiteX132" fmla="*/ 1901837 w 10678681"/>
              <a:gd name="connsiteY132" fmla="*/ 1221762 h 1357700"/>
              <a:gd name="connsiteX133" fmla="*/ 1836762 w 10678681"/>
              <a:gd name="connsiteY133" fmla="*/ 1237387 h 1357700"/>
              <a:gd name="connsiteX134" fmla="*/ 1735877 w 10678681"/>
              <a:gd name="connsiteY134" fmla="*/ 1246527 h 1357700"/>
              <a:gd name="connsiteX135" fmla="*/ 1705069 w 10678681"/>
              <a:gd name="connsiteY135" fmla="*/ 1251989 h 1357700"/>
              <a:gd name="connsiteX136" fmla="*/ 1397689 w 10678681"/>
              <a:gd name="connsiteY136" fmla="*/ 1336144 h 1357700"/>
              <a:gd name="connsiteX137" fmla="*/ 1220734 w 10678681"/>
              <a:gd name="connsiteY137" fmla="*/ 1257811 h 1357700"/>
              <a:gd name="connsiteX138" fmla="*/ 1021737 w 10678681"/>
              <a:gd name="connsiteY138" fmla="*/ 1238739 h 1357700"/>
              <a:gd name="connsiteX139" fmla="*/ 959820 w 10678681"/>
              <a:gd name="connsiteY139" fmla="*/ 1275863 h 1357700"/>
              <a:gd name="connsiteX140" fmla="*/ 929137 w 10678681"/>
              <a:gd name="connsiteY140" fmla="*/ 1273957 h 1357700"/>
              <a:gd name="connsiteX141" fmla="*/ 878849 w 10678681"/>
              <a:gd name="connsiteY141" fmla="*/ 1266740 h 1357700"/>
              <a:gd name="connsiteX142" fmla="*/ 800667 w 10678681"/>
              <a:gd name="connsiteY142" fmla="*/ 1282041 h 1357700"/>
              <a:gd name="connsiteX143" fmla="*/ 644906 w 10678681"/>
              <a:gd name="connsiteY143" fmla="*/ 1273685 h 1357700"/>
              <a:gd name="connsiteX144" fmla="*/ 379869 w 10678681"/>
              <a:gd name="connsiteY144" fmla="*/ 1339165 h 1357700"/>
              <a:gd name="connsiteX145" fmla="*/ 137696 w 10678681"/>
              <a:gd name="connsiteY145" fmla="*/ 1319217 h 1357700"/>
              <a:gd name="connsiteX146" fmla="*/ 54250 w 10678681"/>
              <a:gd name="connsiteY146" fmla="*/ 1315838 h 1357700"/>
              <a:gd name="connsiteX147" fmla="*/ 28042 w 10678681"/>
              <a:gd name="connsiteY147" fmla="*/ 1297822 h 1357700"/>
              <a:gd name="connsiteX148" fmla="*/ 0 w 10678681"/>
              <a:gd name="connsiteY148" fmla="*/ 1294612 h 1357700"/>
              <a:gd name="connsiteX149" fmla="*/ 0 w 10678681"/>
              <a:gd name="connsiteY149"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98313 w 10678681"/>
              <a:gd name="connsiteY65" fmla="*/ 1063249 h 1357700"/>
              <a:gd name="connsiteX66" fmla="*/ 6550218 w 10678681"/>
              <a:gd name="connsiteY66" fmla="*/ 1026825 h 1357700"/>
              <a:gd name="connsiteX67" fmla="*/ 6437450 w 10678681"/>
              <a:gd name="connsiteY67" fmla="*/ 1101075 h 1357700"/>
              <a:gd name="connsiteX68" fmla="*/ 6327795 w 10678681"/>
              <a:gd name="connsiteY68" fmla="*/ 1088142 h 1357700"/>
              <a:gd name="connsiteX69" fmla="*/ 6136549 w 10678681"/>
              <a:gd name="connsiteY69" fmla="*/ 1100268 h 1357700"/>
              <a:gd name="connsiteX70" fmla="*/ 6004655 w 10678681"/>
              <a:gd name="connsiteY70" fmla="*/ 1114946 h 1357700"/>
              <a:gd name="connsiteX71" fmla="*/ 5936643 w 10678681"/>
              <a:gd name="connsiteY71" fmla="*/ 1095428 h 1357700"/>
              <a:gd name="connsiteX72" fmla="*/ 5912484 w 10678681"/>
              <a:gd name="connsiteY72" fmla="*/ 1112624 h 1357700"/>
              <a:gd name="connsiteX73" fmla="*/ 5908387 w 10678681"/>
              <a:gd name="connsiteY73" fmla="*/ 1116018 h 1357700"/>
              <a:gd name="connsiteX74" fmla="*/ 5890495 w 10678681"/>
              <a:gd name="connsiteY74" fmla="*/ 1120268 h 1357700"/>
              <a:gd name="connsiteX75" fmla="*/ 5887318 w 10678681"/>
              <a:gd name="connsiteY75" fmla="*/ 1133134 h 1357700"/>
              <a:gd name="connsiteX76" fmla="*/ 5861726 w 10678681"/>
              <a:gd name="connsiteY76" fmla="*/ 1147891 h 1357700"/>
              <a:gd name="connsiteX77" fmla="*/ 5805823 w 10678681"/>
              <a:gd name="connsiteY77" fmla="*/ 1152457 h 1357700"/>
              <a:gd name="connsiteX78" fmla="*/ 5689841 w 10678681"/>
              <a:gd name="connsiteY78" fmla="*/ 1176232 h 1357700"/>
              <a:gd name="connsiteX79" fmla="*/ 5605119 w 10678681"/>
              <a:gd name="connsiteY79" fmla="*/ 1190202 h 1357700"/>
              <a:gd name="connsiteX80" fmla="*/ 5488513 w 10678681"/>
              <a:gd name="connsiteY80" fmla="*/ 1205367 h 1357700"/>
              <a:gd name="connsiteX81" fmla="*/ 5402905 w 10678681"/>
              <a:gd name="connsiteY81" fmla="*/ 1241191 h 1357700"/>
              <a:gd name="connsiteX82" fmla="*/ 5285593 w 10678681"/>
              <a:gd name="connsiteY82" fmla="*/ 1273569 h 1357700"/>
              <a:gd name="connsiteX83" fmla="*/ 5192893 w 10678681"/>
              <a:gd name="connsiteY83" fmla="*/ 1247188 h 1357700"/>
              <a:gd name="connsiteX84" fmla="*/ 5186475 w 10678681"/>
              <a:gd name="connsiteY84" fmla="*/ 1257028 h 1357700"/>
              <a:gd name="connsiteX85" fmla="*/ 5126038 w 10678681"/>
              <a:gd name="connsiteY85" fmla="*/ 1263189 h 1357700"/>
              <a:gd name="connsiteX86" fmla="*/ 4905913 w 10678681"/>
              <a:gd name="connsiteY86" fmla="*/ 1224477 h 1357700"/>
              <a:gd name="connsiteX87" fmla="*/ 4788036 w 10678681"/>
              <a:gd name="connsiteY87" fmla="*/ 1238182 h 1357700"/>
              <a:gd name="connsiteX88" fmla="*/ 4747555 w 10678681"/>
              <a:gd name="connsiteY88" fmla="*/ 1252768 h 1357700"/>
              <a:gd name="connsiteX89" fmla="*/ 4679644 w 10678681"/>
              <a:gd name="connsiteY89" fmla="*/ 1276603 h 1357700"/>
              <a:gd name="connsiteX90" fmla="*/ 4632222 w 10678681"/>
              <a:gd name="connsiteY90" fmla="*/ 1318360 h 1357700"/>
              <a:gd name="connsiteX91" fmla="*/ 4617358 w 10678681"/>
              <a:gd name="connsiteY91" fmla="*/ 1327690 h 1357700"/>
              <a:gd name="connsiteX92" fmla="*/ 4589102 w 10678681"/>
              <a:gd name="connsiteY92" fmla="*/ 1321223 h 1357700"/>
              <a:gd name="connsiteX93" fmla="*/ 4578184 w 10678681"/>
              <a:gd name="connsiteY93" fmla="*/ 1326745 h 1357700"/>
              <a:gd name="connsiteX94" fmla="*/ 4574270 w 10678681"/>
              <a:gd name="connsiteY94" fmla="*/ 1325878 h 1357700"/>
              <a:gd name="connsiteX95" fmla="*/ 4564919 w 10678681"/>
              <a:gd name="connsiteY95" fmla="*/ 1325507 h 1357700"/>
              <a:gd name="connsiteX96" fmla="*/ 4566586 w 10678681"/>
              <a:gd name="connsiteY96" fmla="*/ 1316963 h 1357700"/>
              <a:gd name="connsiteX97" fmla="*/ 4556303 w 10678681"/>
              <a:gd name="connsiteY97" fmla="*/ 1300262 h 1357700"/>
              <a:gd name="connsiteX98" fmla="*/ 4502358 w 10678681"/>
              <a:gd name="connsiteY98" fmla="*/ 1302558 h 1357700"/>
              <a:gd name="connsiteX99" fmla="*/ 4498919 w 10678681"/>
              <a:gd name="connsiteY99" fmla="*/ 1312115 h 1357700"/>
              <a:gd name="connsiteX100" fmla="*/ 4492075 w 10678681"/>
              <a:gd name="connsiteY100" fmla="*/ 1313357 h 1357700"/>
              <a:gd name="connsiteX101" fmla="*/ 4487466 w 10678681"/>
              <a:gd name="connsiteY101" fmla="*/ 1304102 h 1357700"/>
              <a:gd name="connsiteX102" fmla="*/ 4398292 w 10678681"/>
              <a:gd name="connsiteY102" fmla="*/ 1278410 h 1357700"/>
              <a:gd name="connsiteX103" fmla="*/ 4278026 w 10678681"/>
              <a:gd name="connsiteY103" fmla="*/ 1259803 h 1357700"/>
              <a:gd name="connsiteX104" fmla="*/ 4188995 w 10678681"/>
              <a:gd name="connsiteY104" fmla="*/ 1296718 h 1357700"/>
              <a:gd name="connsiteX105" fmla="*/ 4181483 w 10678681"/>
              <a:gd name="connsiteY105" fmla="*/ 1287686 h 1357700"/>
              <a:gd name="connsiteX106" fmla="*/ 4120739 w 10678681"/>
              <a:gd name="connsiteY106" fmla="*/ 1288549 h 1357700"/>
              <a:gd name="connsiteX107" fmla="*/ 3906561 w 10678681"/>
              <a:gd name="connsiteY107" fmla="*/ 1352435 h 1357700"/>
              <a:gd name="connsiteX108" fmla="*/ 3787890 w 10678681"/>
              <a:gd name="connsiteY108" fmla="*/ 1352442 h 1357700"/>
              <a:gd name="connsiteX109" fmla="*/ 3745993 w 10678681"/>
              <a:gd name="connsiteY109" fmla="*/ 1342630 h 1357700"/>
              <a:gd name="connsiteX110" fmla="*/ 3675785 w 10678681"/>
              <a:gd name="connsiteY110" fmla="*/ 1326802 h 1357700"/>
              <a:gd name="connsiteX111" fmla="*/ 3623856 w 10678681"/>
              <a:gd name="connsiteY111" fmla="*/ 1290804 h 1357700"/>
              <a:gd name="connsiteX112" fmla="*/ 3564933 w 10678681"/>
              <a:gd name="connsiteY112" fmla="*/ 1287147 h 1357700"/>
              <a:gd name="connsiteX113" fmla="*/ 3550537 w 10678681"/>
              <a:gd name="connsiteY113" fmla="*/ 1317552 h 1357700"/>
              <a:gd name="connsiteX114" fmla="*/ 3487736 w 10678681"/>
              <a:gd name="connsiteY114" fmla="*/ 1303493 h 1357700"/>
              <a:gd name="connsiteX115" fmla="*/ 3392548 w 10678681"/>
              <a:gd name="connsiteY115" fmla="*/ 1278741 h 1357700"/>
              <a:gd name="connsiteX116" fmla="*/ 3337466 w 10678681"/>
              <a:gd name="connsiteY116" fmla="*/ 1272537 h 1357700"/>
              <a:gd name="connsiteX117" fmla="*/ 3187206 w 10678681"/>
              <a:gd name="connsiteY117" fmla="*/ 1246821 h 1357700"/>
              <a:gd name="connsiteX118" fmla="*/ 3036856 w 10678681"/>
              <a:gd name="connsiteY118" fmla="*/ 1214383 h 1357700"/>
              <a:gd name="connsiteX119" fmla="*/ 2948654 w 10678681"/>
              <a:gd name="connsiteY119" fmla="*/ 1157455 h 1357700"/>
              <a:gd name="connsiteX120" fmla="*/ 2824973 w 10678681"/>
              <a:gd name="connsiteY120" fmla="*/ 1134864 h 1357700"/>
              <a:gd name="connsiteX121" fmla="*/ 2804398 w 10678681"/>
              <a:gd name="connsiteY121" fmla="*/ 1125556 h 1357700"/>
              <a:gd name="connsiteX122" fmla="*/ 2775396 w 10678681"/>
              <a:gd name="connsiteY122" fmla="*/ 1130148 h 1357700"/>
              <a:gd name="connsiteX123" fmla="*/ 2659096 w 10678681"/>
              <a:gd name="connsiteY123" fmla="*/ 1150294 h 1357700"/>
              <a:gd name="connsiteX124" fmla="*/ 2567088 w 10678681"/>
              <a:gd name="connsiteY124" fmla="*/ 1181781 h 1357700"/>
              <a:gd name="connsiteX125" fmla="*/ 2454501 w 10678681"/>
              <a:gd name="connsiteY125" fmla="*/ 1155455 h 1357700"/>
              <a:gd name="connsiteX126" fmla="*/ 2385161 w 10678681"/>
              <a:gd name="connsiteY126" fmla="*/ 1161312 h 1357700"/>
              <a:gd name="connsiteX127" fmla="*/ 2270528 w 10678681"/>
              <a:gd name="connsiteY127" fmla="*/ 1204338 h 1357700"/>
              <a:gd name="connsiteX128" fmla="*/ 2121820 w 10678681"/>
              <a:gd name="connsiteY128" fmla="*/ 1187078 h 1357700"/>
              <a:gd name="connsiteX129" fmla="*/ 2092716 w 10678681"/>
              <a:gd name="connsiteY129" fmla="*/ 1139224 h 1357700"/>
              <a:gd name="connsiteX130" fmla="*/ 2052449 w 10678681"/>
              <a:gd name="connsiteY130" fmla="*/ 1109687 h 1357700"/>
              <a:gd name="connsiteX131" fmla="*/ 2032607 w 10678681"/>
              <a:gd name="connsiteY131" fmla="*/ 1175477 h 1357700"/>
              <a:gd name="connsiteX132" fmla="*/ 1901837 w 10678681"/>
              <a:gd name="connsiteY132" fmla="*/ 1221762 h 1357700"/>
              <a:gd name="connsiteX133" fmla="*/ 1836762 w 10678681"/>
              <a:gd name="connsiteY133" fmla="*/ 1237387 h 1357700"/>
              <a:gd name="connsiteX134" fmla="*/ 1735877 w 10678681"/>
              <a:gd name="connsiteY134" fmla="*/ 1246527 h 1357700"/>
              <a:gd name="connsiteX135" fmla="*/ 1705069 w 10678681"/>
              <a:gd name="connsiteY135" fmla="*/ 1251989 h 1357700"/>
              <a:gd name="connsiteX136" fmla="*/ 1397689 w 10678681"/>
              <a:gd name="connsiteY136" fmla="*/ 1336144 h 1357700"/>
              <a:gd name="connsiteX137" fmla="*/ 1220734 w 10678681"/>
              <a:gd name="connsiteY137" fmla="*/ 1257811 h 1357700"/>
              <a:gd name="connsiteX138" fmla="*/ 1021737 w 10678681"/>
              <a:gd name="connsiteY138" fmla="*/ 1238739 h 1357700"/>
              <a:gd name="connsiteX139" fmla="*/ 959820 w 10678681"/>
              <a:gd name="connsiteY139" fmla="*/ 1275863 h 1357700"/>
              <a:gd name="connsiteX140" fmla="*/ 929137 w 10678681"/>
              <a:gd name="connsiteY140" fmla="*/ 1273957 h 1357700"/>
              <a:gd name="connsiteX141" fmla="*/ 878849 w 10678681"/>
              <a:gd name="connsiteY141" fmla="*/ 1266740 h 1357700"/>
              <a:gd name="connsiteX142" fmla="*/ 800667 w 10678681"/>
              <a:gd name="connsiteY142" fmla="*/ 1282041 h 1357700"/>
              <a:gd name="connsiteX143" fmla="*/ 644906 w 10678681"/>
              <a:gd name="connsiteY143" fmla="*/ 1273685 h 1357700"/>
              <a:gd name="connsiteX144" fmla="*/ 379869 w 10678681"/>
              <a:gd name="connsiteY144" fmla="*/ 1339165 h 1357700"/>
              <a:gd name="connsiteX145" fmla="*/ 137696 w 10678681"/>
              <a:gd name="connsiteY145" fmla="*/ 1319217 h 1357700"/>
              <a:gd name="connsiteX146" fmla="*/ 54250 w 10678681"/>
              <a:gd name="connsiteY146" fmla="*/ 1315838 h 1357700"/>
              <a:gd name="connsiteX147" fmla="*/ 28042 w 10678681"/>
              <a:gd name="connsiteY147" fmla="*/ 1297822 h 1357700"/>
              <a:gd name="connsiteX148" fmla="*/ 0 w 10678681"/>
              <a:gd name="connsiteY148" fmla="*/ 1294612 h 1357700"/>
              <a:gd name="connsiteX149" fmla="*/ 0 w 10678681"/>
              <a:gd name="connsiteY149"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98313 w 10678681"/>
              <a:gd name="connsiteY65" fmla="*/ 1063249 h 1357700"/>
              <a:gd name="connsiteX66" fmla="*/ 6550218 w 10678681"/>
              <a:gd name="connsiteY66" fmla="*/ 1026825 h 1357700"/>
              <a:gd name="connsiteX67" fmla="*/ 6437450 w 10678681"/>
              <a:gd name="connsiteY67" fmla="*/ 1101075 h 1357700"/>
              <a:gd name="connsiteX68" fmla="*/ 6327795 w 10678681"/>
              <a:gd name="connsiteY68" fmla="*/ 1088142 h 1357700"/>
              <a:gd name="connsiteX69" fmla="*/ 6136549 w 10678681"/>
              <a:gd name="connsiteY69" fmla="*/ 1100268 h 1357700"/>
              <a:gd name="connsiteX70" fmla="*/ 6004655 w 10678681"/>
              <a:gd name="connsiteY70" fmla="*/ 1114946 h 1357700"/>
              <a:gd name="connsiteX71" fmla="*/ 5936643 w 10678681"/>
              <a:gd name="connsiteY71" fmla="*/ 1095428 h 1357700"/>
              <a:gd name="connsiteX72" fmla="*/ 5912484 w 10678681"/>
              <a:gd name="connsiteY72" fmla="*/ 1112624 h 1357700"/>
              <a:gd name="connsiteX73" fmla="*/ 5908387 w 10678681"/>
              <a:gd name="connsiteY73" fmla="*/ 1116018 h 1357700"/>
              <a:gd name="connsiteX74" fmla="*/ 5890495 w 10678681"/>
              <a:gd name="connsiteY74" fmla="*/ 1120268 h 1357700"/>
              <a:gd name="connsiteX75" fmla="*/ 5887318 w 10678681"/>
              <a:gd name="connsiteY75" fmla="*/ 1133134 h 1357700"/>
              <a:gd name="connsiteX76" fmla="*/ 5861726 w 10678681"/>
              <a:gd name="connsiteY76" fmla="*/ 1147891 h 1357700"/>
              <a:gd name="connsiteX77" fmla="*/ 5805823 w 10678681"/>
              <a:gd name="connsiteY77" fmla="*/ 1152457 h 1357700"/>
              <a:gd name="connsiteX78" fmla="*/ 5689841 w 10678681"/>
              <a:gd name="connsiteY78" fmla="*/ 1176232 h 1357700"/>
              <a:gd name="connsiteX79" fmla="*/ 5605119 w 10678681"/>
              <a:gd name="connsiteY79" fmla="*/ 1190202 h 1357700"/>
              <a:gd name="connsiteX80" fmla="*/ 5488513 w 10678681"/>
              <a:gd name="connsiteY80" fmla="*/ 1205367 h 1357700"/>
              <a:gd name="connsiteX81" fmla="*/ 5402905 w 10678681"/>
              <a:gd name="connsiteY81" fmla="*/ 1241191 h 1357700"/>
              <a:gd name="connsiteX82" fmla="*/ 5285593 w 10678681"/>
              <a:gd name="connsiteY82" fmla="*/ 1273569 h 1357700"/>
              <a:gd name="connsiteX83" fmla="*/ 5192893 w 10678681"/>
              <a:gd name="connsiteY83" fmla="*/ 1247188 h 1357700"/>
              <a:gd name="connsiteX84" fmla="*/ 5186475 w 10678681"/>
              <a:gd name="connsiteY84" fmla="*/ 1257028 h 1357700"/>
              <a:gd name="connsiteX85" fmla="*/ 5126038 w 10678681"/>
              <a:gd name="connsiteY85" fmla="*/ 1263189 h 1357700"/>
              <a:gd name="connsiteX86" fmla="*/ 4894688 w 10678681"/>
              <a:gd name="connsiteY86" fmla="*/ 1247184 h 1357700"/>
              <a:gd name="connsiteX87" fmla="*/ 4788036 w 10678681"/>
              <a:gd name="connsiteY87" fmla="*/ 1238182 h 1357700"/>
              <a:gd name="connsiteX88" fmla="*/ 4747555 w 10678681"/>
              <a:gd name="connsiteY88" fmla="*/ 1252768 h 1357700"/>
              <a:gd name="connsiteX89" fmla="*/ 4679644 w 10678681"/>
              <a:gd name="connsiteY89" fmla="*/ 1276603 h 1357700"/>
              <a:gd name="connsiteX90" fmla="*/ 4632222 w 10678681"/>
              <a:gd name="connsiteY90" fmla="*/ 1318360 h 1357700"/>
              <a:gd name="connsiteX91" fmla="*/ 4617358 w 10678681"/>
              <a:gd name="connsiteY91" fmla="*/ 1327690 h 1357700"/>
              <a:gd name="connsiteX92" fmla="*/ 4589102 w 10678681"/>
              <a:gd name="connsiteY92" fmla="*/ 1321223 h 1357700"/>
              <a:gd name="connsiteX93" fmla="*/ 4578184 w 10678681"/>
              <a:gd name="connsiteY93" fmla="*/ 1326745 h 1357700"/>
              <a:gd name="connsiteX94" fmla="*/ 4574270 w 10678681"/>
              <a:gd name="connsiteY94" fmla="*/ 1325878 h 1357700"/>
              <a:gd name="connsiteX95" fmla="*/ 4564919 w 10678681"/>
              <a:gd name="connsiteY95" fmla="*/ 1325507 h 1357700"/>
              <a:gd name="connsiteX96" fmla="*/ 4566586 w 10678681"/>
              <a:gd name="connsiteY96" fmla="*/ 1316963 h 1357700"/>
              <a:gd name="connsiteX97" fmla="*/ 4556303 w 10678681"/>
              <a:gd name="connsiteY97" fmla="*/ 1300262 h 1357700"/>
              <a:gd name="connsiteX98" fmla="*/ 4502358 w 10678681"/>
              <a:gd name="connsiteY98" fmla="*/ 1302558 h 1357700"/>
              <a:gd name="connsiteX99" fmla="*/ 4498919 w 10678681"/>
              <a:gd name="connsiteY99" fmla="*/ 1312115 h 1357700"/>
              <a:gd name="connsiteX100" fmla="*/ 4492075 w 10678681"/>
              <a:gd name="connsiteY100" fmla="*/ 1313357 h 1357700"/>
              <a:gd name="connsiteX101" fmla="*/ 4487466 w 10678681"/>
              <a:gd name="connsiteY101" fmla="*/ 1304102 h 1357700"/>
              <a:gd name="connsiteX102" fmla="*/ 4398292 w 10678681"/>
              <a:gd name="connsiteY102" fmla="*/ 1278410 h 1357700"/>
              <a:gd name="connsiteX103" fmla="*/ 4278026 w 10678681"/>
              <a:gd name="connsiteY103" fmla="*/ 1259803 h 1357700"/>
              <a:gd name="connsiteX104" fmla="*/ 4188995 w 10678681"/>
              <a:gd name="connsiteY104" fmla="*/ 1296718 h 1357700"/>
              <a:gd name="connsiteX105" fmla="*/ 4181483 w 10678681"/>
              <a:gd name="connsiteY105" fmla="*/ 1287686 h 1357700"/>
              <a:gd name="connsiteX106" fmla="*/ 4120739 w 10678681"/>
              <a:gd name="connsiteY106" fmla="*/ 1288549 h 1357700"/>
              <a:gd name="connsiteX107" fmla="*/ 3906561 w 10678681"/>
              <a:gd name="connsiteY107" fmla="*/ 1352435 h 1357700"/>
              <a:gd name="connsiteX108" fmla="*/ 3787890 w 10678681"/>
              <a:gd name="connsiteY108" fmla="*/ 1352442 h 1357700"/>
              <a:gd name="connsiteX109" fmla="*/ 3745993 w 10678681"/>
              <a:gd name="connsiteY109" fmla="*/ 1342630 h 1357700"/>
              <a:gd name="connsiteX110" fmla="*/ 3675785 w 10678681"/>
              <a:gd name="connsiteY110" fmla="*/ 1326802 h 1357700"/>
              <a:gd name="connsiteX111" fmla="*/ 3623856 w 10678681"/>
              <a:gd name="connsiteY111" fmla="*/ 1290804 h 1357700"/>
              <a:gd name="connsiteX112" fmla="*/ 3564933 w 10678681"/>
              <a:gd name="connsiteY112" fmla="*/ 1287147 h 1357700"/>
              <a:gd name="connsiteX113" fmla="*/ 3550537 w 10678681"/>
              <a:gd name="connsiteY113" fmla="*/ 1317552 h 1357700"/>
              <a:gd name="connsiteX114" fmla="*/ 3487736 w 10678681"/>
              <a:gd name="connsiteY114" fmla="*/ 1303493 h 1357700"/>
              <a:gd name="connsiteX115" fmla="*/ 3392548 w 10678681"/>
              <a:gd name="connsiteY115" fmla="*/ 1278741 h 1357700"/>
              <a:gd name="connsiteX116" fmla="*/ 3337466 w 10678681"/>
              <a:gd name="connsiteY116" fmla="*/ 1272537 h 1357700"/>
              <a:gd name="connsiteX117" fmla="*/ 3187206 w 10678681"/>
              <a:gd name="connsiteY117" fmla="*/ 1246821 h 1357700"/>
              <a:gd name="connsiteX118" fmla="*/ 3036856 w 10678681"/>
              <a:gd name="connsiteY118" fmla="*/ 1214383 h 1357700"/>
              <a:gd name="connsiteX119" fmla="*/ 2948654 w 10678681"/>
              <a:gd name="connsiteY119" fmla="*/ 1157455 h 1357700"/>
              <a:gd name="connsiteX120" fmla="*/ 2824973 w 10678681"/>
              <a:gd name="connsiteY120" fmla="*/ 1134864 h 1357700"/>
              <a:gd name="connsiteX121" fmla="*/ 2804398 w 10678681"/>
              <a:gd name="connsiteY121" fmla="*/ 1125556 h 1357700"/>
              <a:gd name="connsiteX122" fmla="*/ 2775396 w 10678681"/>
              <a:gd name="connsiteY122" fmla="*/ 1130148 h 1357700"/>
              <a:gd name="connsiteX123" fmla="*/ 2659096 w 10678681"/>
              <a:gd name="connsiteY123" fmla="*/ 1150294 h 1357700"/>
              <a:gd name="connsiteX124" fmla="*/ 2567088 w 10678681"/>
              <a:gd name="connsiteY124" fmla="*/ 1181781 h 1357700"/>
              <a:gd name="connsiteX125" fmla="*/ 2454501 w 10678681"/>
              <a:gd name="connsiteY125" fmla="*/ 1155455 h 1357700"/>
              <a:gd name="connsiteX126" fmla="*/ 2385161 w 10678681"/>
              <a:gd name="connsiteY126" fmla="*/ 1161312 h 1357700"/>
              <a:gd name="connsiteX127" fmla="*/ 2270528 w 10678681"/>
              <a:gd name="connsiteY127" fmla="*/ 1204338 h 1357700"/>
              <a:gd name="connsiteX128" fmla="*/ 2121820 w 10678681"/>
              <a:gd name="connsiteY128" fmla="*/ 1187078 h 1357700"/>
              <a:gd name="connsiteX129" fmla="*/ 2092716 w 10678681"/>
              <a:gd name="connsiteY129" fmla="*/ 1139224 h 1357700"/>
              <a:gd name="connsiteX130" fmla="*/ 2052449 w 10678681"/>
              <a:gd name="connsiteY130" fmla="*/ 1109687 h 1357700"/>
              <a:gd name="connsiteX131" fmla="*/ 2032607 w 10678681"/>
              <a:gd name="connsiteY131" fmla="*/ 1175477 h 1357700"/>
              <a:gd name="connsiteX132" fmla="*/ 1901837 w 10678681"/>
              <a:gd name="connsiteY132" fmla="*/ 1221762 h 1357700"/>
              <a:gd name="connsiteX133" fmla="*/ 1836762 w 10678681"/>
              <a:gd name="connsiteY133" fmla="*/ 1237387 h 1357700"/>
              <a:gd name="connsiteX134" fmla="*/ 1735877 w 10678681"/>
              <a:gd name="connsiteY134" fmla="*/ 1246527 h 1357700"/>
              <a:gd name="connsiteX135" fmla="*/ 1705069 w 10678681"/>
              <a:gd name="connsiteY135" fmla="*/ 1251989 h 1357700"/>
              <a:gd name="connsiteX136" fmla="*/ 1397689 w 10678681"/>
              <a:gd name="connsiteY136" fmla="*/ 1336144 h 1357700"/>
              <a:gd name="connsiteX137" fmla="*/ 1220734 w 10678681"/>
              <a:gd name="connsiteY137" fmla="*/ 1257811 h 1357700"/>
              <a:gd name="connsiteX138" fmla="*/ 1021737 w 10678681"/>
              <a:gd name="connsiteY138" fmla="*/ 1238739 h 1357700"/>
              <a:gd name="connsiteX139" fmla="*/ 959820 w 10678681"/>
              <a:gd name="connsiteY139" fmla="*/ 1275863 h 1357700"/>
              <a:gd name="connsiteX140" fmla="*/ 929137 w 10678681"/>
              <a:gd name="connsiteY140" fmla="*/ 1273957 h 1357700"/>
              <a:gd name="connsiteX141" fmla="*/ 878849 w 10678681"/>
              <a:gd name="connsiteY141" fmla="*/ 1266740 h 1357700"/>
              <a:gd name="connsiteX142" fmla="*/ 800667 w 10678681"/>
              <a:gd name="connsiteY142" fmla="*/ 1282041 h 1357700"/>
              <a:gd name="connsiteX143" fmla="*/ 644906 w 10678681"/>
              <a:gd name="connsiteY143" fmla="*/ 1273685 h 1357700"/>
              <a:gd name="connsiteX144" fmla="*/ 379869 w 10678681"/>
              <a:gd name="connsiteY144" fmla="*/ 1339165 h 1357700"/>
              <a:gd name="connsiteX145" fmla="*/ 137696 w 10678681"/>
              <a:gd name="connsiteY145" fmla="*/ 1319217 h 1357700"/>
              <a:gd name="connsiteX146" fmla="*/ 54250 w 10678681"/>
              <a:gd name="connsiteY146" fmla="*/ 1315838 h 1357700"/>
              <a:gd name="connsiteX147" fmla="*/ 28042 w 10678681"/>
              <a:gd name="connsiteY147" fmla="*/ 1297822 h 1357700"/>
              <a:gd name="connsiteX148" fmla="*/ 0 w 10678681"/>
              <a:gd name="connsiteY148" fmla="*/ 1294612 h 1357700"/>
              <a:gd name="connsiteX149" fmla="*/ 0 w 10678681"/>
              <a:gd name="connsiteY149"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98313 w 10678681"/>
              <a:gd name="connsiteY65" fmla="*/ 1063249 h 1357700"/>
              <a:gd name="connsiteX66" fmla="*/ 6550218 w 10678681"/>
              <a:gd name="connsiteY66" fmla="*/ 1026825 h 1357700"/>
              <a:gd name="connsiteX67" fmla="*/ 6437450 w 10678681"/>
              <a:gd name="connsiteY67" fmla="*/ 1101075 h 1357700"/>
              <a:gd name="connsiteX68" fmla="*/ 6327795 w 10678681"/>
              <a:gd name="connsiteY68" fmla="*/ 1088142 h 1357700"/>
              <a:gd name="connsiteX69" fmla="*/ 6136549 w 10678681"/>
              <a:gd name="connsiteY69" fmla="*/ 1100268 h 1357700"/>
              <a:gd name="connsiteX70" fmla="*/ 6004655 w 10678681"/>
              <a:gd name="connsiteY70" fmla="*/ 1114946 h 1357700"/>
              <a:gd name="connsiteX71" fmla="*/ 5936643 w 10678681"/>
              <a:gd name="connsiteY71" fmla="*/ 1095428 h 1357700"/>
              <a:gd name="connsiteX72" fmla="*/ 5912484 w 10678681"/>
              <a:gd name="connsiteY72" fmla="*/ 1112624 h 1357700"/>
              <a:gd name="connsiteX73" fmla="*/ 5908387 w 10678681"/>
              <a:gd name="connsiteY73" fmla="*/ 1116018 h 1357700"/>
              <a:gd name="connsiteX74" fmla="*/ 5890495 w 10678681"/>
              <a:gd name="connsiteY74" fmla="*/ 1120268 h 1357700"/>
              <a:gd name="connsiteX75" fmla="*/ 5887318 w 10678681"/>
              <a:gd name="connsiteY75" fmla="*/ 1133134 h 1357700"/>
              <a:gd name="connsiteX76" fmla="*/ 5861726 w 10678681"/>
              <a:gd name="connsiteY76" fmla="*/ 1147891 h 1357700"/>
              <a:gd name="connsiteX77" fmla="*/ 5805823 w 10678681"/>
              <a:gd name="connsiteY77" fmla="*/ 1152457 h 1357700"/>
              <a:gd name="connsiteX78" fmla="*/ 5689841 w 10678681"/>
              <a:gd name="connsiteY78" fmla="*/ 1176232 h 1357700"/>
              <a:gd name="connsiteX79" fmla="*/ 5605119 w 10678681"/>
              <a:gd name="connsiteY79" fmla="*/ 1190202 h 1357700"/>
              <a:gd name="connsiteX80" fmla="*/ 5488513 w 10678681"/>
              <a:gd name="connsiteY80" fmla="*/ 1205367 h 1357700"/>
              <a:gd name="connsiteX81" fmla="*/ 5402905 w 10678681"/>
              <a:gd name="connsiteY81" fmla="*/ 1241191 h 1357700"/>
              <a:gd name="connsiteX82" fmla="*/ 5285593 w 10678681"/>
              <a:gd name="connsiteY82" fmla="*/ 1273569 h 1357700"/>
              <a:gd name="connsiteX83" fmla="*/ 5192893 w 10678681"/>
              <a:gd name="connsiteY83" fmla="*/ 1247188 h 1357700"/>
              <a:gd name="connsiteX84" fmla="*/ 5186475 w 10678681"/>
              <a:gd name="connsiteY84" fmla="*/ 1257028 h 1357700"/>
              <a:gd name="connsiteX85" fmla="*/ 5126038 w 10678681"/>
              <a:gd name="connsiteY85" fmla="*/ 1263189 h 1357700"/>
              <a:gd name="connsiteX86" fmla="*/ 4894688 w 10678681"/>
              <a:gd name="connsiteY86" fmla="*/ 1247184 h 1357700"/>
              <a:gd name="connsiteX87" fmla="*/ 4788036 w 10678681"/>
              <a:gd name="connsiteY87" fmla="*/ 1238182 h 1357700"/>
              <a:gd name="connsiteX88" fmla="*/ 4747555 w 10678681"/>
              <a:gd name="connsiteY88" fmla="*/ 1252768 h 1357700"/>
              <a:gd name="connsiteX89" fmla="*/ 4679644 w 10678681"/>
              <a:gd name="connsiteY89" fmla="*/ 1276603 h 1357700"/>
              <a:gd name="connsiteX90" fmla="*/ 4632222 w 10678681"/>
              <a:gd name="connsiteY90" fmla="*/ 1318360 h 1357700"/>
              <a:gd name="connsiteX91" fmla="*/ 4617358 w 10678681"/>
              <a:gd name="connsiteY91" fmla="*/ 1327690 h 1357700"/>
              <a:gd name="connsiteX92" fmla="*/ 4589102 w 10678681"/>
              <a:gd name="connsiteY92" fmla="*/ 1321223 h 1357700"/>
              <a:gd name="connsiteX93" fmla="*/ 4578184 w 10678681"/>
              <a:gd name="connsiteY93" fmla="*/ 1326745 h 1357700"/>
              <a:gd name="connsiteX94" fmla="*/ 4574270 w 10678681"/>
              <a:gd name="connsiteY94" fmla="*/ 1325878 h 1357700"/>
              <a:gd name="connsiteX95" fmla="*/ 4564919 w 10678681"/>
              <a:gd name="connsiteY95" fmla="*/ 1325507 h 1357700"/>
              <a:gd name="connsiteX96" fmla="*/ 4566586 w 10678681"/>
              <a:gd name="connsiteY96" fmla="*/ 1316963 h 1357700"/>
              <a:gd name="connsiteX97" fmla="*/ 4556303 w 10678681"/>
              <a:gd name="connsiteY97" fmla="*/ 1300262 h 1357700"/>
              <a:gd name="connsiteX98" fmla="*/ 4502358 w 10678681"/>
              <a:gd name="connsiteY98" fmla="*/ 1302558 h 1357700"/>
              <a:gd name="connsiteX99" fmla="*/ 4498919 w 10678681"/>
              <a:gd name="connsiteY99" fmla="*/ 1312115 h 1357700"/>
              <a:gd name="connsiteX100" fmla="*/ 4492075 w 10678681"/>
              <a:gd name="connsiteY100" fmla="*/ 1313357 h 1357700"/>
              <a:gd name="connsiteX101" fmla="*/ 4487466 w 10678681"/>
              <a:gd name="connsiteY101" fmla="*/ 1304102 h 1357700"/>
              <a:gd name="connsiteX102" fmla="*/ 4398292 w 10678681"/>
              <a:gd name="connsiteY102" fmla="*/ 1278410 h 1357700"/>
              <a:gd name="connsiteX103" fmla="*/ 4306088 w 10678681"/>
              <a:gd name="connsiteY103" fmla="*/ 1282512 h 1357700"/>
              <a:gd name="connsiteX104" fmla="*/ 4188995 w 10678681"/>
              <a:gd name="connsiteY104" fmla="*/ 1296718 h 1357700"/>
              <a:gd name="connsiteX105" fmla="*/ 4181483 w 10678681"/>
              <a:gd name="connsiteY105" fmla="*/ 1287686 h 1357700"/>
              <a:gd name="connsiteX106" fmla="*/ 4120739 w 10678681"/>
              <a:gd name="connsiteY106" fmla="*/ 1288549 h 1357700"/>
              <a:gd name="connsiteX107" fmla="*/ 3906561 w 10678681"/>
              <a:gd name="connsiteY107" fmla="*/ 1352435 h 1357700"/>
              <a:gd name="connsiteX108" fmla="*/ 3787890 w 10678681"/>
              <a:gd name="connsiteY108" fmla="*/ 1352442 h 1357700"/>
              <a:gd name="connsiteX109" fmla="*/ 3745993 w 10678681"/>
              <a:gd name="connsiteY109" fmla="*/ 1342630 h 1357700"/>
              <a:gd name="connsiteX110" fmla="*/ 3675785 w 10678681"/>
              <a:gd name="connsiteY110" fmla="*/ 1326802 h 1357700"/>
              <a:gd name="connsiteX111" fmla="*/ 3623856 w 10678681"/>
              <a:gd name="connsiteY111" fmla="*/ 1290804 h 1357700"/>
              <a:gd name="connsiteX112" fmla="*/ 3564933 w 10678681"/>
              <a:gd name="connsiteY112" fmla="*/ 1287147 h 1357700"/>
              <a:gd name="connsiteX113" fmla="*/ 3550537 w 10678681"/>
              <a:gd name="connsiteY113" fmla="*/ 1317552 h 1357700"/>
              <a:gd name="connsiteX114" fmla="*/ 3487736 w 10678681"/>
              <a:gd name="connsiteY114" fmla="*/ 1303493 h 1357700"/>
              <a:gd name="connsiteX115" fmla="*/ 3392548 w 10678681"/>
              <a:gd name="connsiteY115" fmla="*/ 1278741 h 1357700"/>
              <a:gd name="connsiteX116" fmla="*/ 3337466 w 10678681"/>
              <a:gd name="connsiteY116" fmla="*/ 1272537 h 1357700"/>
              <a:gd name="connsiteX117" fmla="*/ 3187206 w 10678681"/>
              <a:gd name="connsiteY117" fmla="*/ 1246821 h 1357700"/>
              <a:gd name="connsiteX118" fmla="*/ 3036856 w 10678681"/>
              <a:gd name="connsiteY118" fmla="*/ 1214383 h 1357700"/>
              <a:gd name="connsiteX119" fmla="*/ 2948654 w 10678681"/>
              <a:gd name="connsiteY119" fmla="*/ 1157455 h 1357700"/>
              <a:gd name="connsiteX120" fmla="*/ 2824973 w 10678681"/>
              <a:gd name="connsiteY120" fmla="*/ 1134864 h 1357700"/>
              <a:gd name="connsiteX121" fmla="*/ 2804398 w 10678681"/>
              <a:gd name="connsiteY121" fmla="*/ 1125556 h 1357700"/>
              <a:gd name="connsiteX122" fmla="*/ 2775396 w 10678681"/>
              <a:gd name="connsiteY122" fmla="*/ 1130148 h 1357700"/>
              <a:gd name="connsiteX123" fmla="*/ 2659096 w 10678681"/>
              <a:gd name="connsiteY123" fmla="*/ 1150294 h 1357700"/>
              <a:gd name="connsiteX124" fmla="*/ 2567088 w 10678681"/>
              <a:gd name="connsiteY124" fmla="*/ 1181781 h 1357700"/>
              <a:gd name="connsiteX125" fmla="*/ 2454501 w 10678681"/>
              <a:gd name="connsiteY125" fmla="*/ 1155455 h 1357700"/>
              <a:gd name="connsiteX126" fmla="*/ 2385161 w 10678681"/>
              <a:gd name="connsiteY126" fmla="*/ 1161312 h 1357700"/>
              <a:gd name="connsiteX127" fmla="*/ 2270528 w 10678681"/>
              <a:gd name="connsiteY127" fmla="*/ 1204338 h 1357700"/>
              <a:gd name="connsiteX128" fmla="*/ 2121820 w 10678681"/>
              <a:gd name="connsiteY128" fmla="*/ 1187078 h 1357700"/>
              <a:gd name="connsiteX129" fmla="*/ 2092716 w 10678681"/>
              <a:gd name="connsiteY129" fmla="*/ 1139224 h 1357700"/>
              <a:gd name="connsiteX130" fmla="*/ 2052449 w 10678681"/>
              <a:gd name="connsiteY130" fmla="*/ 1109687 h 1357700"/>
              <a:gd name="connsiteX131" fmla="*/ 2032607 w 10678681"/>
              <a:gd name="connsiteY131" fmla="*/ 1175477 h 1357700"/>
              <a:gd name="connsiteX132" fmla="*/ 1901837 w 10678681"/>
              <a:gd name="connsiteY132" fmla="*/ 1221762 h 1357700"/>
              <a:gd name="connsiteX133" fmla="*/ 1836762 w 10678681"/>
              <a:gd name="connsiteY133" fmla="*/ 1237387 h 1357700"/>
              <a:gd name="connsiteX134" fmla="*/ 1735877 w 10678681"/>
              <a:gd name="connsiteY134" fmla="*/ 1246527 h 1357700"/>
              <a:gd name="connsiteX135" fmla="*/ 1705069 w 10678681"/>
              <a:gd name="connsiteY135" fmla="*/ 1251989 h 1357700"/>
              <a:gd name="connsiteX136" fmla="*/ 1397689 w 10678681"/>
              <a:gd name="connsiteY136" fmla="*/ 1336144 h 1357700"/>
              <a:gd name="connsiteX137" fmla="*/ 1220734 w 10678681"/>
              <a:gd name="connsiteY137" fmla="*/ 1257811 h 1357700"/>
              <a:gd name="connsiteX138" fmla="*/ 1021737 w 10678681"/>
              <a:gd name="connsiteY138" fmla="*/ 1238739 h 1357700"/>
              <a:gd name="connsiteX139" fmla="*/ 959820 w 10678681"/>
              <a:gd name="connsiteY139" fmla="*/ 1275863 h 1357700"/>
              <a:gd name="connsiteX140" fmla="*/ 929137 w 10678681"/>
              <a:gd name="connsiteY140" fmla="*/ 1273957 h 1357700"/>
              <a:gd name="connsiteX141" fmla="*/ 878849 w 10678681"/>
              <a:gd name="connsiteY141" fmla="*/ 1266740 h 1357700"/>
              <a:gd name="connsiteX142" fmla="*/ 800667 w 10678681"/>
              <a:gd name="connsiteY142" fmla="*/ 1282041 h 1357700"/>
              <a:gd name="connsiteX143" fmla="*/ 644906 w 10678681"/>
              <a:gd name="connsiteY143" fmla="*/ 1273685 h 1357700"/>
              <a:gd name="connsiteX144" fmla="*/ 379869 w 10678681"/>
              <a:gd name="connsiteY144" fmla="*/ 1339165 h 1357700"/>
              <a:gd name="connsiteX145" fmla="*/ 137696 w 10678681"/>
              <a:gd name="connsiteY145" fmla="*/ 1319217 h 1357700"/>
              <a:gd name="connsiteX146" fmla="*/ 54250 w 10678681"/>
              <a:gd name="connsiteY146" fmla="*/ 1315838 h 1357700"/>
              <a:gd name="connsiteX147" fmla="*/ 28042 w 10678681"/>
              <a:gd name="connsiteY147" fmla="*/ 1297822 h 1357700"/>
              <a:gd name="connsiteX148" fmla="*/ 0 w 10678681"/>
              <a:gd name="connsiteY148" fmla="*/ 1294612 h 1357700"/>
              <a:gd name="connsiteX149" fmla="*/ 0 w 10678681"/>
              <a:gd name="connsiteY149"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98313 w 10678681"/>
              <a:gd name="connsiteY65" fmla="*/ 1063249 h 1357700"/>
              <a:gd name="connsiteX66" fmla="*/ 6550218 w 10678681"/>
              <a:gd name="connsiteY66" fmla="*/ 1026825 h 1357700"/>
              <a:gd name="connsiteX67" fmla="*/ 6437450 w 10678681"/>
              <a:gd name="connsiteY67" fmla="*/ 1101075 h 1357700"/>
              <a:gd name="connsiteX68" fmla="*/ 6327795 w 10678681"/>
              <a:gd name="connsiteY68" fmla="*/ 1088142 h 1357700"/>
              <a:gd name="connsiteX69" fmla="*/ 6136549 w 10678681"/>
              <a:gd name="connsiteY69" fmla="*/ 1100268 h 1357700"/>
              <a:gd name="connsiteX70" fmla="*/ 6004655 w 10678681"/>
              <a:gd name="connsiteY70" fmla="*/ 1114946 h 1357700"/>
              <a:gd name="connsiteX71" fmla="*/ 5936643 w 10678681"/>
              <a:gd name="connsiteY71" fmla="*/ 1095428 h 1357700"/>
              <a:gd name="connsiteX72" fmla="*/ 5912484 w 10678681"/>
              <a:gd name="connsiteY72" fmla="*/ 1112624 h 1357700"/>
              <a:gd name="connsiteX73" fmla="*/ 5908387 w 10678681"/>
              <a:gd name="connsiteY73" fmla="*/ 1116018 h 1357700"/>
              <a:gd name="connsiteX74" fmla="*/ 5890495 w 10678681"/>
              <a:gd name="connsiteY74" fmla="*/ 1120268 h 1357700"/>
              <a:gd name="connsiteX75" fmla="*/ 5887318 w 10678681"/>
              <a:gd name="connsiteY75" fmla="*/ 1133134 h 1357700"/>
              <a:gd name="connsiteX76" fmla="*/ 5861726 w 10678681"/>
              <a:gd name="connsiteY76" fmla="*/ 1147891 h 1357700"/>
              <a:gd name="connsiteX77" fmla="*/ 5805823 w 10678681"/>
              <a:gd name="connsiteY77" fmla="*/ 1152457 h 1357700"/>
              <a:gd name="connsiteX78" fmla="*/ 5689841 w 10678681"/>
              <a:gd name="connsiteY78" fmla="*/ 1176232 h 1357700"/>
              <a:gd name="connsiteX79" fmla="*/ 5605119 w 10678681"/>
              <a:gd name="connsiteY79" fmla="*/ 1190202 h 1357700"/>
              <a:gd name="connsiteX80" fmla="*/ 5488513 w 10678681"/>
              <a:gd name="connsiteY80" fmla="*/ 1205367 h 1357700"/>
              <a:gd name="connsiteX81" fmla="*/ 5402905 w 10678681"/>
              <a:gd name="connsiteY81" fmla="*/ 1241191 h 1357700"/>
              <a:gd name="connsiteX82" fmla="*/ 5285593 w 10678681"/>
              <a:gd name="connsiteY82" fmla="*/ 1273569 h 1357700"/>
              <a:gd name="connsiteX83" fmla="*/ 5192893 w 10678681"/>
              <a:gd name="connsiteY83" fmla="*/ 1247188 h 1357700"/>
              <a:gd name="connsiteX84" fmla="*/ 5186475 w 10678681"/>
              <a:gd name="connsiteY84" fmla="*/ 1257028 h 1357700"/>
              <a:gd name="connsiteX85" fmla="*/ 5126038 w 10678681"/>
              <a:gd name="connsiteY85" fmla="*/ 1263189 h 1357700"/>
              <a:gd name="connsiteX86" fmla="*/ 4894688 w 10678681"/>
              <a:gd name="connsiteY86" fmla="*/ 1247184 h 1357700"/>
              <a:gd name="connsiteX87" fmla="*/ 4788036 w 10678681"/>
              <a:gd name="connsiteY87" fmla="*/ 1238182 h 1357700"/>
              <a:gd name="connsiteX88" fmla="*/ 4747555 w 10678681"/>
              <a:gd name="connsiteY88" fmla="*/ 1252768 h 1357700"/>
              <a:gd name="connsiteX89" fmla="*/ 4679644 w 10678681"/>
              <a:gd name="connsiteY89" fmla="*/ 1276603 h 1357700"/>
              <a:gd name="connsiteX90" fmla="*/ 4632222 w 10678681"/>
              <a:gd name="connsiteY90" fmla="*/ 1318360 h 1357700"/>
              <a:gd name="connsiteX91" fmla="*/ 4617358 w 10678681"/>
              <a:gd name="connsiteY91" fmla="*/ 1327690 h 1357700"/>
              <a:gd name="connsiteX92" fmla="*/ 4589102 w 10678681"/>
              <a:gd name="connsiteY92" fmla="*/ 1321223 h 1357700"/>
              <a:gd name="connsiteX93" fmla="*/ 4578184 w 10678681"/>
              <a:gd name="connsiteY93" fmla="*/ 1326745 h 1357700"/>
              <a:gd name="connsiteX94" fmla="*/ 4574270 w 10678681"/>
              <a:gd name="connsiteY94" fmla="*/ 1325878 h 1357700"/>
              <a:gd name="connsiteX95" fmla="*/ 4564919 w 10678681"/>
              <a:gd name="connsiteY95" fmla="*/ 1325507 h 1357700"/>
              <a:gd name="connsiteX96" fmla="*/ 4566586 w 10678681"/>
              <a:gd name="connsiteY96" fmla="*/ 1316963 h 1357700"/>
              <a:gd name="connsiteX97" fmla="*/ 4556303 w 10678681"/>
              <a:gd name="connsiteY97" fmla="*/ 1300262 h 1357700"/>
              <a:gd name="connsiteX98" fmla="*/ 4502358 w 10678681"/>
              <a:gd name="connsiteY98" fmla="*/ 1302558 h 1357700"/>
              <a:gd name="connsiteX99" fmla="*/ 4498919 w 10678681"/>
              <a:gd name="connsiteY99" fmla="*/ 1312115 h 1357700"/>
              <a:gd name="connsiteX100" fmla="*/ 4492075 w 10678681"/>
              <a:gd name="connsiteY100" fmla="*/ 1313357 h 1357700"/>
              <a:gd name="connsiteX101" fmla="*/ 4487466 w 10678681"/>
              <a:gd name="connsiteY101" fmla="*/ 1304102 h 1357700"/>
              <a:gd name="connsiteX102" fmla="*/ 4398292 w 10678681"/>
              <a:gd name="connsiteY102" fmla="*/ 1278410 h 1357700"/>
              <a:gd name="connsiteX103" fmla="*/ 4306088 w 10678681"/>
              <a:gd name="connsiteY103" fmla="*/ 1282512 h 1357700"/>
              <a:gd name="connsiteX104" fmla="*/ 4188995 w 10678681"/>
              <a:gd name="connsiteY104" fmla="*/ 1296718 h 1357700"/>
              <a:gd name="connsiteX105" fmla="*/ 4181483 w 10678681"/>
              <a:gd name="connsiteY105" fmla="*/ 1287686 h 1357700"/>
              <a:gd name="connsiteX106" fmla="*/ 4064614 w 10678681"/>
              <a:gd name="connsiteY106" fmla="*/ 1296118 h 1357700"/>
              <a:gd name="connsiteX107" fmla="*/ 3906561 w 10678681"/>
              <a:gd name="connsiteY107" fmla="*/ 1352435 h 1357700"/>
              <a:gd name="connsiteX108" fmla="*/ 3787890 w 10678681"/>
              <a:gd name="connsiteY108" fmla="*/ 1352442 h 1357700"/>
              <a:gd name="connsiteX109" fmla="*/ 3745993 w 10678681"/>
              <a:gd name="connsiteY109" fmla="*/ 1342630 h 1357700"/>
              <a:gd name="connsiteX110" fmla="*/ 3675785 w 10678681"/>
              <a:gd name="connsiteY110" fmla="*/ 1326802 h 1357700"/>
              <a:gd name="connsiteX111" fmla="*/ 3623856 w 10678681"/>
              <a:gd name="connsiteY111" fmla="*/ 1290804 h 1357700"/>
              <a:gd name="connsiteX112" fmla="*/ 3564933 w 10678681"/>
              <a:gd name="connsiteY112" fmla="*/ 1287147 h 1357700"/>
              <a:gd name="connsiteX113" fmla="*/ 3550537 w 10678681"/>
              <a:gd name="connsiteY113" fmla="*/ 1317552 h 1357700"/>
              <a:gd name="connsiteX114" fmla="*/ 3487736 w 10678681"/>
              <a:gd name="connsiteY114" fmla="*/ 1303493 h 1357700"/>
              <a:gd name="connsiteX115" fmla="*/ 3392548 w 10678681"/>
              <a:gd name="connsiteY115" fmla="*/ 1278741 h 1357700"/>
              <a:gd name="connsiteX116" fmla="*/ 3337466 w 10678681"/>
              <a:gd name="connsiteY116" fmla="*/ 1272537 h 1357700"/>
              <a:gd name="connsiteX117" fmla="*/ 3187206 w 10678681"/>
              <a:gd name="connsiteY117" fmla="*/ 1246821 h 1357700"/>
              <a:gd name="connsiteX118" fmla="*/ 3036856 w 10678681"/>
              <a:gd name="connsiteY118" fmla="*/ 1214383 h 1357700"/>
              <a:gd name="connsiteX119" fmla="*/ 2948654 w 10678681"/>
              <a:gd name="connsiteY119" fmla="*/ 1157455 h 1357700"/>
              <a:gd name="connsiteX120" fmla="*/ 2824973 w 10678681"/>
              <a:gd name="connsiteY120" fmla="*/ 1134864 h 1357700"/>
              <a:gd name="connsiteX121" fmla="*/ 2804398 w 10678681"/>
              <a:gd name="connsiteY121" fmla="*/ 1125556 h 1357700"/>
              <a:gd name="connsiteX122" fmla="*/ 2775396 w 10678681"/>
              <a:gd name="connsiteY122" fmla="*/ 1130148 h 1357700"/>
              <a:gd name="connsiteX123" fmla="*/ 2659096 w 10678681"/>
              <a:gd name="connsiteY123" fmla="*/ 1150294 h 1357700"/>
              <a:gd name="connsiteX124" fmla="*/ 2567088 w 10678681"/>
              <a:gd name="connsiteY124" fmla="*/ 1181781 h 1357700"/>
              <a:gd name="connsiteX125" fmla="*/ 2454501 w 10678681"/>
              <a:gd name="connsiteY125" fmla="*/ 1155455 h 1357700"/>
              <a:gd name="connsiteX126" fmla="*/ 2385161 w 10678681"/>
              <a:gd name="connsiteY126" fmla="*/ 1161312 h 1357700"/>
              <a:gd name="connsiteX127" fmla="*/ 2270528 w 10678681"/>
              <a:gd name="connsiteY127" fmla="*/ 1204338 h 1357700"/>
              <a:gd name="connsiteX128" fmla="*/ 2121820 w 10678681"/>
              <a:gd name="connsiteY128" fmla="*/ 1187078 h 1357700"/>
              <a:gd name="connsiteX129" fmla="*/ 2092716 w 10678681"/>
              <a:gd name="connsiteY129" fmla="*/ 1139224 h 1357700"/>
              <a:gd name="connsiteX130" fmla="*/ 2052449 w 10678681"/>
              <a:gd name="connsiteY130" fmla="*/ 1109687 h 1357700"/>
              <a:gd name="connsiteX131" fmla="*/ 2032607 w 10678681"/>
              <a:gd name="connsiteY131" fmla="*/ 1175477 h 1357700"/>
              <a:gd name="connsiteX132" fmla="*/ 1901837 w 10678681"/>
              <a:gd name="connsiteY132" fmla="*/ 1221762 h 1357700"/>
              <a:gd name="connsiteX133" fmla="*/ 1836762 w 10678681"/>
              <a:gd name="connsiteY133" fmla="*/ 1237387 h 1357700"/>
              <a:gd name="connsiteX134" fmla="*/ 1735877 w 10678681"/>
              <a:gd name="connsiteY134" fmla="*/ 1246527 h 1357700"/>
              <a:gd name="connsiteX135" fmla="*/ 1705069 w 10678681"/>
              <a:gd name="connsiteY135" fmla="*/ 1251989 h 1357700"/>
              <a:gd name="connsiteX136" fmla="*/ 1397689 w 10678681"/>
              <a:gd name="connsiteY136" fmla="*/ 1336144 h 1357700"/>
              <a:gd name="connsiteX137" fmla="*/ 1220734 w 10678681"/>
              <a:gd name="connsiteY137" fmla="*/ 1257811 h 1357700"/>
              <a:gd name="connsiteX138" fmla="*/ 1021737 w 10678681"/>
              <a:gd name="connsiteY138" fmla="*/ 1238739 h 1357700"/>
              <a:gd name="connsiteX139" fmla="*/ 959820 w 10678681"/>
              <a:gd name="connsiteY139" fmla="*/ 1275863 h 1357700"/>
              <a:gd name="connsiteX140" fmla="*/ 929137 w 10678681"/>
              <a:gd name="connsiteY140" fmla="*/ 1273957 h 1357700"/>
              <a:gd name="connsiteX141" fmla="*/ 878849 w 10678681"/>
              <a:gd name="connsiteY141" fmla="*/ 1266740 h 1357700"/>
              <a:gd name="connsiteX142" fmla="*/ 800667 w 10678681"/>
              <a:gd name="connsiteY142" fmla="*/ 1282041 h 1357700"/>
              <a:gd name="connsiteX143" fmla="*/ 644906 w 10678681"/>
              <a:gd name="connsiteY143" fmla="*/ 1273685 h 1357700"/>
              <a:gd name="connsiteX144" fmla="*/ 379869 w 10678681"/>
              <a:gd name="connsiteY144" fmla="*/ 1339165 h 1357700"/>
              <a:gd name="connsiteX145" fmla="*/ 137696 w 10678681"/>
              <a:gd name="connsiteY145" fmla="*/ 1319217 h 1357700"/>
              <a:gd name="connsiteX146" fmla="*/ 54250 w 10678681"/>
              <a:gd name="connsiteY146" fmla="*/ 1315838 h 1357700"/>
              <a:gd name="connsiteX147" fmla="*/ 28042 w 10678681"/>
              <a:gd name="connsiteY147" fmla="*/ 1297822 h 1357700"/>
              <a:gd name="connsiteX148" fmla="*/ 0 w 10678681"/>
              <a:gd name="connsiteY148" fmla="*/ 1294612 h 1357700"/>
              <a:gd name="connsiteX149" fmla="*/ 0 w 10678681"/>
              <a:gd name="connsiteY149"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98313 w 10678681"/>
              <a:gd name="connsiteY65" fmla="*/ 1063249 h 1357700"/>
              <a:gd name="connsiteX66" fmla="*/ 6550218 w 10678681"/>
              <a:gd name="connsiteY66" fmla="*/ 1026825 h 1357700"/>
              <a:gd name="connsiteX67" fmla="*/ 6437450 w 10678681"/>
              <a:gd name="connsiteY67" fmla="*/ 1101075 h 1357700"/>
              <a:gd name="connsiteX68" fmla="*/ 6327795 w 10678681"/>
              <a:gd name="connsiteY68" fmla="*/ 1088142 h 1357700"/>
              <a:gd name="connsiteX69" fmla="*/ 6136549 w 10678681"/>
              <a:gd name="connsiteY69" fmla="*/ 1100268 h 1357700"/>
              <a:gd name="connsiteX70" fmla="*/ 6004655 w 10678681"/>
              <a:gd name="connsiteY70" fmla="*/ 1114946 h 1357700"/>
              <a:gd name="connsiteX71" fmla="*/ 5936643 w 10678681"/>
              <a:gd name="connsiteY71" fmla="*/ 1095428 h 1357700"/>
              <a:gd name="connsiteX72" fmla="*/ 5912484 w 10678681"/>
              <a:gd name="connsiteY72" fmla="*/ 1112624 h 1357700"/>
              <a:gd name="connsiteX73" fmla="*/ 5908387 w 10678681"/>
              <a:gd name="connsiteY73" fmla="*/ 1116018 h 1357700"/>
              <a:gd name="connsiteX74" fmla="*/ 5890495 w 10678681"/>
              <a:gd name="connsiteY74" fmla="*/ 1120268 h 1357700"/>
              <a:gd name="connsiteX75" fmla="*/ 5887318 w 10678681"/>
              <a:gd name="connsiteY75" fmla="*/ 1133134 h 1357700"/>
              <a:gd name="connsiteX76" fmla="*/ 5861726 w 10678681"/>
              <a:gd name="connsiteY76" fmla="*/ 1147891 h 1357700"/>
              <a:gd name="connsiteX77" fmla="*/ 5805823 w 10678681"/>
              <a:gd name="connsiteY77" fmla="*/ 1152457 h 1357700"/>
              <a:gd name="connsiteX78" fmla="*/ 5689841 w 10678681"/>
              <a:gd name="connsiteY78" fmla="*/ 1176232 h 1357700"/>
              <a:gd name="connsiteX79" fmla="*/ 5605119 w 10678681"/>
              <a:gd name="connsiteY79" fmla="*/ 1190202 h 1357700"/>
              <a:gd name="connsiteX80" fmla="*/ 5488513 w 10678681"/>
              <a:gd name="connsiteY80" fmla="*/ 1205367 h 1357700"/>
              <a:gd name="connsiteX81" fmla="*/ 5402905 w 10678681"/>
              <a:gd name="connsiteY81" fmla="*/ 1241191 h 1357700"/>
              <a:gd name="connsiteX82" fmla="*/ 5285593 w 10678681"/>
              <a:gd name="connsiteY82" fmla="*/ 1273569 h 1357700"/>
              <a:gd name="connsiteX83" fmla="*/ 5192893 w 10678681"/>
              <a:gd name="connsiteY83" fmla="*/ 1247188 h 1357700"/>
              <a:gd name="connsiteX84" fmla="*/ 5186475 w 10678681"/>
              <a:gd name="connsiteY84" fmla="*/ 1257028 h 1357700"/>
              <a:gd name="connsiteX85" fmla="*/ 5126038 w 10678681"/>
              <a:gd name="connsiteY85" fmla="*/ 1263189 h 1357700"/>
              <a:gd name="connsiteX86" fmla="*/ 4894688 w 10678681"/>
              <a:gd name="connsiteY86" fmla="*/ 1247184 h 1357700"/>
              <a:gd name="connsiteX87" fmla="*/ 4788036 w 10678681"/>
              <a:gd name="connsiteY87" fmla="*/ 1238182 h 1357700"/>
              <a:gd name="connsiteX88" fmla="*/ 4747555 w 10678681"/>
              <a:gd name="connsiteY88" fmla="*/ 1252768 h 1357700"/>
              <a:gd name="connsiteX89" fmla="*/ 4679644 w 10678681"/>
              <a:gd name="connsiteY89" fmla="*/ 1276603 h 1357700"/>
              <a:gd name="connsiteX90" fmla="*/ 4632222 w 10678681"/>
              <a:gd name="connsiteY90" fmla="*/ 1318360 h 1357700"/>
              <a:gd name="connsiteX91" fmla="*/ 4617358 w 10678681"/>
              <a:gd name="connsiteY91" fmla="*/ 1327690 h 1357700"/>
              <a:gd name="connsiteX92" fmla="*/ 4589102 w 10678681"/>
              <a:gd name="connsiteY92" fmla="*/ 1321223 h 1357700"/>
              <a:gd name="connsiteX93" fmla="*/ 4578184 w 10678681"/>
              <a:gd name="connsiteY93" fmla="*/ 1326745 h 1357700"/>
              <a:gd name="connsiteX94" fmla="*/ 4574270 w 10678681"/>
              <a:gd name="connsiteY94" fmla="*/ 1325878 h 1357700"/>
              <a:gd name="connsiteX95" fmla="*/ 4564919 w 10678681"/>
              <a:gd name="connsiteY95" fmla="*/ 1325507 h 1357700"/>
              <a:gd name="connsiteX96" fmla="*/ 4566586 w 10678681"/>
              <a:gd name="connsiteY96" fmla="*/ 1316963 h 1357700"/>
              <a:gd name="connsiteX97" fmla="*/ 4556303 w 10678681"/>
              <a:gd name="connsiteY97" fmla="*/ 1300262 h 1357700"/>
              <a:gd name="connsiteX98" fmla="*/ 4502358 w 10678681"/>
              <a:gd name="connsiteY98" fmla="*/ 1302558 h 1357700"/>
              <a:gd name="connsiteX99" fmla="*/ 4498919 w 10678681"/>
              <a:gd name="connsiteY99" fmla="*/ 1312115 h 1357700"/>
              <a:gd name="connsiteX100" fmla="*/ 4492075 w 10678681"/>
              <a:gd name="connsiteY100" fmla="*/ 1313357 h 1357700"/>
              <a:gd name="connsiteX101" fmla="*/ 4487466 w 10678681"/>
              <a:gd name="connsiteY101" fmla="*/ 1304102 h 1357700"/>
              <a:gd name="connsiteX102" fmla="*/ 4398292 w 10678681"/>
              <a:gd name="connsiteY102" fmla="*/ 1278410 h 1357700"/>
              <a:gd name="connsiteX103" fmla="*/ 4306088 w 10678681"/>
              <a:gd name="connsiteY103" fmla="*/ 1282512 h 1357700"/>
              <a:gd name="connsiteX104" fmla="*/ 4188995 w 10678681"/>
              <a:gd name="connsiteY104" fmla="*/ 1296718 h 1357700"/>
              <a:gd name="connsiteX105" fmla="*/ 4136582 w 10678681"/>
              <a:gd name="connsiteY105" fmla="*/ 1287687 h 1357700"/>
              <a:gd name="connsiteX106" fmla="*/ 4064614 w 10678681"/>
              <a:gd name="connsiteY106" fmla="*/ 1296118 h 1357700"/>
              <a:gd name="connsiteX107" fmla="*/ 3906561 w 10678681"/>
              <a:gd name="connsiteY107" fmla="*/ 1352435 h 1357700"/>
              <a:gd name="connsiteX108" fmla="*/ 3787890 w 10678681"/>
              <a:gd name="connsiteY108" fmla="*/ 1352442 h 1357700"/>
              <a:gd name="connsiteX109" fmla="*/ 3745993 w 10678681"/>
              <a:gd name="connsiteY109" fmla="*/ 1342630 h 1357700"/>
              <a:gd name="connsiteX110" fmla="*/ 3675785 w 10678681"/>
              <a:gd name="connsiteY110" fmla="*/ 1326802 h 1357700"/>
              <a:gd name="connsiteX111" fmla="*/ 3623856 w 10678681"/>
              <a:gd name="connsiteY111" fmla="*/ 1290804 h 1357700"/>
              <a:gd name="connsiteX112" fmla="*/ 3564933 w 10678681"/>
              <a:gd name="connsiteY112" fmla="*/ 1287147 h 1357700"/>
              <a:gd name="connsiteX113" fmla="*/ 3550537 w 10678681"/>
              <a:gd name="connsiteY113" fmla="*/ 1317552 h 1357700"/>
              <a:gd name="connsiteX114" fmla="*/ 3487736 w 10678681"/>
              <a:gd name="connsiteY114" fmla="*/ 1303493 h 1357700"/>
              <a:gd name="connsiteX115" fmla="*/ 3392548 w 10678681"/>
              <a:gd name="connsiteY115" fmla="*/ 1278741 h 1357700"/>
              <a:gd name="connsiteX116" fmla="*/ 3337466 w 10678681"/>
              <a:gd name="connsiteY116" fmla="*/ 1272537 h 1357700"/>
              <a:gd name="connsiteX117" fmla="*/ 3187206 w 10678681"/>
              <a:gd name="connsiteY117" fmla="*/ 1246821 h 1357700"/>
              <a:gd name="connsiteX118" fmla="*/ 3036856 w 10678681"/>
              <a:gd name="connsiteY118" fmla="*/ 1214383 h 1357700"/>
              <a:gd name="connsiteX119" fmla="*/ 2948654 w 10678681"/>
              <a:gd name="connsiteY119" fmla="*/ 1157455 h 1357700"/>
              <a:gd name="connsiteX120" fmla="*/ 2824973 w 10678681"/>
              <a:gd name="connsiteY120" fmla="*/ 1134864 h 1357700"/>
              <a:gd name="connsiteX121" fmla="*/ 2804398 w 10678681"/>
              <a:gd name="connsiteY121" fmla="*/ 1125556 h 1357700"/>
              <a:gd name="connsiteX122" fmla="*/ 2775396 w 10678681"/>
              <a:gd name="connsiteY122" fmla="*/ 1130148 h 1357700"/>
              <a:gd name="connsiteX123" fmla="*/ 2659096 w 10678681"/>
              <a:gd name="connsiteY123" fmla="*/ 1150294 h 1357700"/>
              <a:gd name="connsiteX124" fmla="*/ 2567088 w 10678681"/>
              <a:gd name="connsiteY124" fmla="*/ 1181781 h 1357700"/>
              <a:gd name="connsiteX125" fmla="*/ 2454501 w 10678681"/>
              <a:gd name="connsiteY125" fmla="*/ 1155455 h 1357700"/>
              <a:gd name="connsiteX126" fmla="*/ 2385161 w 10678681"/>
              <a:gd name="connsiteY126" fmla="*/ 1161312 h 1357700"/>
              <a:gd name="connsiteX127" fmla="*/ 2270528 w 10678681"/>
              <a:gd name="connsiteY127" fmla="*/ 1204338 h 1357700"/>
              <a:gd name="connsiteX128" fmla="*/ 2121820 w 10678681"/>
              <a:gd name="connsiteY128" fmla="*/ 1187078 h 1357700"/>
              <a:gd name="connsiteX129" fmla="*/ 2092716 w 10678681"/>
              <a:gd name="connsiteY129" fmla="*/ 1139224 h 1357700"/>
              <a:gd name="connsiteX130" fmla="*/ 2052449 w 10678681"/>
              <a:gd name="connsiteY130" fmla="*/ 1109687 h 1357700"/>
              <a:gd name="connsiteX131" fmla="*/ 2032607 w 10678681"/>
              <a:gd name="connsiteY131" fmla="*/ 1175477 h 1357700"/>
              <a:gd name="connsiteX132" fmla="*/ 1901837 w 10678681"/>
              <a:gd name="connsiteY132" fmla="*/ 1221762 h 1357700"/>
              <a:gd name="connsiteX133" fmla="*/ 1836762 w 10678681"/>
              <a:gd name="connsiteY133" fmla="*/ 1237387 h 1357700"/>
              <a:gd name="connsiteX134" fmla="*/ 1735877 w 10678681"/>
              <a:gd name="connsiteY134" fmla="*/ 1246527 h 1357700"/>
              <a:gd name="connsiteX135" fmla="*/ 1705069 w 10678681"/>
              <a:gd name="connsiteY135" fmla="*/ 1251989 h 1357700"/>
              <a:gd name="connsiteX136" fmla="*/ 1397689 w 10678681"/>
              <a:gd name="connsiteY136" fmla="*/ 1336144 h 1357700"/>
              <a:gd name="connsiteX137" fmla="*/ 1220734 w 10678681"/>
              <a:gd name="connsiteY137" fmla="*/ 1257811 h 1357700"/>
              <a:gd name="connsiteX138" fmla="*/ 1021737 w 10678681"/>
              <a:gd name="connsiteY138" fmla="*/ 1238739 h 1357700"/>
              <a:gd name="connsiteX139" fmla="*/ 959820 w 10678681"/>
              <a:gd name="connsiteY139" fmla="*/ 1275863 h 1357700"/>
              <a:gd name="connsiteX140" fmla="*/ 929137 w 10678681"/>
              <a:gd name="connsiteY140" fmla="*/ 1273957 h 1357700"/>
              <a:gd name="connsiteX141" fmla="*/ 878849 w 10678681"/>
              <a:gd name="connsiteY141" fmla="*/ 1266740 h 1357700"/>
              <a:gd name="connsiteX142" fmla="*/ 800667 w 10678681"/>
              <a:gd name="connsiteY142" fmla="*/ 1282041 h 1357700"/>
              <a:gd name="connsiteX143" fmla="*/ 644906 w 10678681"/>
              <a:gd name="connsiteY143" fmla="*/ 1273685 h 1357700"/>
              <a:gd name="connsiteX144" fmla="*/ 379869 w 10678681"/>
              <a:gd name="connsiteY144" fmla="*/ 1339165 h 1357700"/>
              <a:gd name="connsiteX145" fmla="*/ 137696 w 10678681"/>
              <a:gd name="connsiteY145" fmla="*/ 1319217 h 1357700"/>
              <a:gd name="connsiteX146" fmla="*/ 54250 w 10678681"/>
              <a:gd name="connsiteY146" fmla="*/ 1315838 h 1357700"/>
              <a:gd name="connsiteX147" fmla="*/ 28042 w 10678681"/>
              <a:gd name="connsiteY147" fmla="*/ 1297822 h 1357700"/>
              <a:gd name="connsiteX148" fmla="*/ 0 w 10678681"/>
              <a:gd name="connsiteY148" fmla="*/ 1294612 h 1357700"/>
              <a:gd name="connsiteX149" fmla="*/ 0 w 10678681"/>
              <a:gd name="connsiteY149"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98313 w 10678681"/>
              <a:gd name="connsiteY65" fmla="*/ 1063249 h 1357700"/>
              <a:gd name="connsiteX66" fmla="*/ 6437450 w 10678681"/>
              <a:gd name="connsiteY66" fmla="*/ 1101075 h 1357700"/>
              <a:gd name="connsiteX67" fmla="*/ 6327795 w 10678681"/>
              <a:gd name="connsiteY67" fmla="*/ 1088142 h 1357700"/>
              <a:gd name="connsiteX68" fmla="*/ 6136549 w 10678681"/>
              <a:gd name="connsiteY68" fmla="*/ 1100268 h 1357700"/>
              <a:gd name="connsiteX69" fmla="*/ 6004655 w 10678681"/>
              <a:gd name="connsiteY69" fmla="*/ 1114946 h 1357700"/>
              <a:gd name="connsiteX70" fmla="*/ 5936643 w 10678681"/>
              <a:gd name="connsiteY70" fmla="*/ 1095428 h 1357700"/>
              <a:gd name="connsiteX71" fmla="*/ 5912484 w 10678681"/>
              <a:gd name="connsiteY71" fmla="*/ 1112624 h 1357700"/>
              <a:gd name="connsiteX72" fmla="*/ 5908387 w 10678681"/>
              <a:gd name="connsiteY72" fmla="*/ 1116018 h 1357700"/>
              <a:gd name="connsiteX73" fmla="*/ 5890495 w 10678681"/>
              <a:gd name="connsiteY73" fmla="*/ 1120268 h 1357700"/>
              <a:gd name="connsiteX74" fmla="*/ 5887318 w 10678681"/>
              <a:gd name="connsiteY74" fmla="*/ 1133134 h 1357700"/>
              <a:gd name="connsiteX75" fmla="*/ 5861726 w 10678681"/>
              <a:gd name="connsiteY75" fmla="*/ 1147891 h 1357700"/>
              <a:gd name="connsiteX76" fmla="*/ 5805823 w 10678681"/>
              <a:gd name="connsiteY76" fmla="*/ 1152457 h 1357700"/>
              <a:gd name="connsiteX77" fmla="*/ 5689841 w 10678681"/>
              <a:gd name="connsiteY77" fmla="*/ 1176232 h 1357700"/>
              <a:gd name="connsiteX78" fmla="*/ 5605119 w 10678681"/>
              <a:gd name="connsiteY78" fmla="*/ 1190202 h 1357700"/>
              <a:gd name="connsiteX79" fmla="*/ 5488513 w 10678681"/>
              <a:gd name="connsiteY79" fmla="*/ 1205367 h 1357700"/>
              <a:gd name="connsiteX80" fmla="*/ 5402905 w 10678681"/>
              <a:gd name="connsiteY80" fmla="*/ 1241191 h 1357700"/>
              <a:gd name="connsiteX81" fmla="*/ 5285593 w 10678681"/>
              <a:gd name="connsiteY81" fmla="*/ 1273569 h 1357700"/>
              <a:gd name="connsiteX82" fmla="*/ 5192893 w 10678681"/>
              <a:gd name="connsiteY82" fmla="*/ 1247188 h 1357700"/>
              <a:gd name="connsiteX83" fmla="*/ 5186475 w 10678681"/>
              <a:gd name="connsiteY83" fmla="*/ 1257028 h 1357700"/>
              <a:gd name="connsiteX84" fmla="*/ 5126038 w 10678681"/>
              <a:gd name="connsiteY84" fmla="*/ 1263189 h 1357700"/>
              <a:gd name="connsiteX85" fmla="*/ 4894688 w 10678681"/>
              <a:gd name="connsiteY85" fmla="*/ 1247184 h 1357700"/>
              <a:gd name="connsiteX86" fmla="*/ 4788036 w 10678681"/>
              <a:gd name="connsiteY86" fmla="*/ 1238182 h 1357700"/>
              <a:gd name="connsiteX87" fmla="*/ 4747555 w 10678681"/>
              <a:gd name="connsiteY87" fmla="*/ 1252768 h 1357700"/>
              <a:gd name="connsiteX88" fmla="*/ 4679644 w 10678681"/>
              <a:gd name="connsiteY88" fmla="*/ 1276603 h 1357700"/>
              <a:gd name="connsiteX89" fmla="*/ 4632222 w 10678681"/>
              <a:gd name="connsiteY89" fmla="*/ 1318360 h 1357700"/>
              <a:gd name="connsiteX90" fmla="*/ 4617358 w 10678681"/>
              <a:gd name="connsiteY90" fmla="*/ 1327690 h 1357700"/>
              <a:gd name="connsiteX91" fmla="*/ 4589102 w 10678681"/>
              <a:gd name="connsiteY91" fmla="*/ 1321223 h 1357700"/>
              <a:gd name="connsiteX92" fmla="*/ 4578184 w 10678681"/>
              <a:gd name="connsiteY92" fmla="*/ 1326745 h 1357700"/>
              <a:gd name="connsiteX93" fmla="*/ 4574270 w 10678681"/>
              <a:gd name="connsiteY93" fmla="*/ 1325878 h 1357700"/>
              <a:gd name="connsiteX94" fmla="*/ 4564919 w 10678681"/>
              <a:gd name="connsiteY94" fmla="*/ 1325507 h 1357700"/>
              <a:gd name="connsiteX95" fmla="*/ 4566586 w 10678681"/>
              <a:gd name="connsiteY95" fmla="*/ 1316963 h 1357700"/>
              <a:gd name="connsiteX96" fmla="*/ 4556303 w 10678681"/>
              <a:gd name="connsiteY96" fmla="*/ 1300262 h 1357700"/>
              <a:gd name="connsiteX97" fmla="*/ 4502358 w 10678681"/>
              <a:gd name="connsiteY97" fmla="*/ 1302558 h 1357700"/>
              <a:gd name="connsiteX98" fmla="*/ 4498919 w 10678681"/>
              <a:gd name="connsiteY98" fmla="*/ 1312115 h 1357700"/>
              <a:gd name="connsiteX99" fmla="*/ 4492075 w 10678681"/>
              <a:gd name="connsiteY99" fmla="*/ 1313357 h 1357700"/>
              <a:gd name="connsiteX100" fmla="*/ 4487466 w 10678681"/>
              <a:gd name="connsiteY100" fmla="*/ 1304102 h 1357700"/>
              <a:gd name="connsiteX101" fmla="*/ 4398292 w 10678681"/>
              <a:gd name="connsiteY101" fmla="*/ 1278410 h 1357700"/>
              <a:gd name="connsiteX102" fmla="*/ 4306088 w 10678681"/>
              <a:gd name="connsiteY102" fmla="*/ 1282512 h 1357700"/>
              <a:gd name="connsiteX103" fmla="*/ 4188995 w 10678681"/>
              <a:gd name="connsiteY103" fmla="*/ 1296718 h 1357700"/>
              <a:gd name="connsiteX104" fmla="*/ 4136582 w 10678681"/>
              <a:gd name="connsiteY104" fmla="*/ 1287687 h 1357700"/>
              <a:gd name="connsiteX105" fmla="*/ 4064614 w 10678681"/>
              <a:gd name="connsiteY105" fmla="*/ 1296118 h 1357700"/>
              <a:gd name="connsiteX106" fmla="*/ 3906561 w 10678681"/>
              <a:gd name="connsiteY106" fmla="*/ 1352435 h 1357700"/>
              <a:gd name="connsiteX107" fmla="*/ 3787890 w 10678681"/>
              <a:gd name="connsiteY107" fmla="*/ 1352442 h 1357700"/>
              <a:gd name="connsiteX108" fmla="*/ 3745993 w 10678681"/>
              <a:gd name="connsiteY108" fmla="*/ 1342630 h 1357700"/>
              <a:gd name="connsiteX109" fmla="*/ 3675785 w 10678681"/>
              <a:gd name="connsiteY109" fmla="*/ 1326802 h 1357700"/>
              <a:gd name="connsiteX110" fmla="*/ 3623856 w 10678681"/>
              <a:gd name="connsiteY110" fmla="*/ 1290804 h 1357700"/>
              <a:gd name="connsiteX111" fmla="*/ 3564933 w 10678681"/>
              <a:gd name="connsiteY111" fmla="*/ 1287147 h 1357700"/>
              <a:gd name="connsiteX112" fmla="*/ 3550537 w 10678681"/>
              <a:gd name="connsiteY112" fmla="*/ 1317552 h 1357700"/>
              <a:gd name="connsiteX113" fmla="*/ 3487736 w 10678681"/>
              <a:gd name="connsiteY113" fmla="*/ 1303493 h 1357700"/>
              <a:gd name="connsiteX114" fmla="*/ 3392548 w 10678681"/>
              <a:gd name="connsiteY114" fmla="*/ 1278741 h 1357700"/>
              <a:gd name="connsiteX115" fmla="*/ 3337466 w 10678681"/>
              <a:gd name="connsiteY115" fmla="*/ 1272537 h 1357700"/>
              <a:gd name="connsiteX116" fmla="*/ 3187206 w 10678681"/>
              <a:gd name="connsiteY116" fmla="*/ 1246821 h 1357700"/>
              <a:gd name="connsiteX117" fmla="*/ 3036856 w 10678681"/>
              <a:gd name="connsiteY117" fmla="*/ 1214383 h 1357700"/>
              <a:gd name="connsiteX118" fmla="*/ 2948654 w 10678681"/>
              <a:gd name="connsiteY118" fmla="*/ 1157455 h 1357700"/>
              <a:gd name="connsiteX119" fmla="*/ 2824973 w 10678681"/>
              <a:gd name="connsiteY119" fmla="*/ 1134864 h 1357700"/>
              <a:gd name="connsiteX120" fmla="*/ 2804398 w 10678681"/>
              <a:gd name="connsiteY120" fmla="*/ 1125556 h 1357700"/>
              <a:gd name="connsiteX121" fmla="*/ 2775396 w 10678681"/>
              <a:gd name="connsiteY121" fmla="*/ 1130148 h 1357700"/>
              <a:gd name="connsiteX122" fmla="*/ 2659096 w 10678681"/>
              <a:gd name="connsiteY122" fmla="*/ 1150294 h 1357700"/>
              <a:gd name="connsiteX123" fmla="*/ 2567088 w 10678681"/>
              <a:gd name="connsiteY123" fmla="*/ 1181781 h 1357700"/>
              <a:gd name="connsiteX124" fmla="*/ 2454501 w 10678681"/>
              <a:gd name="connsiteY124" fmla="*/ 1155455 h 1357700"/>
              <a:gd name="connsiteX125" fmla="*/ 2385161 w 10678681"/>
              <a:gd name="connsiteY125" fmla="*/ 1161312 h 1357700"/>
              <a:gd name="connsiteX126" fmla="*/ 2270528 w 10678681"/>
              <a:gd name="connsiteY126" fmla="*/ 1204338 h 1357700"/>
              <a:gd name="connsiteX127" fmla="*/ 2121820 w 10678681"/>
              <a:gd name="connsiteY127" fmla="*/ 1187078 h 1357700"/>
              <a:gd name="connsiteX128" fmla="*/ 2092716 w 10678681"/>
              <a:gd name="connsiteY128" fmla="*/ 1139224 h 1357700"/>
              <a:gd name="connsiteX129" fmla="*/ 2052449 w 10678681"/>
              <a:gd name="connsiteY129" fmla="*/ 1109687 h 1357700"/>
              <a:gd name="connsiteX130" fmla="*/ 2032607 w 10678681"/>
              <a:gd name="connsiteY130" fmla="*/ 1175477 h 1357700"/>
              <a:gd name="connsiteX131" fmla="*/ 1901837 w 10678681"/>
              <a:gd name="connsiteY131" fmla="*/ 1221762 h 1357700"/>
              <a:gd name="connsiteX132" fmla="*/ 1836762 w 10678681"/>
              <a:gd name="connsiteY132" fmla="*/ 1237387 h 1357700"/>
              <a:gd name="connsiteX133" fmla="*/ 1735877 w 10678681"/>
              <a:gd name="connsiteY133" fmla="*/ 1246527 h 1357700"/>
              <a:gd name="connsiteX134" fmla="*/ 1705069 w 10678681"/>
              <a:gd name="connsiteY134" fmla="*/ 1251989 h 1357700"/>
              <a:gd name="connsiteX135" fmla="*/ 1397689 w 10678681"/>
              <a:gd name="connsiteY135" fmla="*/ 1336144 h 1357700"/>
              <a:gd name="connsiteX136" fmla="*/ 1220734 w 10678681"/>
              <a:gd name="connsiteY136" fmla="*/ 1257811 h 1357700"/>
              <a:gd name="connsiteX137" fmla="*/ 1021737 w 10678681"/>
              <a:gd name="connsiteY137" fmla="*/ 1238739 h 1357700"/>
              <a:gd name="connsiteX138" fmla="*/ 959820 w 10678681"/>
              <a:gd name="connsiteY138" fmla="*/ 1275863 h 1357700"/>
              <a:gd name="connsiteX139" fmla="*/ 929137 w 10678681"/>
              <a:gd name="connsiteY139" fmla="*/ 1273957 h 1357700"/>
              <a:gd name="connsiteX140" fmla="*/ 878849 w 10678681"/>
              <a:gd name="connsiteY140" fmla="*/ 1266740 h 1357700"/>
              <a:gd name="connsiteX141" fmla="*/ 800667 w 10678681"/>
              <a:gd name="connsiteY141" fmla="*/ 1282041 h 1357700"/>
              <a:gd name="connsiteX142" fmla="*/ 644906 w 10678681"/>
              <a:gd name="connsiteY142" fmla="*/ 1273685 h 1357700"/>
              <a:gd name="connsiteX143" fmla="*/ 379869 w 10678681"/>
              <a:gd name="connsiteY143" fmla="*/ 1339165 h 1357700"/>
              <a:gd name="connsiteX144" fmla="*/ 137696 w 10678681"/>
              <a:gd name="connsiteY144" fmla="*/ 1319217 h 1357700"/>
              <a:gd name="connsiteX145" fmla="*/ 54250 w 10678681"/>
              <a:gd name="connsiteY145" fmla="*/ 1315838 h 1357700"/>
              <a:gd name="connsiteX146" fmla="*/ 28042 w 10678681"/>
              <a:gd name="connsiteY146" fmla="*/ 1297822 h 1357700"/>
              <a:gd name="connsiteX147" fmla="*/ 0 w 10678681"/>
              <a:gd name="connsiteY147" fmla="*/ 1294612 h 1357700"/>
              <a:gd name="connsiteX148" fmla="*/ 0 w 10678681"/>
              <a:gd name="connsiteY148"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64639 w 10678681"/>
              <a:gd name="connsiteY65" fmla="*/ 1017831 h 1357700"/>
              <a:gd name="connsiteX66" fmla="*/ 6437450 w 10678681"/>
              <a:gd name="connsiteY66" fmla="*/ 1101075 h 1357700"/>
              <a:gd name="connsiteX67" fmla="*/ 6327795 w 10678681"/>
              <a:gd name="connsiteY67" fmla="*/ 1088142 h 1357700"/>
              <a:gd name="connsiteX68" fmla="*/ 6136549 w 10678681"/>
              <a:gd name="connsiteY68" fmla="*/ 1100268 h 1357700"/>
              <a:gd name="connsiteX69" fmla="*/ 6004655 w 10678681"/>
              <a:gd name="connsiteY69" fmla="*/ 1114946 h 1357700"/>
              <a:gd name="connsiteX70" fmla="*/ 5936643 w 10678681"/>
              <a:gd name="connsiteY70" fmla="*/ 1095428 h 1357700"/>
              <a:gd name="connsiteX71" fmla="*/ 5912484 w 10678681"/>
              <a:gd name="connsiteY71" fmla="*/ 1112624 h 1357700"/>
              <a:gd name="connsiteX72" fmla="*/ 5908387 w 10678681"/>
              <a:gd name="connsiteY72" fmla="*/ 1116018 h 1357700"/>
              <a:gd name="connsiteX73" fmla="*/ 5890495 w 10678681"/>
              <a:gd name="connsiteY73" fmla="*/ 1120268 h 1357700"/>
              <a:gd name="connsiteX74" fmla="*/ 5887318 w 10678681"/>
              <a:gd name="connsiteY74" fmla="*/ 1133134 h 1357700"/>
              <a:gd name="connsiteX75" fmla="*/ 5861726 w 10678681"/>
              <a:gd name="connsiteY75" fmla="*/ 1147891 h 1357700"/>
              <a:gd name="connsiteX76" fmla="*/ 5805823 w 10678681"/>
              <a:gd name="connsiteY76" fmla="*/ 1152457 h 1357700"/>
              <a:gd name="connsiteX77" fmla="*/ 5689841 w 10678681"/>
              <a:gd name="connsiteY77" fmla="*/ 1176232 h 1357700"/>
              <a:gd name="connsiteX78" fmla="*/ 5605119 w 10678681"/>
              <a:gd name="connsiteY78" fmla="*/ 1190202 h 1357700"/>
              <a:gd name="connsiteX79" fmla="*/ 5488513 w 10678681"/>
              <a:gd name="connsiteY79" fmla="*/ 1205367 h 1357700"/>
              <a:gd name="connsiteX80" fmla="*/ 5402905 w 10678681"/>
              <a:gd name="connsiteY80" fmla="*/ 1241191 h 1357700"/>
              <a:gd name="connsiteX81" fmla="*/ 5285593 w 10678681"/>
              <a:gd name="connsiteY81" fmla="*/ 1273569 h 1357700"/>
              <a:gd name="connsiteX82" fmla="*/ 5192893 w 10678681"/>
              <a:gd name="connsiteY82" fmla="*/ 1247188 h 1357700"/>
              <a:gd name="connsiteX83" fmla="*/ 5186475 w 10678681"/>
              <a:gd name="connsiteY83" fmla="*/ 1257028 h 1357700"/>
              <a:gd name="connsiteX84" fmla="*/ 5126038 w 10678681"/>
              <a:gd name="connsiteY84" fmla="*/ 1263189 h 1357700"/>
              <a:gd name="connsiteX85" fmla="*/ 4894688 w 10678681"/>
              <a:gd name="connsiteY85" fmla="*/ 1247184 h 1357700"/>
              <a:gd name="connsiteX86" fmla="*/ 4788036 w 10678681"/>
              <a:gd name="connsiteY86" fmla="*/ 1238182 h 1357700"/>
              <a:gd name="connsiteX87" fmla="*/ 4747555 w 10678681"/>
              <a:gd name="connsiteY87" fmla="*/ 1252768 h 1357700"/>
              <a:gd name="connsiteX88" fmla="*/ 4679644 w 10678681"/>
              <a:gd name="connsiteY88" fmla="*/ 1276603 h 1357700"/>
              <a:gd name="connsiteX89" fmla="*/ 4632222 w 10678681"/>
              <a:gd name="connsiteY89" fmla="*/ 1318360 h 1357700"/>
              <a:gd name="connsiteX90" fmla="*/ 4617358 w 10678681"/>
              <a:gd name="connsiteY90" fmla="*/ 1327690 h 1357700"/>
              <a:gd name="connsiteX91" fmla="*/ 4589102 w 10678681"/>
              <a:gd name="connsiteY91" fmla="*/ 1321223 h 1357700"/>
              <a:gd name="connsiteX92" fmla="*/ 4578184 w 10678681"/>
              <a:gd name="connsiteY92" fmla="*/ 1326745 h 1357700"/>
              <a:gd name="connsiteX93" fmla="*/ 4574270 w 10678681"/>
              <a:gd name="connsiteY93" fmla="*/ 1325878 h 1357700"/>
              <a:gd name="connsiteX94" fmla="*/ 4564919 w 10678681"/>
              <a:gd name="connsiteY94" fmla="*/ 1325507 h 1357700"/>
              <a:gd name="connsiteX95" fmla="*/ 4566586 w 10678681"/>
              <a:gd name="connsiteY95" fmla="*/ 1316963 h 1357700"/>
              <a:gd name="connsiteX96" fmla="*/ 4556303 w 10678681"/>
              <a:gd name="connsiteY96" fmla="*/ 1300262 h 1357700"/>
              <a:gd name="connsiteX97" fmla="*/ 4502358 w 10678681"/>
              <a:gd name="connsiteY97" fmla="*/ 1302558 h 1357700"/>
              <a:gd name="connsiteX98" fmla="*/ 4498919 w 10678681"/>
              <a:gd name="connsiteY98" fmla="*/ 1312115 h 1357700"/>
              <a:gd name="connsiteX99" fmla="*/ 4492075 w 10678681"/>
              <a:gd name="connsiteY99" fmla="*/ 1313357 h 1357700"/>
              <a:gd name="connsiteX100" fmla="*/ 4487466 w 10678681"/>
              <a:gd name="connsiteY100" fmla="*/ 1304102 h 1357700"/>
              <a:gd name="connsiteX101" fmla="*/ 4398292 w 10678681"/>
              <a:gd name="connsiteY101" fmla="*/ 1278410 h 1357700"/>
              <a:gd name="connsiteX102" fmla="*/ 4306088 w 10678681"/>
              <a:gd name="connsiteY102" fmla="*/ 1282512 h 1357700"/>
              <a:gd name="connsiteX103" fmla="*/ 4188995 w 10678681"/>
              <a:gd name="connsiteY103" fmla="*/ 1296718 h 1357700"/>
              <a:gd name="connsiteX104" fmla="*/ 4136582 w 10678681"/>
              <a:gd name="connsiteY104" fmla="*/ 1287687 h 1357700"/>
              <a:gd name="connsiteX105" fmla="*/ 4064614 w 10678681"/>
              <a:gd name="connsiteY105" fmla="*/ 1296118 h 1357700"/>
              <a:gd name="connsiteX106" fmla="*/ 3906561 w 10678681"/>
              <a:gd name="connsiteY106" fmla="*/ 1352435 h 1357700"/>
              <a:gd name="connsiteX107" fmla="*/ 3787890 w 10678681"/>
              <a:gd name="connsiteY107" fmla="*/ 1352442 h 1357700"/>
              <a:gd name="connsiteX108" fmla="*/ 3745993 w 10678681"/>
              <a:gd name="connsiteY108" fmla="*/ 1342630 h 1357700"/>
              <a:gd name="connsiteX109" fmla="*/ 3675785 w 10678681"/>
              <a:gd name="connsiteY109" fmla="*/ 1326802 h 1357700"/>
              <a:gd name="connsiteX110" fmla="*/ 3623856 w 10678681"/>
              <a:gd name="connsiteY110" fmla="*/ 1290804 h 1357700"/>
              <a:gd name="connsiteX111" fmla="*/ 3564933 w 10678681"/>
              <a:gd name="connsiteY111" fmla="*/ 1287147 h 1357700"/>
              <a:gd name="connsiteX112" fmla="*/ 3550537 w 10678681"/>
              <a:gd name="connsiteY112" fmla="*/ 1317552 h 1357700"/>
              <a:gd name="connsiteX113" fmla="*/ 3487736 w 10678681"/>
              <a:gd name="connsiteY113" fmla="*/ 1303493 h 1357700"/>
              <a:gd name="connsiteX114" fmla="*/ 3392548 w 10678681"/>
              <a:gd name="connsiteY114" fmla="*/ 1278741 h 1357700"/>
              <a:gd name="connsiteX115" fmla="*/ 3337466 w 10678681"/>
              <a:gd name="connsiteY115" fmla="*/ 1272537 h 1357700"/>
              <a:gd name="connsiteX116" fmla="*/ 3187206 w 10678681"/>
              <a:gd name="connsiteY116" fmla="*/ 1246821 h 1357700"/>
              <a:gd name="connsiteX117" fmla="*/ 3036856 w 10678681"/>
              <a:gd name="connsiteY117" fmla="*/ 1214383 h 1357700"/>
              <a:gd name="connsiteX118" fmla="*/ 2948654 w 10678681"/>
              <a:gd name="connsiteY118" fmla="*/ 1157455 h 1357700"/>
              <a:gd name="connsiteX119" fmla="*/ 2824973 w 10678681"/>
              <a:gd name="connsiteY119" fmla="*/ 1134864 h 1357700"/>
              <a:gd name="connsiteX120" fmla="*/ 2804398 w 10678681"/>
              <a:gd name="connsiteY120" fmla="*/ 1125556 h 1357700"/>
              <a:gd name="connsiteX121" fmla="*/ 2775396 w 10678681"/>
              <a:gd name="connsiteY121" fmla="*/ 1130148 h 1357700"/>
              <a:gd name="connsiteX122" fmla="*/ 2659096 w 10678681"/>
              <a:gd name="connsiteY122" fmla="*/ 1150294 h 1357700"/>
              <a:gd name="connsiteX123" fmla="*/ 2567088 w 10678681"/>
              <a:gd name="connsiteY123" fmla="*/ 1181781 h 1357700"/>
              <a:gd name="connsiteX124" fmla="*/ 2454501 w 10678681"/>
              <a:gd name="connsiteY124" fmla="*/ 1155455 h 1357700"/>
              <a:gd name="connsiteX125" fmla="*/ 2385161 w 10678681"/>
              <a:gd name="connsiteY125" fmla="*/ 1161312 h 1357700"/>
              <a:gd name="connsiteX126" fmla="*/ 2270528 w 10678681"/>
              <a:gd name="connsiteY126" fmla="*/ 1204338 h 1357700"/>
              <a:gd name="connsiteX127" fmla="*/ 2121820 w 10678681"/>
              <a:gd name="connsiteY127" fmla="*/ 1187078 h 1357700"/>
              <a:gd name="connsiteX128" fmla="*/ 2092716 w 10678681"/>
              <a:gd name="connsiteY128" fmla="*/ 1139224 h 1357700"/>
              <a:gd name="connsiteX129" fmla="*/ 2052449 w 10678681"/>
              <a:gd name="connsiteY129" fmla="*/ 1109687 h 1357700"/>
              <a:gd name="connsiteX130" fmla="*/ 2032607 w 10678681"/>
              <a:gd name="connsiteY130" fmla="*/ 1175477 h 1357700"/>
              <a:gd name="connsiteX131" fmla="*/ 1901837 w 10678681"/>
              <a:gd name="connsiteY131" fmla="*/ 1221762 h 1357700"/>
              <a:gd name="connsiteX132" fmla="*/ 1836762 w 10678681"/>
              <a:gd name="connsiteY132" fmla="*/ 1237387 h 1357700"/>
              <a:gd name="connsiteX133" fmla="*/ 1735877 w 10678681"/>
              <a:gd name="connsiteY133" fmla="*/ 1246527 h 1357700"/>
              <a:gd name="connsiteX134" fmla="*/ 1705069 w 10678681"/>
              <a:gd name="connsiteY134" fmla="*/ 1251989 h 1357700"/>
              <a:gd name="connsiteX135" fmla="*/ 1397689 w 10678681"/>
              <a:gd name="connsiteY135" fmla="*/ 1336144 h 1357700"/>
              <a:gd name="connsiteX136" fmla="*/ 1220734 w 10678681"/>
              <a:gd name="connsiteY136" fmla="*/ 1257811 h 1357700"/>
              <a:gd name="connsiteX137" fmla="*/ 1021737 w 10678681"/>
              <a:gd name="connsiteY137" fmla="*/ 1238739 h 1357700"/>
              <a:gd name="connsiteX138" fmla="*/ 959820 w 10678681"/>
              <a:gd name="connsiteY138" fmla="*/ 1275863 h 1357700"/>
              <a:gd name="connsiteX139" fmla="*/ 929137 w 10678681"/>
              <a:gd name="connsiteY139" fmla="*/ 1273957 h 1357700"/>
              <a:gd name="connsiteX140" fmla="*/ 878849 w 10678681"/>
              <a:gd name="connsiteY140" fmla="*/ 1266740 h 1357700"/>
              <a:gd name="connsiteX141" fmla="*/ 800667 w 10678681"/>
              <a:gd name="connsiteY141" fmla="*/ 1282041 h 1357700"/>
              <a:gd name="connsiteX142" fmla="*/ 644906 w 10678681"/>
              <a:gd name="connsiteY142" fmla="*/ 1273685 h 1357700"/>
              <a:gd name="connsiteX143" fmla="*/ 379869 w 10678681"/>
              <a:gd name="connsiteY143" fmla="*/ 1339165 h 1357700"/>
              <a:gd name="connsiteX144" fmla="*/ 137696 w 10678681"/>
              <a:gd name="connsiteY144" fmla="*/ 1319217 h 1357700"/>
              <a:gd name="connsiteX145" fmla="*/ 54250 w 10678681"/>
              <a:gd name="connsiteY145" fmla="*/ 1315838 h 1357700"/>
              <a:gd name="connsiteX146" fmla="*/ 28042 w 10678681"/>
              <a:gd name="connsiteY146" fmla="*/ 1297822 h 1357700"/>
              <a:gd name="connsiteX147" fmla="*/ 0 w 10678681"/>
              <a:gd name="connsiteY147" fmla="*/ 1294612 h 1357700"/>
              <a:gd name="connsiteX148" fmla="*/ 0 w 10678681"/>
              <a:gd name="connsiteY148"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64639 w 10678681"/>
              <a:gd name="connsiteY65" fmla="*/ 1017831 h 1357700"/>
              <a:gd name="connsiteX66" fmla="*/ 6437450 w 10678681"/>
              <a:gd name="connsiteY66" fmla="*/ 1101075 h 1357700"/>
              <a:gd name="connsiteX67" fmla="*/ 6327795 w 10678681"/>
              <a:gd name="connsiteY67" fmla="*/ 1088142 h 1357700"/>
              <a:gd name="connsiteX68" fmla="*/ 6136549 w 10678681"/>
              <a:gd name="connsiteY68" fmla="*/ 1100268 h 1357700"/>
              <a:gd name="connsiteX69" fmla="*/ 6004655 w 10678681"/>
              <a:gd name="connsiteY69" fmla="*/ 1114946 h 1357700"/>
              <a:gd name="connsiteX70" fmla="*/ 5936643 w 10678681"/>
              <a:gd name="connsiteY70" fmla="*/ 1095428 h 1357700"/>
              <a:gd name="connsiteX71" fmla="*/ 5912484 w 10678681"/>
              <a:gd name="connsiteY71" fmla="*/ 1112624 h 1357700"/>
              <a:gd name="connsiteX72" fmla="*/ 5908387 w 10678681"/>
              <a:gd name="connsiteY72" fmla="*/ 1116018 h 1357700"/>
              <a:gd name="connsiteX73" fmla="*/ 5890495 w 10678681"/>
              <a:gd name="connsiteY73" fmla="*/ 1120268 h 1357700"/>
              <a:gd name="connsiteX74" fmla="*/ 5887318 w 10678681"/>
              <a:gd name="connsiteY74" fmla="*/ 1133134 h 1357700"/>
              <a:gd name="connsiteX75" fmla="*/ 5861726 w 10678681"/>
              <a:gd name="connsiteY75" fmla="*/ 1147891 h 1357700"/>
              <a:gd name="connsiteX76" fmla="*/ 5805823 w 10678681"/>
              <a:gd name="connsiteY76" fmla="*/ 1152457 h 1357700"/>
              <a:gd name="connsiteX77" fmla="*/ 5689841 w 10678681"/>
              <a:gd name="connsiteY77" fmla="*/ 1176232 h 1357700"/>
              <a:gd name="connsiteX78" fmla="*/ 5605119 w 10678681"/>
              <a:gd name="connsiteY78" fmla="*/ 1190202 h 1357700"/>
              <a:gd name="connsiteX79" fmla="*/ 5488513 w 10678681"/>
              <a:gd name="connsiteY79" fmla="*/ 1205367 h 1357700"/>
              <a:gd name="connsiteX80" fmla="*/ 5402905 w 10678681"/>
              <a:gd name="connsiteY80" fmla="*/ 1241191 h 1357700"/>
              <a:gd name="connsiteX81" fmla="*/ 5285593 w 10678681"/>
              <a:gd name="connsiteY81" fmla="*/ 1273569 h 1357700"/>
              <a:gd name="connsiteX82" fmla="*/ 5192893 w 10678681"/>
              <a:gd name="connsiteY82" fmla="*/ 1247188 h 1357700"/>
              <a:gd name="connsiteX83" fmla="*/ 5186475 w 10678681"/>
              <a:gd name="connsiteY83" fmla="*/ 1257028 h 1357700"/>
              <a:gd name="connsiteX84" fmla="*/ 5126038 w 10678681"/>
              <a:gd name="connsiteY84" fmla="*/ 1263189 h 1357700"/>
              <a:gd name="connsiteX85" fmla="*/ 4894688 w 10678681"/>
              <a:gd name="connsiteY85" fmla="*/ 1247184 h 1357700"/>
              <a:gd name="connsiteX86" fmla="*/ 4788036 w 10678681"/>
              <a:gd name="connsiteY86" fmla="*/ 1238182 h 1357700"/>
              <a:gd name="connsiteX87" fmla="*/ 4747555 w 10678681"/>
              <a:gd name="connsiteY87" fmla="*/ 1252768 h 1357700"/>
              <a:gd name="connsiteX88" fmla="*/ 4679644 w 10678681"/>
              <a:gd name="connsiteY88" fmla="*/ 1276603 h 1357700"/>
              <a:gd name="connsiteX89" fmla="*/ 4632222 w 10678681"/>
              <a:gd name="connsiteY89" fmla="*/ 1318360 h 1357700"/>
              <a:gd name="connsiteX90" fmla="*/ 4617358 w 10678681"/>
              <a:gd name="connsiteY90" fmla="*/ 1327690 h 1357700"/>
              <a:gd name="connsiteX91" fmla="*/ 4589102 w 10678681"/>
              <a:gd name="connsiteY91" fmla="*/ 1321223 h 1357700"/>
              <a:gd name="connsiteX92" fmla="*/ 4578184 w 10678681"/>
              <a:gd name="connsiteY92" fmla="*/ 1326745 h 1357700"/>
              <a:gd name="connsiteX93" fmla="*/ 4574270 w 10678681"/>
              <a:gd name="connsiteY93" fmla="*/ 1325878 h 1357700"/>
              <a:gd name="connsiteX94" fmla="*/ 4564919 w 10678681"/>
              <a:gd name="connsiteY94" fmla="*/ 1325507 h 1357700"/>
              <a:gd name="connsiteX95" fmla="*/ 4566586 w 10678681"/>
              <a:gd name="connsiteY95" fmla="*/ 1316963 h 1357700"/>
              <a:gd name="connsiteX96" fmla="*/ 4556303 w 10678681"/>
              <a:gd name="connsiteY96" fmla="*/ 1300262 h 1357700"/>
              <a:gd name="connsiteX97" fmla="*/ 4502358 w 10678681"/>
              <a:gd name="connsiteY97" fmla="*/ 1302558 h 1357700"/>
              <a:gd name="connsiteX98" fmla="*/ 4498919 w 10678681"/>
              <a:gd name="connsiteY98" fmla="*/ 1312115 h 1357700"/>
              <a:gd name="connsiteX99" fmla="*/ 4492075 w 10678681"/>
              <a:gd name="connsiteY99" fmla="*/ 1313357 h 1357700"/>
              <a:gd name="connsiteX100" fmla="*/ 4487466 w 10678681"/>
              <a:gd name="connsiteY100" fmla="*/ 1304102 h 1357700"/>
              <a:gd name="connsiteX101" fmla="*/ 4398292 w 10678681"/>
              <a:gd name="connsiteY101" fmla="*/ 1278410 h 1357700"/>
              <a:gd name="connsiteX102" fmla="*/ 4306088 w 10678681"/>
              <a:gd name="connsiteY102" fmla="*/ 1282512 h 1357700"/>
              <a:gd name="connsiteX103" fmla="*/ 4188995 w 10678681"/>
              <a:gd name="connsiteY103" fmla="*/ 1296718 h 1357700"/>
              <a:gd name="connsiteX104" fmla="*/ 4136582 w 10678681"/>
              <a:gd name="connsiteY104" fmla="*/ 1287687 h 1357700"/>
              <a:gd name="connsiteX105" fmla="*/ 4064614 w 10678681"/>
              <a:gd name="connsiteY105" fmla="*/ 1296118 h 1357700"/>
              <a:gd name="connsiteX106" fmla="*/ 3906561 w 10678681"/>
              <a:gd name="connsiteY106" fmla="*/ 1352435 h 1357700"/>
              <a:gd name="connsiteX107" fmla="*/ 3787890 w 10678681"/>
              <a:gd name="connsiteY107" fmla="*/ 1352442 h 1357700"/>
              <a:gd name="connsiteX108" fmla="*/ 3745993 w 10678681"/>
              <a:gd name="connsiteY108" fmla="*/ 1342630 h 1357700"/>
              <a:gd name="connsiteX109" fmla="*/ 3675785 w 10678681"/>
              <a:gd name="connsiteY109" fmla="*/ 1326802 h 1357700"/>
              <a:gd name="connsiteX110" fmla="*/ 3623856 w 10678681"/>
              <a:gd name="connsiteY110" fmla="*/ 1290804 h 1357700"/>
              <a:gd name="connsiteX111" fmla="*/ 3564933 w 10678681"/>
              <a:gd name="connsiteY111" fmla="*/ 1287147 h 1357700"/>
              <a:gd name="connsiteX112" fmla="*/ 3550537 w 10678681"/>
              <a:gd name="connsiteY112" fmla="*/ 1317552 h 1357700"/>
              <a:gd name="connsiteX113" fmla="*/ 3487736 w 10678681"/>
              <a:gd name="connsiteY113" fmla="*/ 1303493 h 1357700"/>
              <a:gd name="connsiteX114" fmla="*/ 3392548 w 10678681"/>
              <a:gd name="connsiteY114" fmla="*/ 1278741 h 1357700"/>
              <a:gd name="connsiteX115" fmla="*/ 3337466 w 10678681"/>
              <a:gd name="connsiteY115" fmla="*/ 1272537 h 1357700"/>
              <a:gd name="connsiteX116" fmla="*/ 3187206 w 10678681"/>
              <a:gd name="connsiteY116" fmla="*/ 1246821 h 1357700"/>
              <a:gd name="connsiteX117" fmla="*/ 3036856 w 10678681"/>
              <a:gd name="connsiteY117" fmla="*/ 1214383 h 1357700"/>
              <a:gd name="connsiteX118" fmla="*/ 2948654 w 10678681"/>
              <a:gd name="connsiteY118" fmla="*/ 1157455 h 1357700"/>
              <a:gd name="connsiteX119" fmla="*/ 2824973 w 10678681"/>
              <a:gd name="connsiteY119" fmla="*/ 1134864 h 1357700"/>
              <a:gd name="connsiteX120" fmla="*/ 2804398 w 10678681"/>
              <a:gd name="connsiteY120" fmla="*/ 1125556 h 1357700"/>
              <a:gd name="connsiteX121" fmla="*/ 2775396 w 10678681"/>
              <a:gd name="connsiteY121" fmla="*/ 1130148 h 1357700"/>
              <a:gd name="connsiteX122" fmla="*/ 2659096 w 10678681"/>
              <a:gd name="connsiteY122" fmla="*/ 1150294 h 1357700"/>
              <a:gd name="connsiteX123" fmla="*/ 2567088 w 10678681"/>
              <a:gd name="connsiteY123" fmla="*/ 1181781 h 1357700"/>
              <a:gd name="connsiteX124" fmla="*/ 2454501 w 10678681"/>
              <a:gd name="connsiteY124" fmla="*/ 1155455 h 1357700"/>
              <a:gd name="connsiteX125" fmla="*/ 2385161 w 10678681"/>
              <a:gd name="connsiteY125" fmla="*/ 1161312 h 1357700"/>
              <a:gd name="connsiteX126" fmla="*/ 2270528 w 10678681"/>
              <a:gd name="connsiteY126" fmla="*/ 1204338 h 1357700"/>
              <a:gd name="connsiteX127" fmla="*/ 2121820 w 10678681"/>
              <a:gd name="connsiteY127" fmla="*/ 1187078 h 1357700"/>
              <a:gd name="connsiteX128" fmla="*/ 2092716 w 10678681"/>
              <a:gd name="connsiteY128" fmla="*/ 1139224 h 1357700"/>
              <a:gd name="connsiteX129" fmla="*/ 2052449 w 10678681"/>
              <a:gd name="connsiteY129" fmla="*/ 1109687 h 1357700"/>
              <a:gd name="connsiteX130" fmla="*/ 2032607 w 10678681"/>
              <a:gd name="connsiteY130" fmla="*/ 1175477 h 1357700"/>
              <a:gd name="connsiteX131" fmla="*/ 1901837 w 10678681"/>
              <a:gd name="connsiteY131" fmla="*/ 1221762 h 1357700"/>
              <a:gd name="connsiteX132" fmla="*/ 1836762 w 10678681"/>
              <a:gd name="connsiteY132" fmla="*/ 1237387 h 1357700"/>
              <a:gd name="connsiteX133" fmla="*/ 1735877 w 10678681"/>
              <a:gd name="connsiteY133" fmla="*/ 1246527 h 1357700"/>
              <a:gd name="connsiteX134" fmla="*/ 1705069 w 10678681"/>
              <a:gd name="connsiteY134" fmla="*/ 1251989 h 1357700"/>
              <a:gd name="connsiteX135" fmla="*/ 1397689 w 10678681"/>
              <a:gd name="connsiteY135" fmla="*/ 1336144 h 1357700"/>
              <a:gd name="connsiteX136" fmla="*/ 1220734 w 10678681"/>
              <a:gd name="connsiteY136" fmla="*/ 1257811 h 1357700"/>
              <a:gd name="connsiteX137" fmla="*/ 1021737 w 10678681"/>
              <a:gd name="connsiteY137" fmla="*/ 1238739 h 1357700"/>
              <a:gd name="connsiteX138" fmla="*/ 959820 w 10678681"/>
              <a:gd name="connsiteY138" fmla="*/ 1275863 h 1357700"/>
              <a:gd name="connsiteX139" fmla="*/ 929137 w 10678681"/>
              <a:gd name="connsiteY139" fmla="*/ 1273957 h 1357700"/>
              <a:gd name="connsiteX140" fmla="*/ 878849 w 10678681"/>
              <a:gd name="connsiteY140" fmla="*/ 1266740 h 1357700"/>
              <a:gd name="connsiteX141" fmla="*/ 800667 w 10678681"/>
              <a:gd name="connsiteY141" fmla="*/ 1282041 h 1357700"/>
              <a:gd name="connsiteX142" fmla="*/ 644906 w 10678681"/>
              <a:gd name="connsiteY142" fmla="*/ 1273685 h 1357700"/>
              <a:gd name="connsiteX143" fmla="*/ 379869 w 10678681"/>
              <a:gd name="connsiteY143" fmla="*/ 1339165 h 1357700"/>
              <a:gd name="connsiteX144" fmla="*/ 137696 w 10678681"/>
              <a:gd name="connsiteY144" fmla="*/ 1319217 h 1357700"/>
              <a:gd name="connsiteX145" fmla="*/ 54250 w 10678681"/>
              <a:gd name="connsiteY145" fmla="*/ 1315838 h 1357700"/>
              <a:gd name="connsiteX146" fmla="*/ 28042 w 10678681"/>
              <a:gd name="connsiteY146" fmla="*/ 1297822 h 1357700"/>
              <a:gd name="connsiteX147" fmla="*/ 0 w 10678681"/>
              <a:gd name="connsiteY147" fmla="*/ 1294612 h 1357700"/>
              <a:gd name="connsiteX148" fmla="*/ 0 w 10678681"/>
              <a:gd name="connsiteY148"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82280 w 10678681"/>
              <a:gd name="connsiteY38" fmla="*/ 712868 h 1357700"/>
              <a:gd name="connsiteX39" fmla="*/ 7730518 w 10678681"/>
              <a:gd name="connsiteY39" fmla="*/ 739526 h 1357700"/>
              <a:gd name="connsiteX40" fmla="*/ 7652907 w 10678681"/>
              <a:gd name="connsiteY40" fmla="*/ 783273 h 1357700"/>
              <a:gd name="connsiteX41" fmla="*/ 7606008 w 10678681"/>
              <a:gd name="connsiteY41" fmla="*/ 800717 h 1357700"/>
              <a:gd name="connsiteX42" fmla="*/ 7480223 w 10678681"/>
              <a:gd name="connsiteY42" fmla="*/ 856821 h 1357700"/>
              <a:gd name="connsiteX43" fmla="*/ 7356005 w 10678681"/>
              <a:gd name="connsiteY43" fmla="*/ 919462 h 1357700"/>
              <a:gd name="connsiteX44" fmla="*/ 7305396 w 10678681"/>
              <a:gd name="connsiteY44" fmla="*/ 986228 h 1357700"/>
              <a:gd name="connsiteX45" fmla="*/ 7298314 w 10678681"/>
              <a:gd name="connsiteY45" fmla="*/ 989899 h 1357700"/>
              <a:gd name="connsiteX46" fmla="*/ 7277477 w 10678681"/>
              <a:gd name="connsiteY46" fmla="*/ 990571 h 1357700"/>
              <a:gd name="connsiteX47" fmla="*/ 7269396 w 10678681"/>
              <a:gd name="connsiteY47" fmla="*/ 989282 h 1357700"/>
              <a:gd name="connsiteX48" fmla="*/ 7258094 w 10678681"/>
              <a:gd name="connsiteY48" fmla="*/ 990679 h 1357700"/>
              <a:gd name="connsiteX49" fmla="*/ 7257893 w 10678681"/>
              <a:gd name="connsiteY49" fmla="*/ 991204 h 1357700"/>
              <a:gd name="connsiteX50" fmla="*/ 7247153 w 10678681"/>
              <a:gd name="connsiteY50" fmla="*/ 991550 h 1357700"/>
              <a:gd name="connsiteX51" fmla="*/ 7193612 w 10678681"/>
              <a:gd name="connsiteY51" fmla="*/ 987042 h 1357700"/>
              <a:gd name="connsiteX52" fmla="*/ 7132632 w 10678681"/>
              <a:gd name="connsiteY52" fmla="*/ 1042036 h 1357700"/>
              <a:gd name="connsiteX53" fmla="*/ 7105610 w 10678681"/>
              <a:gd name="connsiteY53" fmla="*/ 1053537 h 1357700"/>
              <a:gd name="connsiteX54" fmla="*/ 7091599 w 10678681"/>
              <a:gd name="connsiteY54" fmla="*/ 1062302 h 1357700"/>
              <a:gd name="connsiteX55" fmla="*/ 7090998 w 10678681"/>
              <a:gd name="connsiteY55" fmla="*/ 1064540 h 1357700"/>
              <a:gd name="connsiteX56" fmla="*/ 7039634 w 10678681"/>
              <a:gd name="connsiteY56" fmla="*/ 1059971 h 1357700"/>
              <a:gd name="connsiteX57" fmla="*/ 7033445 w 10678681"/>
              <a:gd name="connsiteY57" fmla="*/ 1063314 h 1357700"/>
              <a:gd name="connsiteX58" fmla="*/ 6999157 w 10678681"/>
              <a:gd name="connsiteY58" fmla="*/ 1055282 h 1357700"/>
              <a:gd name="connsiteX59" fmla="*/ 6981874 w 10678681"/>
              <a:gd name="connsiteY59" fmla="*/ 1053827 h 1357700"/>
              <a:gd name="connsiteX60" fmla="*/ 6976102 w 10678681"/>
              <a:gd name="connsiteY60" fmla="*/ 1047854 h 1357700"/>
              <a:gd name="connsiteX61" fmla="*/ 6951040 w 10678681"/>
              <a:gd name="connsiteY61" fmla="*/ 1048531 h 1357700"/>
              <a:gd name="connsiteX62" fmla="*/ 6948497 w 10678681"/>
              <a:gd name="connsiteY62" fmla="*/ 1050706 h 1357700"/>
              <a:gd name="connsiteX63" fmla="*/ 6926582 w 10678681"/>
              <a:gd name="connsiteY63" fmla="*/ 1043462 h 1357700"/>
              <a:gd name="connsiteX64" fmla="*/ 6833743 w 10678681"/>
              <a:gd name="connsiteY64" fmla="*/ 1027960 h 1357700"/>
              <a:gd name="connsiteX65" fmla="*/ 6687090 w 10678681"/>
              <a:gd name="connsiteY65" fmla="*/ 1063250 h 1357700"/>
              <a:gd name="connsiteX66" fmla="*/ 6437450 w 10678681"/>
              <a:gd name="connsiteY66" fmla="*/ 1101075 h 1357700"/>
              <a:gd name="connsiteX67" fmla="*/ 6327795 w 10678681"/>
              <a:gd name="connsiteY67" fmla="*/ 1088142 h 1357700"/>
              <a:gd name="connsiteX68" fmla="*/ 6136549 w 10678681"/>
              <a:gd name="connsiteY68" fmla="*/ 1100268 h 1357700"/>
              <a:gd name="connsiteX69" fmla="*/ 6004655 w 10678681"/>
              <a:gd name="connsiteY69" fmla="*/ 1114946 h 1357700"/>
              <a:gd name="connsiteX70" fmla="*/ 5936643 w 10678681"/>
              <a:gd name="connsiteY70" fmla="*/ 1095428 h 1357700"/>
              <a:gd name="connsiteX71" fmla="*/ 5912484 w 10678681"/>
              <a:gd name="connsiteY71" fmla="*/ 1112624 h 1357700"/>
              <a:gd name="connsiteX72" fmla="*/ 5908387 w 10678681"/>
              <a:gd name="connsiteY72" fmla="*/ 1116018 h 1357700"/>
              <a:gd name="connsiteX73" fmla="*/ 5890495 w 10678681"/>
              <a:gd name="connsiteY73" fmla="*/ 1120268 h 1357700"/>
              <a:gd name="connsiteX74" fmla="*/ 5887318 w 10678681"/>
              <a:gd name="connsiteY74" fmla="*/ 1133134 h 1357700"/>
              <a:gd name="connsiteX75" fmla="*/ 5861726 w 10678681"/>
              <a:gd name="connsiteY75" fmla="*/ 1147891 h 1357700"/>
              <a:gd name="connsiteX76" fmla="*/ 5805823 w 10678681"/>
              <a:gd name="connsiteY76" fmla="*/ 1152457 h 1357700"/>
              <a:gd name="connsiteX77" fmla="*/ 5689841 w 10678681"/>
              <a:gd name="connsiteY77" fmla="*/ 1176232 h 1357700"/>
              <a:gd name="connsiteX78" fmla="*/ 5605119 w 10678681"/>
              <a:gd name="connsiteY78" fmla="*/ 1190202 h 1357700"/>
              <a:gd name="connsiteX79" fmla="*/ 5488513 w 10678681"/>
              <a:gd name="connsiteY79" fmla="*/ 1205367 h 1357700"/>
              <a:gd name="connsiteX80" fmla="*/ 5402905 w 10678681"/>
              <a:gd name="connsiteY80" fmla="*/ 1241191 h 1357700"/>
              <a:gd name="connsiteX81" fmla="*/ 5285593 w 10678681"/>
              <a:gd name="connsiteY81" fmla="*/ 1273569 h 1357700"/>
              <a:gd name="connsiteX82" fmla="*/ 5192893 w 10678681"/>
              <a:gd name="connsiteY82" fmla="*/ 1247188 h 1357700"/>
              <a:gd name="connsiteX83" fmla="*/ 5186475 w 10678681"/>
              <a:gd name="connsiteY83" fmla="*/ 1257028 h 1357700"/>
              <a:gd name="connsiteX84" fmla="*/ 5126038 w 10678681"/>
              <a:gd name="connsiteY84" fmla="*/ 1263189 h 1357700"/>
              <a:gd name="connsiteX85" fmla="*/ 4894688 w 10678681"/>
              <a:gd name="connsiteY85" fmla="*/ 1247184 h 1357700"/>
              <a:gd name="connsiteX86" fmla="*/ 4788036 w 10678681"/>
              <a:gd name="connsiteY86" fmla="*/ 1238182 h 1357700"/>
              <a:gd name="connsiteX87" fmla="*/ 4747555 w 10678681"/>
              <a:gd name="connsiteY87" fmla="*/ 1252768 h 1357700"/>
              <a:gd name="connsiteX88" fmla="*/ 4679644 w 10678681"/>
              <a:gd name="connsiteY88" fmla="*/ 1276603 h 1357700"/>
              <a:gd name="connsiteX89" fmla="*/ 4632222 w 10678681"/>
              <a:gd name="connsiteY89" fmla="*/ 1318360 h 1357700"/>
              <a:gd name="connsiteX90" fmla="*/ 4617358 w 10678681"/>
              <a:gd name="connsiteY90" fmla="*/ 1327690 h 1357700"/>
              <a:gd name="connsiteX91" fmla="*/ 4589102 w 10678681"/>
              <a:gd name="connsiteY91" fmla="*/ 1321223 h 1357700"/>
              <a:gd name="connsiteX92" fmla="*/ 4578184 w 10678681"/>
              <a:gd name="connsiteY92" fmla="*/ 1326745 h 1357700"/>
              <a:gd name="connsiteX93" fmla="*/ 4574270 w 10678681"/>
              <a:gd name="connsiteY93" fmla="*/ 1325878 h 1357700"/>
              <a:gd name="connsiteX94" fmla="*/ 4564919 w 10678681"/>
              <a:gd name="connsiteY94" fmla="*/ 1325507 h 1357700"/>
              <a:gd name="connsiteX95" fmla="*/ 4566586 w 10678681"/>
              <a:gd name="connsiteY95" fmla="*/ 1316963 h 1357700"/>
              <a:gd name="connsiteX96" fmla="*/ 4556303 w 10678681"/>
              <a:gd name="connsiteY96" fmla="*/ 1300262 h 1357700"/>
              <a:gd name="connsiteX97" fmla="*/ 4502358 w 10678681"/>
              <a:gd name="connsiteY97" fmla="*/ 1302558 h 1357700"/>
              <a:gd name="connsiteX98" fmla="*/ 4498919 w 10678681"/>
              <a:gd name="connsiteY98" fmla="*/ 1312115 h 1357700"/>
              <a:gd name="connsiteX99" fmla="*/ 4492075 w 10678681"/>
              <a:gd name="connsiteY99" fmla="*/ 1313357 h 1357700"/>
              <a:gd name="connsiteX100" fmla="*/ 4487466 w 10678681"/>
              <a:gd name="connsiteY100" fmla="*/ 1304102 h 1357700"/>
              <a:gd name="connsiteX101" fmla="*/ 4398292 w 10678681"/>
              <a:gd name="connsiteY101" fmla="*/ 1278410 h 1357700"/>
              <a:gd name="connsiteX102" fmla="*/ 4306088 w 10678681"/>
              <a:gd name="connsiteY102" fmla="*/ 1282512 h 1357700"/>
              <a:gd name="connsiteX103" fmla="*/ 4188995 w 10678681"/>
              <a:gd name="connsiteY103" fmla="*/ 1296718 h 1357700"/>
              <a:gd name="connsiteX104" fmla="*/ 4136582 w 10678681"/>
              <a:gd name="connsiteY104" fmla="*/ 1287687 h 1357700"/>
              <a:gd name="connsiteX105" fmla="*/ 4064614 w 10678681"/>
              <a:gd name="connsiteY105" fmla="*/ 1296118 h 1357700"/>
              <a:gd name="connsiteX106" fmla="*/ 3906561 w 10678681"/>
              <a:gd name="connsiteY106" fmla="*/ 1352435 h 1357700"/>
              <a:gd name="connsiteX107" fmla="*/ 3787890 w 10678681"/>
              <a:gd name="connsiteY107" fmla="*/ 1352442 h 1357700"/>
              <a:gd name="connsiteX108" fmla="*/ 3745993 w 10678681"/>
              <a:gd name="connsiteY108" fmla="*/ 1342630 h 1357700"/>
              <a:gd name="connsiteX109" fmla="*/ 3675785 w 10678681"/>
              <a:gd name="connsiteY109" fmla="*/ 1326802 h 1357700"/>
              <a:gd name="connsiteX110" fmla="*/ 3623856 w 10678681"/>
              <a:gd name="connsiteY110" fmla="*/ 1290804 h 1357700"/>
              <a:gd name="connsiteX111" fmla="*/ 3564933 w 10678681"/>
              <a:gd name="connsiteY111" fmla="*/ 1287147 h 1357700"/>
              <a:gd name="connsiteX112" fmla="*/ 3550537 w 10678681"/>
              <a:gd name="connsiteY112" fmla="*/ 1317552 h 1357700"/>
              <a:gd name="connsiteX113" fmla="*/ 3487736 w 10678681"/>
              <a:gd name="connsiteY113" fmla="*/ 1303493 h 1357700"/>
              <a:gd name="connsiteX114" fmla="*/ 3392548 w 10678681"/>
              <a:gd name="connsiteY114" fmla="*/ 1278741 h 1357700"/>
              <a:gd name="connsiteX115" fmla="*/ 3337466 w 10678681"/>
              <a:gd name="connsiteY115" fmla="*/ 1272537 h 1357700"/>
              <a:gd name="connsiteX116" fmla="*/ 3187206 w 10678681"/>
              <a:gd name="connsiteY116" fmla="*/ 1246821 h 1357700"/>
              <a:gd name="connsiteX117" fmla="*/ 3036856 w 10678681"/>
              <a:gd name="connsiteY117" fmla="*/ 1214383 h 1357700"/>
              <a:gd name="connsiteX118" fmla="*/ 2948654 w 10678681"/>
              <a:gd name="connsiteY118" fmla="*/ 1157455 h 1357700"/>
              <a:gd name="connsiteX119" fmla="*/ 2824973 w 10678681"/>
              <a:gd name="connsiteY119" fmla="*/ 1134864 h 1357700"/>
              <a:gd name="connsiteX120" fmla="*/ 2804398 w 10678681"/>
              <a:gd name="connsiteY120" fmla="*/ 1125556 h 1357700"/>
              <a:gd name="connsiteX121" fmla="*/ 2775396 w 10678681"/>
              <a:gd name="connsiteY121" fmla="*/ 1130148 h 1357700"/>
              <a:gd name="connsiteX122" fmla="*/ 2659096 w 10678681"/>
              <a:gd name="connsiteY122" fmla="*/ 1150294 h 1357700"/>
              <a:gd name="connsiteX123" fmla="*/ 2567088 w 10678681"/>
              <a:gd name="connsiteY123" fmla="*/ 1181781 h 1357700"/>
              <a:gd name="connsiteX124" fmla="*/ 2454501 w 10678681"/>
              <a:gd name="connsiteY124" fmla="*/ 1155455 h 1357700"/>
              <a:gd name="connsiteX125" fmla="*/ 2385161 w 10678681"/>
              <a:gd name="connsiteY125" fmla="*/ 1161312 h 1357700"/>
              <a:gd name="connsiteX126" fmla="*/ 2270528 w 10678681"/>
              <a:gd name="connsiteY126" fmla="*/ 1204338 h 1357700"/>
              <a:gd name="connsiteX127" fmla="*/ 2121820 w 10678681"/>
              <a:gd name="connsiteY127" fmla="*/ 1187078 h 1357700"/>
              <a:gd name="connsiteX128" fmla="*/ 2092716 w 10678681"/>
              <a:gd name="connsiteY128" fmla="*/ 1139224 h 1357700"/>
              <a:gd name="connsiteX129" fmla="*/ 2052449 w 10678681"/>
              <a:gd name="connsiteY129" fmla="*/ 1109687 h 1357700"/>
              <a:gd name="connsiteX130" fmla="*/ 2032607 w 10678681"/>
              <a:gd name="connsiteY130" fmla="*/ 1175477 h 1357700"/>
              <a:gd name="connsiteX131" fmla="*/ 1901837 w 10678681"/>
              <a:gd name="connsiteY131" fmla="*/ 1221762 h 1357700"/>
              <a:gd name="connsiteX132" fmla="*/ 1836762 w 10678681"/>
              <a:gd name="connsiteY132" fmla="*/ 1237387 h 1357700"/>
              <a:gd name="connsiteX133" fmla="*/ 1735877 w 10678681"/>
              <a:gd name="connsiteY133" fmla="*/ 1246527 h 1357700"/>
              <a:gd name="connsiteX134" fmla="*/ 1705069 w 10678681"/>
              <a:gd name="connsiteY134" fmla="*/ 1251989 h 1357700"/>
              <a:gd name="connsiteX135" fmla="*/ 1397689 w 10678681"/>
              <a:gd name="connsiteY135" fmla="*/ 1336144 h 1357700"/>
              <a:gd name="connsiteX136" fmla="*/ 1220734 w 10678681"/>
              <a:gd name="connsiteY136" fmla="*/ 1257811 h 1357700"/>
              <a:gd name="connsiteX137" fmla="*/ 1021737 w 10678681"/>
              <a:gd name="connsiteY137" fmla="*/ 1238739 h 1357700"/>
              <a:gd name="connsiteX138" fmla="*/ 959820 w 10678681"/>
              <a:gd name="connsiteY138" fmla="*/ 1275863 h 1357700"/>
              <a:gd name="connsiteX139" fmla="*/ 929137 w 10678681"/>
              <a:gd name="connsiteY139" fmla="*/ 1273957 h 1357700"/>
              <a:gd name="connsiteX140" fmla="*/ 878849 w 10678681"/>
              <a:gd name="connsiteY140" fmla="*/ 1266740 h 1357700"/>
              <a:gd name="connsiteX141" fmla="*/ 800667 w 10678681"/>
              <a:gd name="connsiteY141" fmla="*/ 1282041 h 1357700"/>
              <a:gd name="connsiteX142" fmla="*/ 644906 w 10678681"/>
              <a:gd name="connsiteY142" fmla="*/ 1273685 h 1357700"/>
              <a:gd name="connsiteX143" fmla="*/ 379869 w 10678681"/>
              <a:gd name="connsiteY143" fmla="*/ 1339165 h 1357700"/>
              <a:gd name="connsiteX144" fmla="*/ 137696 w 10678681"/>
              <a:gd name="connsiteY144" fmla="*/ 1319217 h 1357700"/>
              <a:gd name="connsiteX145" fmla="*/ 54250 w 10678681"/>
              <a:gd name="connsiteY145" fmla="*/ 1315838 h 1357700"/>
              <a:gd name="connsiteX146" fmla="*/ 28042 w 10678681"/>
              <a:gd name="connsiteY146" fmla="*/ 1297822 h 1357700"/>
              <a:gd name="connsiteX147" fmla="*/ 0 w 10678681"/>
              <a:gd name="connsiteY147" fmla="*/ 1294612 h 1357700"/>
              <a:gd name="connsiteX148" fmla="*/ 0 w 10678681"/>
              <a:gd name="connsiteY148"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30518 w 10678681"/>
              <a:gd name="connsiteY38" fmla="*/ 739526 h 1357700"/>
              <a:gd name="connsiteX39" fmla="*/ 7652907 w 10678681"/>
              <a:gd name="connsiteY39" fmla="*/ 783273 h 1357700"/>
              <a:gd name="connsiteX40" fmla="*/ 7606008 w 10678681"/>
              <a:gd name="connsiteY40" fmla="*/ 800717 h 1357700"/>
              <a:gd name="connsiteX41" fmla="*/ 7480223 w 10678681"/>
              <a:gd name="connsiteY41" fmla="*/ 856821 h 1357700"/>
              <a:gd name="connsiteX42" fmla="*/ 7356005 w 10678681"/>
              <a:gd name="connsiteY42" fmla="*/ 919462 h 1357700"/>
              <a:gd name="connsiteX43" fmla="*/ 7305396 w 10678681"/>
              <a:gd name="connsiteY43" fmla="*/ 986228 h 1357700"/>
              <a:gd name="connsiteX44" fmla="*/ 7298314 w 10678681"/>
              <a:gd name="connsiteY44" fmla="*/ 989899 h 1357700"/>
              <a:gd name="connsiteX45" fmla="*/ 7277477 w 10678681"/>
              <a:gd name="connsiteY45" fmla="*/ 990571 h 1357700"/>
              <a:gd name="connsiteX46" fmla="*/ 7269396 w 10678681"/>
              <a:gd name="connsiteY46" fmla="*/ 989282 h 1357700"/>
              <a:gd name="connsiteX47" fmla="*/ 7258094 w 10678681"/>
              <a:gd name="connsiteY47" fmla="*/ 990679 h 1357700"/>
              <a:gd name="connsiteX48" fmla="*/ 7257893 w 10678681"/>
              <a:gd name="connsiteY48" fmla="*/ 991204 h 1357700"/>
              <a:gd name="connsiteX49" fmla="*/ 7247153 w 10678681"/>
              <a:gd name="connsiteY49" fmla="*/ 991550 h 1357700"/>
              <a:gd name="connsiteX50" fmla="*/ 7193612 w 10678681"/>
              <a:gd name="connsiteY50" fmla="*/ 987042 h 1357700"/>
              <a:gd name="connsiteX51" fmla="*/ 7132632 w 10678681"/>
              <a:gd name="connsiteY51" fmla="*/ 1042036 h 1357700"/>
              <a:gd name="connsiteX52" fmla="*/ 7105610 w 10678681"/>
              <a:gd name="connsiteY52" fmla="*/ 1053537 h 1357700"/>
              <a:gd name="connsiteX53" fmla="*/ 7091599 w 10678681"/>
              <a:gd name="connsiteY53" fmla="*/ 1062302 h 1357700"/>
              <a:gd name="connsiteX54" fmla="*/ 7090998 w 10678681"/>
              <a:gd name="connsiteY54" fmla="*/ 1064540 h 1357700"/>
              <a:gd name="connsiteX55" fmla="*/ 7039634 w 10678681"/>
              <a:gd name="connsiteY55" fmla="*/ 1059971 h 1357700"/>
              <a:gd name="connsiteX56" fmla="*/ 7033445 w 10678681"/>
              <a:gd name="connsiteY56" fmla="*/ 1063314 h 1357700"/>
              <a:gd name="connsiteX57" fmla="*/ 6999157 w 10678681"/>
              <a:gd name="connsiteY57" fmla="*/ 1055282 h 1357700"/>
              <a:gd name="connsiteX58" fmla="*/ 6981874 w 10678681"/>
              <a:gd name="connsiteY58" fmla="*/ 1053827 h 1357700"/>
              <a:gd name="connsiteX59" fmla="*/ 6976102 w 10678681"/>
              <a:gd name="connsiteY59" fmla="*/ 1047854 h 1357700"/>
              <a:gd name="connsiteX60" fmla="*/ 6951040 w 10678681"/>
              <a:gd name="connsiteY60" fmla="*/ 1048531 h 1357700"/>
              <a:gd name="connsiteX61" fmla="*/ 6948497 w 10678681"/>
              <a:gd name="connsiteY61" fmla="*/ 1050706 h 1357700"/>
              <a:gd name="connsiteX62" fmla="*/ 6926582 w 10678681"/>
              <a:gd name="connsiteY62" fmla="*/ 1043462 h 1357700"/>
              <a:gd name="connsiteX63" fmla="*/ 6833743 w 10678681"/>
              <a:gd name="connsiteY63" fmla="*/ 1027960 h 1357700"/>
              <a:gd name="connsiteX64" fmla="*/ 6687090 w 10678681"/>
              <a:gd name="connsiteY64" fmla="*/ 1063250 h 1357700"/>
              <a:gd name="connsiteX65" fmla="*/ 6437450 w 10678681"/>
              <a:gd name="connsiteY65" fmla="*/ 1101075 h 1357700"/>
              <a:gd name="connsiteX66" fmla="*/ 6327795 w 10678681"/>
              <a:gd name="connsiteY66" fmla="*/ 1088142 h 1357700"/>
              <a:gd name="connsiteX67" fmla="*/ 6136549 w 10678681"/>
              <a:gd name="connsiteY67" fmla="*/ 1100268 h 1357700"/>
              <a:gd name="connsiteX68" fmla="*/ 6004655 w 10678681"/>
              <a:gd name="connsiteY68" fmla="*/ 1114946 h 1357700"/>
              <a:gd name="connsiteX69" fmla="*/ 5936643 w 10678681"/>
              <a:gd name="connsiteY69" fmla="*/ 1095428 h 1357700"/>
              <a:gd name="connsiteX70" fmla="*/ 5912484 w 10678681"/>
              <a:gd name="connsiteY70" fmla="*/ 1112624 h 1357700"/>
              <a:gd name="connsiteX71" fmla="*/ 5908387 w 10678681"/>
              <a:gd name="connsiteY71" fmla="*/ 1116018 h 1357700"/>
              <a:gd name="connsiteX72" fmla="*/ 5890495 w 10678681"/>
              <a:gd name="connsiteY72" fmla="*/ 1120268 h 1357700"/>
              <a:gd name="connsiteX73" fmla="*/ 5887318 w 10678681"/>
              <a:gd name="connsiteY73" fmla="*/ 1133134 h 1357700"/>
              <a:gd name="connsiteX74" fmla="*/ 5861726 w 10678681"/>
              <a:gd name="connsiteY74" fmla="*/ 1147891 h 1357700"/>
              <a:gd name="connsiteX75" fmla="*/ 5805823 w 10678681"/>
              <a:gd name="connsiteY75" fmla="*/ 1152457 h 1357700"/>
              <a:gd name="connsiteX76" fmla="*/ 5689841 w 10678681"/>
              <a:gd name="connsiteY76" fmla="*/ 1176232 h 1357700"/>
              <a:gd name="connsiteX77" fmla="*/ 5605119 w 10678681"/>
              <a:gd name="connsiteY77" fmla="*/ 1190202 h 1357700"/>
              <a:gd name="connsiteX78" fmla="*/ 5488513 w 10678681"/>
              <a:gd name="connsiteY78" fmla="*/ 1205367 h 1357700"/>
              <a:gd name="connsiteX79" fmla="*/ 5402905 w 10678681"/>
              <a:gd name="connsiteY79" fmla="*/ 1241191 h 1357700"/>
              <a:gd name="connsiteX80" fmla="*/ 5285593 w 10678681"/>
              <a:gd name="connsiteY80" fmla="*/ 1273569 h 1357700"/>
              <a:gd name="connsiteX81" fmla="*/ 5192893 w 10678681"/>
              <a:gd name="connsiteY81" fmla="*/ 1247188 h 1357700"/>
              <a:gd name="connsiteX82" fmla="*/ 5186475 w 10678681"/>
              <a:gd name="connsiteY82" fmla="*/ 1257028 h 1357700"/>
              <a:gd name="connsiteX83" fmla="*/ 5126038 w 10678681"/>
              <a:gd name="connsiteY83" fmla="*/ 1263189 h 1357700"/>
              <a:gd name="connsiteX84" fmla="*/ 4894688 w 10678681"/>
              <a:gd name="connsiteY84" fmla="*/ 1247184 h 1357700"/>
              <a:gd name="connsiteX85" fmla="*/ 4788036 w 10678681"/>
              <a:gd name="connsiteY85" fmla="*/ 1238182 h 1357700"/>
              <a:gd name="connsiteX86" fmla="*/ 4747555 w 10678681"/>
              <a:gd name="connsiteY86" fmla="*/ 1252768 h 1357700"/>
              <a:gd name="connsiteX87" fmla="*/ 4679644 w 10678681"/>
              <a:gd name="connsiteY87" fmla="*/ 1276603 h 1357700"/>
              <a:gd name="connsiteX88" fmla="*/ 4632222 w 10678681"/>
              <a:gd name="connsiteY88" fmla="*/ 1318360 h 1357700"/>
              <a:gd name="connsiteX89" fmla="*/ 4617358 w 10678681"/>
              <a:gd name="connsiteY89" fmla="*/ 1327690 h 1357700"/>
              <a:gd name="connsiteX90" fmla="*/ 4589102 w 10678681"/>
              <a:gd name="connsiteY90" fmla="*/ 1321223 h 1357700"/>
              <a:gd name="connsiteX91" fmla="*/ 4578184 w 10678681"/>
              <a:gd name="connsiteY91" fmla="*/ 1326745 h 1357700"/>
              <a:gd name="connsiteX92" fmla="*/ 4574270 w 10678681"/>
              <a:gd name="connsiteY92" fmla="*/ 1325878 h 1357700"/>
              <a:gd name="connsiteX93" fmla="*/ 4564919 w 10678681"/>
              <a:gd name="connsiteY93" fmla="*/ 1325507 h 1357700"/>
              <a:gd name="connsiteX94" fmla="*/ 4566586 w 10678681"/>
              <a:gd name="connsiteY94" fmla="*/ 1316963 h 1357700"/>
              <a:gd name="connsiteX95" fmla="*/ 4556303 w 10678681"/>
              <a:gd name="connsiteY95" fmla="*/ 1300262 h 1357700"/>
              <a:gd name="connsiteX96" fmla="*/ 4502358 w 10678681"/>
              <a:gd name="connsiteY96" fmla="*/ 1302558 h 1357700"/>
              <a:gd name="connsiteX97" fmla="*/ 4498919 w 10678681"/>
              <a:gd name="connsiteY97" fmla="*/ 1312115 h 1357700"/>
              <a:gd name="connsiteX98" fmla="*/ 4492075 w 10678681"/>
              <a:gd name="connsiteY98" fmla="*/ 1313357 h 1357700"/>
              <a:gd name="connsiteX99" fmla="*/ 4487466 w 10678681"/>
              <a:gd name="connsiteY99" fmla="*/ 1304102 h 1357700"/>
              <a:gd name="connsiteX100" fmla="*/ 4398292 w 10678681"/>
              <a:gd name="connsiteY100" fmla="*/ 1278410 h 1357700"/>
              <a:gd name="connsiteX101" fmla="*/ 4306088 w 10678681"/>
              <a:gd name="connsiteY101" fmla="*/ 1282512 h 1357700"/>
              <a:gd name="connsiteX102" fmla="*/ 4188995 w 10678681"/>
              <a:gd name="connsiteY102" fmla="*/ 1296718 h 1357700"/>
              <a:gd name="connsiteX103" fmla="*/ 4136582 w 10678681"/>
              <a:gd name="connsiteY103" fmla="*/ 1287687 h 1357700"/>
              <a:gd name="connsiteX104" fmla="*/ 4064614 w 10678681"/>
              <a:gd name="connsiteY104" fmla="*/ 1296118 h 1357700"/>
              <a:gd name="connsiteX105" fmla="*/ 3906561 w 10678681"/>
              <a:gd name="connsiteY105" fmla="*/ 1352435 h 1357700"/>
              <a:gd name="connsiteX106" fmla="*/ 3787890 w 10678681"/>
              <a:gd name="connsiteY106" fmla="*/ 1352442 h 1357700"/>
              <a:gd name="connsiteX107" fmla="*/ 3745993 w 10678681"/>
              <a:gd name="connsiteY107" fmla="*/ 1342630 h 1357700"/>
              <a:gd name="connsiteX108" fmla="*/ 3675785 w 10678681"/>
              <a:gd name="connsiteY108" fmla="*/ 1326802 h 1357700"/>
              <a:gd name="connsiteX109" fmla="*/ 3623856 w 10678681"/>
              <a:gd name="connsiteY109" fmla="*/ 1290804 h 1357700"/>
              <a:gd name="connsiteX110" fmla="*/ 3564933 w 10678681"/>
              <a:gd name="connsiteY110" fmla="*/ 1287147 h 1357700"/>
              <a:gd name="connsiteX111" fmla="*/ 3550537 w 10678681"/>
              <a:gd name="connsiteY111" fmla="*/ 1317552 h 1357700"/>
              <a:gd name="connsiteX112" fmla="*/ 3487736 w 10678681"/>
              <a:gd name="connsiteY112" fmla="*/ 1303493 h 1357700"/>
              <a:gd name="connsiteX113" fmla="*/ 3392548 w 10678681"/>
              <a:gd name="connsiteY113" fmla="*/ 1278741 h 1357700"/>
              <a:gd name="connsiteX114" fmla="*/ 3337466 w 10678681"/>
              <a:gd name="connsiteY114" fmla="*/ 1272537 h 1357700"/>
              <a:gd name="connsiteX115" fmla="*/ 3187206 w 10678681"/>
              <a:gd name="connsiteY115" fmla="*/ 1246821 h 1357700"/>
              <a:gd name="connsiteX116" fmla="*/ 3036856 w 10678681"/>
              <a:gd name="connsiteY116" fmla="*/ 1214383 h 1357700"/>
              <a:gd name="connsiteX117" fmla="*/ 2948654 w 10678681"/>
              <a:gd name="connsiteY117" fmla="*/ 1157455 h 1357700"/>
              <a:gd name="connsiteX118" fmla="*/ 2824973 w 10678681"/>
              <a:gd name="connsiteY118" fmla="*/ 1134864 h 1357700"/>
              <a:gd name="connsiteX119" fmla="*/ 2804398 w 10678681"/>
              <a:gd name="connsiteY119" fmla="*/ 1125556 h 1357700"/>
              <a:gd name="connsiteX120" fmla="*/ 2775396 w 10678681"/>
              <a:gd name="connsiteY120" fmla="*/ 1130148 h 1357700"/>
              <a:gd name="connsiteX121" fmla="*/ 2659096 w 10678681"/>
              <a:gd name="connsiteY121" fmla="*/ 1150294 h 1357700"/>
              <a:gd name="connsiteX122" fmla="*/ 2567088 w 10678681"/>
              <a:gd name="connsiteY122" fmla="*/ 1181781 h 1357700"/>
              <a:gd name="connsiteX123" fmla="*/ 2454501 w 10678681"/>
              <a:gd name="connsiteY123" fmla="*/ 1155455 h 1357700"/>
              <a:gd name="connsiteX124" fmla="*/ 2385161 w 10678681"/>
              <a:gd name="connsiteY124" fmla="*/ 1161312 h 1357700"/>
              <a:gd name="connsiteX125" fmla="*/ 2270528 w 10678681"/>
              <a:gd name="connsiteY125" fmla="*/ 1204338 h 1357700"/>
              <a:gd name="connsiteX126" fmla="*/ 2121820 w 10678681"/>
              <a:gd name="connsiteY126" fmla="*/ 1187078 h 1357700"/>
              <a:gd name="connsiteX127" fmla="*/ 2092716 w 10678681"/>
              <a:gd name="connsiteY127" fmla="*/ 1139224 h 1357700"/>
              <a:gd name="connsiteX128" fmla="*/ 2052449 w 10678681"/>
              <a:gd name="connsiteY128" fmla="*/ 1109687 h 1357700"/>
              <a:gd name="connsiteX129" fmla="*/ 2032607 w 10678681"/>
              <a:gd name="connsiteY129" fmla="*/ 1175477 h 1357700"/>
              <a:gd name="connsiteX130" fmla="*/ 1901837 w 10678681"/>
              <a:gd name="connsiteY130" fmla="*/ 1221762 h 1357700"/>
              <a:gd name="connsiteX131" fmla="*/ 1836762 w 10678681"/>
              <a:gd name="connsiteY131" fmla="*/ 1237387 h 1357700"/>
              <a:gd name="connsiteX132" fmla="*/ 1735877 w 10678681"/>
              <a:gd name="connsiteY132" fmla="*/ 1246527 h 1357700"/>
              <a:gd name="connsiteX133" fmla="*/ 1705069 w 10678681"/>
              <a:gd name="connsiteY133" fmla="*/ 1251989 h 1357700"/>
              <a:gd name="connsiteX134" fmla="*/ 1397689 w 10678681"/>
              <a:gd name="connsiteY134" fmla="*/ 1336144 h 1357700"/>
              <a:gd name="connsiteX135" fmla="*/ 1220734 w 10678681"/>
              <a:gd name="connsiteY135" fmla="*/ 1257811 h 1357700"/>
              <a:gd name="connsiteX136" fmla="*/ 1021737 w 10678681"/>
              <a:gd name="connsiteY136" fmla="*/ 1238739 h 1357700"/>
              <a:gd name="connsiteX137" fmla="*/ 959820 w 10678681"/>
              <a:gd name="connsiteY137" fmla="*/ 1275863 h 1357700"/>
              <a:gd name="connsiteX138" fmla="*/ 929137 w 10678681"/>
              <a:gd name="connsiteY138" fmla="*/ 1273957 h 1357700"/>
              <a:gd name="connsiteX139" fmla="*/ 878849 w 10678681"/>
              <a:gd name="connsiteY139" fmla="*/ 1266740 h 1357700"/>
              <a:gd name="connsiteX140" fmla="*/ 800667 w 10678681"/>
              <a:gd name="connsiteY140" fmla="*/ 1282041 h 1357700"/>
              <a:gd name="connsiteX141" fmla="*/ 644906 w 10678681"/>
              <a:gd name="connsiteY141" fmla="*/ 1273685 h 1357700"/>
              <a:gd name="connsiteX142" fmla="*/ 379869 w 10678681"/>
              <a:gd name="connsiteY142" fmla="*/ 1339165 h 1357700"/>
              <a:gd name="connsiteX143" fmla="*/ 137696 w 10678681"/>
              <a:gd name="connsiteY143" fmla="*/ 1319217 h 1357700"/>
              <a:gd name="connsiteX144" fmla="*/ 54250 w 10678681"/>
              <a:gd name="connsiteY144" fmla="*/ 1315838 h 1357700"/>
              <a:gd name="connsiteX145" fmla="*/ 28042 w 10678681"/>
              <a:gd name="connsiteY145" fmla="*/ 1297822 h 1357700"/>
              <a:gd name="connsiteX146" fmla="*/ 0 w 10678681"/>
              <a:gd name="connsiteY146" fmla="*/ 1294612 h 1357700"/>
              <a:gd name="connsiteX147" fmla="*/ 0 w 10678681"/>
              <a:gd name="connsiteY147"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30518 w 10678681"/>
              <a:gd name="connsiteY38" fmla="*/ 739526 h 1357700"/>
              <a:gd name="connsiteX39" fmla="*/ 7652907 w 10678681"/>
              <a:gd name="connsiteY39" fmla="*/ 783273 h 1357700"/>
              <a:gd name="connsiteX40" fmla="*/ 7606008 w 10678681"/>
              <a:gd name="connsiteY40" fmla="*/ 800717 h 1357700"/>
              <a:gd name="connsiteX41" fmla="*/ 7480223 w 10678681"/>
              <a:gd name="connsiteY41" fmla="*/ 856821 h 1357700"/>
              <a:gd name="connsiteX42" fmla="*/ 7356005 w 10678681"/>
              <a:gd name="connsiteY42" fmla="*/ 919462 h 1357700"/>
              <a:gd name="connsiteX43" fmla="*/ 7305396 w 10678681"/>
              <a:gd name="connsiteY43" fmla="*/ 986228 h 1357700"/>
              <a:gd name="connsiteX44" fmla="*/ 7277477 w 10678681"/>
              <a:gd name="connsiteY44" fmla="*/ 990571 h 1357700"/>
              <a:gd name="connsiteX45" fmla="*/ 7269396 w 10678681"/>
              <a:gd name="connsiteY45" fmla="*/ 989282 h 1357700"/>
              <a:gd name="connsiteX46" fmla="*/ 7258094 w 10678681"/>
              <a:gd name="connsiteY46" fmla="*/ 990679 h 1357700"/>
              <a:gd name="connsiteX47" fmla="*/ 7257893 w 10678681"/>
              <a:gd name="connsiteY47" fmla="*/ 991204 h 1357700"/>
              <a:gd name="connsiteX48" fmla="*/ 7247153 w 10678681"/>
              <a:gd name="connsiteY48" fmla="*/ 991550 h 1357700"/>
              <a:gd name="connsiteX49" fmla="*/ 7193612 w 10678681"/>
              <a:gd name="connsiteY49" fmla="*/ 987042 h 1357700"/>
              <a:gd name="connsiteX50" fmla="*/ 7132632 w 10678681"/>
              <a:gd name="connsiteY50" fmla="*/ 1042036 h 1357700"/>
              <a:gd name="connsiteX51" fmla="*/ 7105610 w 10678681"/>
              <a:gd name="connsiteY51" fmla="*/ 1053537 h 1357700"/>
              <a:gd name="connsiteX52" fmla="*/ 7091599 w 10678681"/>
              <a:gd name="connsiteY52" fmla="*/ 1062302 h 1357700"/>
              <a:gd name="connsiteX53" fmla="*/ 7090998 w 10678681"/>
              <a:gd name="connsiteY53" fmla="*/ 1064540 h 1357700"/>
              <a:gd name="connsiteX54" fmla="*/ 7039634 w 10678681"/>
              <a:gd name="connsiteY54" fmla="*/ 1059971 h 1357700"/>
              <a:gd name="connsiteX55" fmla="*/ 7033445 w 10678681"/>
              <a:gd name="connsiteY55" fmla="*/ 1063314 h 1357700"/>
              <a:gd name="connsiteX56" fmla="*/ 6999157 w 10678681"/>
              <a:gd name="connsiteY56" fmla="*/ 1055282 h 1357700"/>
              <a:gd name="connsiteX57" fmla="*/ 6981874 w 10678681"/>
              <a:gd name="connsiteY57" fmla="*/ 1053827 h 1357700"/>
              <a:gd name="connsiteX58" fmla="*/ 6976102 w 10678681"/>
              <a:gd name="connsiteY58" fmla="*/ 1047854 h 1357700"/>
              <a:gd name="connsiteX59" fmla="*/ 6951040 w 10678681"/>
              <a:gd name="connsiteY59" fmla="*/ 1048531 h 1357700"/>
              <a:gd name="connsiteX60" fmla="*/ 6948497 w 10678681"/>
              <a:gd name="connsiteY60" fmla="*/ 1050706 h 1357700"/>
              <a:gd name="connsiteX61" fmla="*/ 6926582 w 10678681"/>
              <a:gd name="connsiteY61" fmla="*/ 1043462 h 1357700"/>
              <a:gd name="connsiteX62" fmla="*/ 6833743 w 10678681"/>
              <a:gd name="connsiteY62" fmla="*/ 1027960 h 1357700"/>
              <a:gd name="connsiteX63" fmla="*/ 6687090 w 10678681"/>
              <a:gd name="connsiteY63" fmla="*/ 1063250 h 1357700"/>
              <a:gd name="connsiteX64" fmla="*/ 6437450 w 10678681"/>
              <a:gd name="connsiteY64" fmla="*/ 1101075 h 1357700"/>
              <a:gd name="connsiteX65" fmla="*/ 6327795 w 10678681"/>
              <a:gd name="connsiteY65" fmla="*/ 1088142 h 1357700"/>
              <a:gd name="connsiteX66" fmla="*/ 6136549 w 10678681"/>
              <a:gd name="connsiteY66" fmla="*/ 1100268 h 1357700"/>
              <a:gd name="connsiteX67" fmla="*/ 6004655 w 10678681"/>
              <a:gd name="connsiteY67" fmla="*/ 1114946 h 1357700"/>
              <a:gd name="connsiteX68" fmla="*/ 5936643 w 10678681"/>
              <a:gd name="connsiteY68" fmla="*/ 1095428 h 1357700"/>
              <a:gd name="connsiteX69" fmla="*/ 5912484 w 10678681"/>
              <a:gd name="connsiteY69" fmla="*/ 1112624 h 1357700"/>
              <a:gd name="connsiteX70" fmla="*/ 5908387 w 10678681"/>
              <a:gd name="connsiteY70" fmla="*/ 1116018 h 1357700"/>
              <a:gd name="connsiteX71" fmla="*/ 5890495 w 10678681"/>
              <a:gd name="connsiteY71" fmla="*/ 1120268 h 1357700"/>
              <a:gd name="connsiteX72" fmla="*/ 5887318 w 10678681"/>
              <a:gd name="connsiteY72" fmla="*/ 1133134 h 1357700"/>
              <a:gd name="connsiteX73" fmla="*/ 5861726 w 10678681"/>
              <a:gd name="connsiteY73" fmla="*/ 1147891 h 1357700"/>
              <a:gd name="connsiteX74" fmla="*/ 5805823 w 10678681"/>
              <a:gd name="connsiteY74" fmla="*/ 1152457 h 1357700"/>
              <a:gd name="connsiteX75" fmla="*/ 5689841 w 10678681"/>
              <a:gd name="connsiteY75" fmla="*/ 1176232 h 1357700"/>
              <a:gd name="connsiteX76" fmla="*/ 5605119 w 10678681"/>
              <a:gd name="connsiteY76" fmla="*/ 1190202 h 1357700"/>
              <a:gd name="connsiteX77" fmla="*/ 5488513 w 10678681"/>
              <a:gd name="connsiteY77" fmla="*/ 1205367 h 1357700"/>
              <a:gd name="connsiteX78" fmla="*/ 5402905 w 10678681"/>
              <a:gd name="connsiteY78" fmla="*/ 1241191 h 1357700"/>
              <a:gd name="connsiteX79" fmla="*/ 5285593 w 10678681"/>
              <a:gd name="connsiteY79" fmla="*/ 1273569 h 1357700"/>
              <a:gd name="connsiteX80" fmla="*/ 5192893 w 10678681"/>
              <a:gd name="connsiteY80" fmla="*/ 1247188 h 1357700"/>
              <a:gd name="connsiteX81" fmla="*/ 5186475 w 10678681"/>
              <a:gd name="connsiteY81" fmla="*/ 1257028 h 1357700"/>
              <a:gd name="connsiteX82" fmla="*/ 5126038 w 10678681"/>
              <a:gd name="connsiteY82" fmla="*/ 1263189 h 1357700"/>
              <a:gd name="connsiteX83" fmla="*/ 4894688 w 10678681"/>
              <a:gd name="connsiteY83" fmla="*/ 1247184 h 1357700"/>
              <a:gd name="connsiteX84" fmla="*/ 4788036 w 10678681"/>
              <a:gd name="connsiteY84" fmla="*/ 1238182 h 1357700"/>
              <a:gd name="connsiteX85" fmla="*/ 4747555 w 10678681"/>
              <a:gd name="connsiteY85" fmla="*/ 1252768 h 1357700"/>
              <a:gd name="connsiteX86" fmla="*/ 4679644 w 10678681"/>
              <a:gd name="connsiteY86" fmla="*/ 1276603 h 1357700"/>
              <a:gd name="connsiteX87" fmla="*/ 4632222 w 10678681"/>
              <a:gd name="connsiteY87" fmla="*/ 1318360 h 1357700"/>
              <a:gd name="connsiteX88" fmla="*/ 4617358 w 10678681"/>
              <a:gd name="connsiteY88" fmla="*/ 1327690 h 1357700"/>
              <a:gd name="connsiteX89" fmla="*/ 4589102 w 10678681"/>
              <a:gd name="connsiteY89" fmla="*/ 1321223 h 1357700"/>
              <a:gd name="connsiteX90" fmla="*/ 4578184 w 10678681"/>
              <a:gd name="connsiteY90" fmla="*/ 1326745 h 1357700"/>
              <a:gd name="connsiteX91" fmla="*/ 4574270 w 10678681"/>
              <a:gd name="connsiteY91" fmla="*/ 1325878 h 1357700"/>
              <a:gd name="connsiteX92" fmla="*/ 4564919 w 10678681"/>
              <a:gd name="connsiteY92" fmla="*/ 1325507 h 1357700"/>
              <a:gd name="connsiteX93" fmla="*/ 4566586 w 10678681"/>
              <a:gd name="connsiteY93" fmla="*/ 1316963 h 1357700"/>
              <a:gd name="connsiteX94" fmla="*/ 4556303 w 10678681"/>
              <a:gd name="connsiteY94" fmla="*/ 1300262 h 1357700"/>
              <a:gd name="connsiteX95" fmla="*/ 4502358 w 10678681"/>
              <a:gd name="connsiteY95" fmla="*/ 1302558 h 1357700"/>
              <a:gd name="connsiteX96" fmla="*/ 4498919 w 10678681"/>
              <a:gd name="connsiteY96" fmla="*/ 1312115 h 1357700"/>
              <a:gd name="connsiteX97" fmla="*/ 4492075 w 10678681"/>
              <a:gd name="connsiteY97" fmla="*/ 1313357 h 1357700"/>
              <a:gd name="connsiteX98" fmla="*/ 4487466 w 10678681"/>
              <a:gd name="connsiteY98" fmla="*/ 1304102 h 1357700"/>
              <a:gd name="connsiteX99" fmla="*/ 4398292 w 10678681"/>
              <a:gd name="connsiteY99" fmla="*/ 1278410 h 1357700"/>
              <a:gd name="connsiteX100" fmla="*/ 4306088 w 10678681"/>
              <a:gd name="connsiteY100" fmla="*/ 1282512 h 1357700"/>
              <a:gd name="connsiteX101" fmla="*/ 4188995 w 10678681"/>
              <a:gd name="connsiteY101" fmla="*/ 1296718 h 1357700"/>
              <a:gd name="connsiteX102" fmla="*/ 4136582 w 10678681"/>
              <a:gd name="connsiteY102" fmla="*/ 1287687 h 1357700"/>
              <a:gd name="connsiteX103" fmla="*/ 4064614 w 10678681"/>
              <a:gd name="connsiteY103" fmla="*/ 1296118 h 1357700"/>
              <a:gd name="connsiteX104" fmla="*/ 3906561 w 10678681"/>
              <a:gd name="connsiteY104" fmla="*/ 1352435 h 1357700"/>
              <a:gd name="connsiteX105" fmla="*/ 3787890 w 10678681"/>
              <a:gd name="connsiteY105" fmla="*/ 1352442 h 1357700"/>
              <a:gd name="connsiteX106" fmla="*/ 3745993 w 10678681"/>
              <a:gd name="connsiteY106" fmla="*/ 1342630 h 1357700"/>
              <a:gd name="connsiteX107" fmla="*/ 3675785 w 10678681"/>
              <a:gd name="connsiteY107" fmla="*/ 1326802 h 1357700"/>
              <a:gd name="connsiteX108" fmla="*/ 3623856 w 10678681"/>
              <a:gd name="connsiteY108" fmla="*/ 1290804 h 1357700"/>
              <a:gd name="connsiteX109" fmla="*/ 3564933 w 10678681"/>
              <a:gd name="connsiteY109" fmla="*/ 1287147 h 1357700"/>
              <a:gd name="connsiteX110" fmla="*/ 3550537 w 10678681"/>
              <a:gd name="connsiteY110" fmla="*/ 1317552 h 1357700"/>
              <a:gd name="connsiteX111" fmla="*/ 3487736 w 10678681"/>
              <a:gd name="connsiteY111" fmla="*/ 1303493 h 1357700"/>
              <a:gd name="connsiteX112" fmla="*/ 3392548 w 10678681"/>
              <a:gd name="connsiteY112" fmla="*/ 1278741 h 1357700"/>
              <a:gd name="connsiteX113" fmla="*/ 3337466 w 10678681"/>
              <a:gd name="connsiteY113" fmla="*/ 1272537 h 1357700"/>
              <a:gd name="connsiteX114" fmla="*/ 3187206 w 10678681"/>
              <a:gd name="connsiteY114" fmla="*/ 1246821 h 1357700"/>
              <a:gd name="connsiteX115" fmla="*/ 3036856 w 10678681"/>
              <a:gd name="connsiteY115" fmla="*/ 1214383 h 1357700"/>
              <a:gd name="connsiteX116" fmla="*/ 2948654 w 10678681"/>
              <a:gd name="connsiteY116" fmla="*/ 1157455 h 1357700"/>
              <a:gd name="connsiteX117" fmla="*/ 2824973 w 10678681"/>
              <a:gd name="connsiteY117" fmla="*/ 1134864 h 1357700"/>
              <a:gd name="connsiteX118" fmla="*/ 2804398 w 10678681"/>
              <a:gd name="connsiteY118" fmla="*/ 1125556 h 1357700"/>
              <a:gd name="connsiteX119" fmla="*/ 2775396 w 10678681"/>
              <a:gd name="connsiteY119" fmla="*/ 1130148 h 1357700"/>
              <a:gd name="connsiteX120" fmla="*/ 2659096 w 10678681"/>
              <a:gd name="connsiteY120" fmla="*/ 1150294 h 1357700"/>
              <a:gd name="connsiteX121" fmla="*/ 2567088 w 10678681"/>
              <a:gd name="connsiteY121" fmla="*/ 1181781 h 1357700"/>
              <a:gd name="connsiteX122" fmla="*/ 2454501 w 10678681"/>
              <a:gd name="connsiteY122" fmla="*/ 1155455 h 1357700"/>
              <a:gd name="connsiteX123" fmla="*/ 2385161 w 10678681"/>
              <a:gd name="connsiteY123" fmla="*/ 1161312 h 1357700"/>
              <a:gd name="connsiteX124" fmla="*/ 2270528 w 10678681"/>
              <a:gd name="connsiteY124" fmla="*/ 1204338 h 1357700"/>
              <a:gd name="connsiteX125" fmla="*/ 2121820 w 10678681"/>
              <a:gd name="connsiteY125" fmla="*/ 1187078 h 1357700"/>
              <a:gd name="connsiteX126" fmla="*/ 2092716 w 10678681"/>
              <a:gd name="connsiteY126" fmla="*/ 1139224 h 1357700"/>
              <a:gd name="connsiteX127" fmla="*/ 2052449 w 10678681"/>
              <a:gd name="connsiteY127" fmla="*/ 1109687 h 1357700"/>
              <a:gd name="connsiteX128" fmla="*/ 2032607 w 10678681"/>
              <a:gd name="connsiteY128" fmla="*/ 1175477 h 1357700"/>
              <a:gd name="connsiteX129" fmla="*/ 1901837 w 10678681"/>
              <a:gd name="connsiteY129" fmla="*/ 1221762 h 1357700"/>
              <a:gd name="connsiteX130" fmla="*/ 1836762 w 10678681"/>
              <a:gd name="connsiteY130" fmla="*/ 1237387 h 1357700"/>
              <a:gd name="connsiteX131" fmla="*/ 1735877 w 10678681"/>
              <a:gd name="connsiteY131" fmla="*/ 1246527 h 1357700"/>
              <a:gd name="connsiteX132" fmla="*/ 1705069 w 10678681"/>
              <a:gd name="connsiteY132" fmla="*/ 1251989 h 1357700"/>
              <a:gd name="connsiteX133" fmla="*/ 1397689 w 10678681"/>
              <a:gd name="connsiteY133" fmla="*/ 1336144 h 1357700"/>
              <a:gd name="connsiteX134" fmla="*/ 1220734 w 10678681"/>
              <a:gd name="connsiteY134" fmla="*/ 1257811 h 1357700"/>
              <a:gd name="connsiteX135" fmla="*/ 1021737 w 10678681"/>
              <a:gd name="connsiteY135" fmla="*/ 1238739 h 1357700"/>
              <a:gd name="connsiteX136" fmla="*/ 959820 w 10678681"/>
              <a:gd name="connsiteY136" fmla="*/ 1275863 h 1357700"/>
              <a:gd name="connsiteX137" fmla="*/ 929137 w 10678681"/>
              <a:gd name="connsiteY137" fmla="*/ 1273957 h 1357700"/>
              <a:gd name="connsiteX138" fmla="*/ 878849 w 10678681"/>
              <a:gd name="connsiteY138" fmla="*/ 1266740 h 1357700"/>
              <a:gd name="connsiteX139" fmla="*/ 800667 w 10678681"/>
              <a:gd name="connsiteY139" fmla="*/ 1282041 h 1357700"/>
              <a:gd name="connsiteX140" fmla="*/ 644906 w 10678681"/>
              <a:gd name="connsiteY140" fmla="*/ 1273685 h 1357700"/>
              <a:gd name="connsiteX141" fmla="*/ 379869 w 10678681"/>
              <a:gd name="connsiteY141" fmla="*/ 1339165 h 1357700"/>
              <a:gd name="connsiteX142" fmla="*/ 137696 w 10678681"/>
              <a:gd name="connsiteY142" fmla="*/ 1319217 h 1357700"/>
              <a:gd name="connsiteX143" fmla="*/ 54250 w 10678681"/>
              <a:gd name="connsiteY143" fmla="*/ 1315838 h 1357700"/>
              <a:gd name="connsiteX144" fmla="*/ 28042 w 10678681"/>
              <a:gd name="connsiteY144" fmla="*/ 1297822 h 1357700"/>
              <a:gd name="connsiteX145" fmla="*/ 0 w 10678681"/>
              <a:gd name="connsiteY145" fmla="*/ 1294612 h 1357700"/>
              <a:gd name="connsiteX146" fmla="*/ 0 w 10678681"/>
              <a:gd name="connsiteY146"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30518 w 10678681"/>
              <a:gd name="connsiteY38" fmla="*/ 739526 h 1357700"/>
              <a:gd name="connsiteX39" fmla="*/ 7652907 w 10678681"/>
              <a:gd name="connsiteY39" fmla="*/ 783273 h 1357700"/>
              <a:gd name="connsiteX40" fmla="*/ 7606008 w 10678681"/>
              <a:gd name="connsiteY40" fmla="*/ 800717 h 1357700"/>
              <a:gd name="connsiteX41" fmla="*/ 7480223 w 10678681"/>
              <a:gd name="connsiteY41" fmla="*/ 856821 h 1357700"/>
              <a:gd name="connsiteX42" fmla="*/ 7356005 w 10678681"/>
              <a:gd name="connsiteY42" fmla="*/ 919462 h 1357700"/>
              <a:gd name="connsiteX43" fmla="*/ 7305396 w 10678681"/>
              <a:gd name="connsiteY43" fmla="*/ 986228 h 1357700"/>
              <a:gd name="connsiteX44" fmla="*/ 7277477 w 10678681"/>
              <a:gd name="connsiteY44" fmla="*/ 990571 h 1357700"/>
              <a:gd name="connsiteX45" fmla="*/ 7269396 w 10678681"/>
              <a:gd name="connsiteY45" fmla="*/ 989282 h 1357700"/>
              <a:gd name="connsiteX46" fmla="*/ 7258094 w 10678681"/>
              <a:gd name="connsiteY46" fmla="*/ 990679 h 1357700"/>
              <a:gd name="connsiteX47" fmla="*/ 7257893 w 10678681"/>
              <a:gd name="connsiteY47" fmla="*/ 991204 h 1357700"/>
              <a:gd name="connsiteX48" fmla="*/ 7247153 w 10678681"/>
              <a:gd name="connsiteY48" fmla="*/ 991550 h 1357700"/>
              <a:gd name="connsiteX49" fmla="*/ 7193612 w 10678681"/>
              <a:gd name="connsiteY49" fmla="*/ 987042 h 1357700"/>
              <a:gd name="connsiteX50" fmla="*/ 7132632 w 10678681"/>
              <a:gd name="connsiteY50" fmla="*/ 1042036 h 1357700"/>
              <a:gd name="connsiteX51" fmla="*/ 7105610 w 10678681"/>
              <a:gd name="connsiteY51" fmla="*/ 1053537 h 1357700"/>
              <a:gd name="connsiteX52" fmla="*/ 7091599 w 10678681"/>
              <a:gd name="connsiteY52" fmla="*/ 1062302 h 1357700"/>
              <a:gd name="connsiteX53" fmla="*/ 7039634 w 10678681"/>
              <a:gd name="connsiteY53" fmla="*/ 1059971 h 1357700"/>
              <a:gd name="connsiteX54" fmla="*/ 7033445 w 10678681"/>
              <a:gd name="connsiteY54" fmla="*/ 1063314 h 1357700"/>
              <a:gd name="connsiteX55" fmla="*/ 6999157 w 10678681"/>
              <a:gd name="connsiteY55" fmla="*/ 1055282 h 1357700"/>
              <a:gd name="connsiteX56" fmla="*/ 6981874 w 10678681"/>
              <a:gd name="connsiteY56" fmla="*/ 1053827 h 1357700"/>
              <a:gd name="connsiteX57" fmla="*/ 6976102 w 10678681"/>
              <a:gd name="connsiteY57" fmla="*/ 1047854 h 1357700"/>
              <a:gd name="connsiteX58" fmla="*/ 6951040 w 10678681"/>
              <a:gd name="connsiteY58" fmla="*/ 1048531 h 1357700"/>
              <a:gd name="connsiteX59" fmla="*/ 6948497 w 10678681"/>
              <a:gd name="connsiteY59" fmla="*/ 1050706 h 1357700"/>
              <a:gd name="connsiteX60" fmla="*/ 6926582 w 10678681"/>
              <a:gd name="connsiteY60" fmla="*/ 1043462 h 1357700"/>
              <a:gd name="connsiteX61" fmla="*/ 6833743 w 10678681"/>
              <a:gd name="connsiteY61" fmla="*/ 1027960 h 1357700"/>
              <a:gd name="connsiteX62" fmla="*/ 6687090 w 10678681"/>
              <a:gd name="connsiteY62" fmla="*/ 1063250 h 1357700"/>
              <a:gd name="connsiteX63" fmla="*/ 6437450 w 10678681"/>
              <a:gd name="connsiteY63" fmla="*/ 1101075 h 1357700"/>
              <a:gd name="connsiteX64" fmla="*/ 6327795 w 10678681"/>
              <a:gd name="connsiteY64" fmla="*/ 1088142 h 1357700"/>
              <a:gd name="connsiteX65" fmla="*/ 6136549 w 10678681"/>
              <a:gd name="connsiteY65" fmla="*/ 1100268 h 1357700"/>
              <a:gd name="connsiteX66" fmla="*/ 6004655 w 10678681"/>
              <a:gd name="connsiteY66" fmla="*/ 1114946 h 1357700"/>
              <a:gd name="connsiteX67" fmla="*/ 5936643 w 10678681"/>
              <a:gd name="connsiteY67" fmla="*/ 1095428 h 1357700"/>
              <a:gd name="connsiteX68" fmla="*/ 5912484 w 10678681"/>
              <a:gd name="connsiteY68" fmla="*/ 1112624 h 1357700"/>
              <a:gd name="connsiteX69" fmla="*/ 5908387 w 10678681"/>
              <a:gd name="connsiteY69" fmla="*/ 1116018 h 1357700"/>
              <a:gd name="connsiteX70" fmla="*/ 5890495 w 10678681"/>
              <a:gd name="connsiteY70" fmla="*/ 1120268 h 1357700"/>
              <a:gd name="connsiteX71" fmla="*/ 5887318 w 10678681"/>
              <a:gd name="connsiteY71" fmla="*/ 1133134 h 1357700"/>
              <a:gd name="connsiteX72" fmla="*/ 5861726 w 10678681"/>
              <a:gd name="connsiteY72" fmla="*/ 1147891 h 1357700"/>
              <a:gd name="connsiteX73" fmla="*/ 5805823 w 10678681"/>
              <a:gd name="connsiteY73" fmla="*/ 1152457 h 1357700"/>
              <a:gd name="connsiteX74" fmla="*/ 5689841 w 10678681"/>
              <a:gd name="connsiteY74" fmla="*/ 1176232 h 1357700"/>
              <a:gd name="connsiteX75" fmla="*/ 5605119 w 10678681"/>
              <a:gd name="connsiteY75" fmla="*/ 1190202 h 1357700"/>
              <a:gd name="connsiteX76" fmla="*/ 5488513 w 10678681"/>
              <a:gd name="connsiteY76" fmla="*/ 1205367 h 1357700"/>
              <a:gd name="connsiteX77" fmla="*/ 5402905 w 10678681"/>
              <a:gd name="connsiteY77" fmla="*/ 1241191 h 1357700"/>
              <a:gd name="connsiteX78" fmla="*/ 5285593 w 10678681"/>
              <a:gd name="connsiteY78" fmla="*/ 1273569 h 1357700"/>
              <a:gd name="connsiteX79" fmla="*/ 5192893 w 10678681"/>
              <a:gd name="connsiteY79" fmla="*/ 1247188 h 1357700"/>
              <a:gd name="connsiteX80" fmla="*/ 5186475 w 10678681"/>
              <a:gd name="connsiteY80" fmla="*/ 1257028 h 1357700"/>
              <a:gd name="connsiteX81" fmla="*/ 5126038 w 10678681"/>
              <a:gd name="connsiteY81" fmla="*/ 1263189 h 1357700"/>
              <a:gd name="connsiteX82" fmla="*/ 4894688 w 10678681"/>
              <a:gd name="connsiteY82" fmla="*/ 1247184 h 1357700"/>
              <a:gd name="connsiteX83" fmla="*/ 4788036 w 10678681"/>
              <a:gd name="connsiteY83" fmla="*/ 1238182 h 1357700"/>
              <a:gd name="connsiteX84" fmla="*/ 4747555 w 10678681"/>
              <a:gd name="connsiteY84" fmla="*/ 1252768 h 1357700"/>
              <a:gd name="connsiteX85" fmla="*/ 4679644 w 10678681"/>
              <a:gd name="connsiteY85" fmla="*/ 1276603 h 1357700"/>
              <a:gd name="connsiteX86" fmla="*/ 4632222 w 10678681"/>
              <a:gd name="connsiteY86" fmla="*/ 1318360 h 1357700"/>
              <a:gd name="connsiteX87" fmla="*/ 4617358 w 10678681"/>
              <a:gd name="connsiteY87" fmla="*/ 1327690 h 1357700"/>
              <a:gd name="connsiteX88" fmla="*/ 4589102 w 10678681"/>
              <a:gd name="connsiteY88" fmla="*/ 1321223 h 1357700"/>
              <a:gd name="connsiteX89" fmla="*/ 4578184 w 10678681"/>
              <a:gd name="connsiteY89" fmla="*/ 1326745 h 1357700"/>
              <a:gd name="connsiteX90" fmla="*/ 4574270 w 10678681"/>
              <a:gd name="connsiteY90" fmla="*/ 1325878 h 1357700"/>
              <a:gd name="connsiteX91" fmla="*/ 4564919 w 10678681"/>
              <a:gd name="connsiteY91" fmla="*/ 1325507 h 1357700"/>
              <a:gd name="connsiteX92" fmla="*/ 4566586 w 10678681"/>
              <a:gd name="connsiteY92" fmla="*/ 1316963 h 1357700"/>
              <a:gd name="connsiteX93" fmla="*/ 4556303 w 10678681"/>
              <a:gd name="connsiteY93" fmla="*/ 1300262 h 1357700"/>
              <a:gd name="connsiteX94" fmla="*/ 4502358 w 10678681"/>
              <a:gd name="connsiteY94" fmla="*/ 1302558 h 1357700"/>
              <a:gd name="connsiteX95" fmla="*/ 4498919 w 10678681"/>
              <a:gd name="connsiteY95" fmla="*/ 1312115 h 1357700"/>
              <a:gd name="connsiteX96" fmla="*/ 4492075 w 10678681"/>
              <a:gd name="connsiteY96" fmla="*/ 1313357 h 1357700"/>
              <a:gd name="connsiteX97" fmla="*/ 4487466 w 10678681"/>
              <a:gd name="connsiteY97" fmla="*/ 1304102 h 1357700"/>
              <a:gd name="connsiteX98" fmla="*/ 4398292 w 10678681"/>
              <a:gd name="connsiteY98" fmla="*/ 1278410 h 1357700"/>
              <a:gd name="connsiteX99" fmla="*/ 4306088 w 10678681"/>
              <a:gd name="connsiteY99" fmla="*/ 1282512 h 1357700"/>
              <a:gd name="connsiteX100" fmla="*/ 4188995 w 10678681"/>
              <a:gd name="connsiteY100" fmla="*/ 1296718 h 1357700"/>
              <a:gd name="connsiteX101" fmla="*/ 4136582 w 10678681"/>
              <a:gd name="connsiteY101" fmla="*/ 1287687 h 1357700"/>
              <a:gd name="connsiteX102" fmla="*/ 4064614 w 10678681"/>
              <a:gd name="connsiteY102" fmla="*/ 1296118 h 1357700"/>
              <a:gd name="connsiteX103" fmla="*/ 3906561 w 10678681"/>
              <a:gd name="connsiteY103" fmla="*/ 1352435 h 1357700"/>
              <a:gd name="connsiteX104" fmla="*/ 3787890 w 10678681"/>
              <a:gd name="connsiteY104" fmla="*/ 1352442 h 1357700"/>
              <a:gd name="connsiteX105" fmla="*/ 3745993 w 10678681"/>
              <a:gd name="connsiteY105" fmla="*/ 1342630 h 1357700"/>
              <a:gd name="connsiteX106" fmla="*/ 3675785 w 10678681"/>
              <a:gd name="connsiteY106" fmla="*/ 1326802 h 1357700"/>
              <a:gd name="connsiteX107" fmla="*/ 3623856 w 10678681"/>
              <a:gd name="connsiteY107" fmla="*/ 1290804 h 1357700"/>
              <a:gd name="connsiteX108" fmla="*/ 3564933 w 10678681"/>
              <a:gd name="connsiteY108" fmla="*/ 1287147 h 1357700"/>
              <a:gd name="connsiteX109" fmla="*/ 3550537 w 10678681"/>
              <a:gd name="connsiteY109" fmla="*/ 1317552 h 1357700"/>
              <a:gd name="connsiteX110" fmla="*/ 3487736 w 10678681"/>
              <a:gd name="connsiteY110" fmla="*/ 1303493 h 1357700"/>
              <a:gd name="connsiteX111" fmla="*/ 3392548 w 10678681"/>
              <a:gd name="connsiteY111" fmla="*/ 1278741 h 1357700"/>
              <a:gd name="connsiteX112" fmla="*/ 3337466 w 10678681"/>
              <a:gd name="connsiteY112" fmla="*/ 1272537 h 1357700"/>
              <a:gd name="connsiteX113" fmla="*/ 3187206 w 10678681"/>
              <a:gd name="connsiteY113" fmla="*/ 1246821 h 1357700"/>
              <a:gd name="connsiteX114" fmla="*/ 3036856 w 10678681"/>
              <a:gd name="connsiteY114" fmla="*/ 1214383 h 1357700"/>
              <a:gd name="connsiteX115" fmla="*/ 2948654 w 10678681"/>
              <a:gd name="connsiteY115" fmla="*/ 1157455 h 1357700"/>
              <a:gd name="connsiteX116" fmla="*/ 2824973 w 10678681"/>
              <a:gd name="connsiteY116" fmla="*/ 1134864 h 1357700"/>
              <a:gd name="connsiteX117" fmla="*/ 2804398 w 10678681"/>
              <a:gd name="connsiteY117" fmla="*/ 1125556 h 1357700"/>
              <a:gd name="connsiteX118" fmla="*/ 2775396 w 10678681"/>
              <a:gd name="connsiteY118" fmla="*/ 1130148 h 1357700"/>
              <a:gd name="connsiteX119" fmla="*/ 2659096 w 10678681"/>
              <a:gd name="connsiteY119" fmla="*/ 1150294 h 1357700"/>
              <a:gd name="connsiteX120" fmla="*/ 2567088 w 10678681"/>
              <a:gd name="connsiteY120" fmla="*/ 1181781 h 1357700"/>
              <a:gd name="connsiteX121" fmla="*/ 2454501 w 10678681"/>
              <a:gd name="connsiteY121" fmla="*/ 1155455 h 1357700"/>
              <a:gd name="connsiteX122" fmla="*/ 2385161 w 10678681"/>
              <a:gd name="connsiteY122" fmla="*/ 1161312 h 1357700"/>
              <a:gd name="connsiteX123" fmla="*/ 2270528 w 10678681"/>
              <a:gd name="connsiteY123" fmla="*/ 1204338 h 1357700"/>
              <a:gd name="connsiteX124" fmla="*/ 2121820 w 10678681"/>
              <a:gd name="connsiteY124" fmla="*/ 1187078 h 1357700"/>
              <a:gd name="connsiteX125" fmla="*/ 2092716 w 10678681"/>
              <a:gd name="connsiteY125" fmla="*/ 1139224 h 1357700"/>
              <a:gd name="connsiteX126" fmla="*/ 2052449 w 10678681"/>
              <a:gd name="connsiteY126" fmla="*/ 1109687 h 1357700"/>
              <a:gd name="connsiteX127" fmla="*/ 2032607 w 10678681"/>
              <a:gd name="connsiteY127" fmla="*/ 1175477 h 1357700"/>
              <a:gd name="connsiteX128" fmla="*/ 1901837 w 10678681"/>
              <a:gd name="connsiteY128" fmla="*/ 1221762 h 1357700"/>
              <a:gd name="connsiteX129" fmla="*/ 1836762 w 10678681"/>
              <a:gd name="connsiteY129" fmla="*/ 1237387 h 1357700"/>
              <a:gd name="connsiteX130" fmla="*/ 1735877 w 10678681"/>
              <a:gd name="connsiteY130" fmla="*/ 1246527 h 1357700"/>
              <a:gd name="connsiteX131" fmla="*/ 1705069 w 10678681"/>
              <a:gd name="connsiteY131" fmla="*/ 1251989 h 1357700"/>
              <a:gd name="connsiteX132" fmla="*/ 1397689 w 10678681"/>
              <a:gd name="connsiteY132" fmla="*/ 1336144 h 1357700"/>
              <a:gd name="connsiteX133" fmla="*/ 1220734 w 10678681"/>
              <a:gd name="connsiteY133" fmla="*/ 1257811 h 1357700"/>
              <a:gd name="connsiteX134" fmla="*/ 1021737 w 10678681"/>
              <a:gd name="connsiteY134" fmla="*/ 1238739 h 1357700"/>
              <a:gd name="connsiteX135" fmla="*/ 959820 w 10678681"/>
              <a:gd name="connsiteY135" fmla="*/ 1275863 h 1357700"/>
              <a:gd name="connsiteX136" fmla="*/ 929137 w 10678681"/>
              <a:gd name="connsiteY136" fmla="*/ 1273957 h 1357700"/>
              <a:gd name="connsiteX137" fmla="*/ 878849 w 10678681"/>
              <a:gd name="connsiteY137" fmla="*/ 1266740 h 1357700"/>
              <a:gd name="connsiteX138" fmla="*/ 800667 w 10678681"/>
              <a:gd name="connsiteY138" fmla="*/ 1282041 h 1357700"/>
              <a:gd name="connsiteX139" fmla="*/ 644906 w 10678681"/>
              <a:gd name="connsiteY139" fmla="*/ 1273685 h 1357700"/>
              <a:gd name="connsiteX140" fmla="*/ 379869 w 10678681"/>
              <a:gd name="connsiteY140" fmla="*/ 1339165 h 1357700"/>
              <a:gd name="connsiteX141" fmla="*/ 137696 w 10678681"/>
              <a:gd name="connsiteY141" fmla="*/ 1319217 h 1357700"/>
              <a:gd name="connsiteX142" fmla="*/ 54250 w 10678681"/>
              <a:gd name="connsiteY142" fmla="*/ 1315838 h 1357700"/>
              <a:gd name="connsiteX143" fmla="*/ 28042 w 10678681"/>
              <a:gd name="connsiteY143" fmla="*/ 1297822 h 1357700"/>
              <a:gd name="connsiteX144" fmla="*/ 0 w 10678681"/>
              <a:gd name="connsiteY144" fmla="*/ 1294612 h 1357700"/>
              <a:gd name="connsiteX145" fmla="*/ 0 w 10678681"/>
              <a:gd name="connsiteY145"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30518 w 10678681"/>
              <a:gd name="connsiteY38" fmla="*/ 739526 h 1357700"/>
              <a:gd name="connsiteX39" fmla="*/ 7652907 w 10678681"/>
              <a:gd name="connsiteY39" fmla="*/ 783273 h 1357700"/>
              <a:gd name="connsiteX40" fmla="*/ 7606008 w 10678681"/>
              <a:gd name="connsiteY40" fmla="*/ 800717 h 1357700"/>
              <a:gd name="connsiteX41" fmla="*/ 7480223 w 10678681"/>
              <a:gd name="connsiteY41" fmla="*/ 856821 h 1357700"/>
              <a:gd name="connsiteX42" fmla="*/ 7356005 w 10678681"/>
              <a:gd name="connsiteY42" fmla="*/ 919462 h 1357700"/>
              <a:gd name="connsiteX43" fmla="*/ 7305396 w 10678681"/>
              <a:gd name="connsiteY43" fmla="*/ 986228 h 1357700"/>
              <a:gd name="connsiteX44" fmla="*/ 7277477 w 10678681"/>
              <a:gd name="connsiteY44" fmla="*/ 990571 h 1357700"/>
              <a:gd name="connsiteX45" fmla="*/ 7269396 w 10678681"/>
              <a:gd name="connsiteY45" fmla="*/ 989282 h 1357700"/>
              <a:gd name="connsiteX46" fmla="*/ 7258094 w 10678681"/>
              <a:gd name="connsiteY46" fmla="*/ 990679 h 1357700"/>
              <a:gd name="connsiteX47" fmla="*/ 7257893 w 10678681"/>
              <a:gd name="connsiteY47" fmla="*/ 991204 h 1357700"/>
              <a:gd name="connsiteX48" fmla="*/ 7247153 w 10678681"/>
              <a:gd name="connsiteY48" fmla="*/ 991550 h 1357700"/>
              <a:gd name="connsiteX49" fmla="*/ 7193612 w 10678681"/>
              <a:gd name="connsiteY49" fmla="*/ 987042 h 1357700"/>
              <a:gd name="connsiteX50" fmla="*/ 7132632 w 10678681"/>
              <a:gd name="connsiteY50" fmla="*/ 1042036 h 1357700"/>
              <a:gd name="connsiteX51" fmla="*/ 7105610 w 10678681"/>
              <a:gd name="connsiteY51" fmla="*/ 1053537 h 1357700"/>
              <a:gd name="connsiteX52" fmla="*/ 7069148 w 10678681"/>
              <a:gd name="connsiteY52" fmla="*/ 1047163 h 1357700"/>
              <a:gd name="connsiteX53" fmla="*/ 7039634 w 10678681"/>
              <a:gd name="connsiteY53" fmla="*/ 1059971 h 1357700"/>
              <a:gd name="connsiteX54" fmla="*/ 7033445 w 10678681"/>
              <a:gd name="connsiteY54" fmla="*/ 1063314 h 1357700"/>
              <a:gd name="connsiteX55" fmla="*/ 6999157 w 10678681"/>
              <a:gd name="connsiteY55" fmla="*/ 1055282 h 1357700"/>
              <a:gd name="connsiteX56" fmla="*/ 6981874 w 10678681"/>
              <a:gd name="connsiteY56" fmla="*/ 1053827 h 1357700"/>
              <a:gd name="connsiteX57" fmla="*/ 6976102 w 10678681"/>
              <a:gd name="connsiteY57" fmla="*/ 1047854 h 1357700"/>
              <a:gd name="connsiteX58" fmla="*/ 6951040 w 10678681"/>
              <a:gd name="connsiteY58" fmla="*/ 1048531 h 1357700"/>
              <a:gd name="connsiteX59" fmla="*/ 6948497 w 10678681"/>
              <a:gd name="connsiteY59" fmla="*/ 1050706 h 1357700"/>
              <a:gd name="connsiteX60" fmla="*/ 6926582 w 10678681"/>
              <a:gd name="connsiteY60" fmla="*/ 1043462 h 1357700"/>
              <a:gd name="connsiteX61" fmla="*/ 6833743 w 10678681"/>
              <a:gd name="connsiteY61" fmla="*/ 1027960 h 1357700"/>
              <a:gd name="connsiteX62" fmla="*/ 6687090 w 10678681"/>
              <a:gd name="connsiteY62" fmla="*/ 1063250 h 1357700"/>
              <a:gd name="connsiteX63" fmla="*/ 6437450 w 10678681"/>
              <a:gd name="connsiteY63" fmla="*/ 1101075 h 1357700"/>
              <a:gd name="connsiteX64" fmla="*/ 6327795 w 10678681"/>
              <a:gd name="connsiteY64" fmla="*/ 1088142 h 1357700"/>
              <a:gd name="connsiteX65" fmla="*/ 6136549 w 10678681"/>
              <a:gd name="connsiteY65" fmla="*/ 1100268 h 1357700"/>
              <a:gd name="connsiteX66" fmla="*/ 6004655 w 10678681"/>
              <a:gd name="connsiteY66" fmla="*/ 1114946 h 1357700"/>
              <a:gd name="connsiteX67" fmla="*/ 5936643 w 10678681"/>
              <a:gd name="connsiteY67" fmla="*/ 1095428 h 1357700"/>
              <a:gd name="connsiteX68" fmla="*/ 5912484 w 10678681"/>
              <a:gd name="connsiteY68" fmla="*/ 1112624 h 1357700"/>
              <a:gd name="connsiteX69" fmla="*/ 5908387 w 10678681"/>
              <a:gd name="connsiteY69" fmla="*/ 1116018 h 1357700"/>
              <a:gd name="connsiteX70" fmla="*/ 5890495 w 10678681"/>
              <a:gd name="connsiteY70" fmla="*/ 1120268 h 1357700"/>
              <a:gd name="connsiteX71" fmla="*/ 5887318 w 10678681"/>
              <a:gd name="connsiteY71" fmla="*/ 1133134 h 1357700"/>
              <a:gd name="connsiteX72" fmla="*/ 5861726 w 10678681"/>
              <a:gd name="connsiteY72" fmla="*/ 1147891 h 1357700"/>
              <a:gd name="connsiteX73" fmla="*/ 5805823 w 10678681"/>
              <a:gd name="connsiteY73" fmla="*/ 1152457 h 1357700"/>
              <a:gd name="connsiteX74" fmla="*/ 5689841 w 10678681"/>
              <a:gd name="connsiteY74" fmla="*/ 1176232 h 1357700"/>
              <a:gd name="connsiteX75" fmla="*/ 5605119 w 10678681"/>
              <a:gd name="connsiteY75" fmla="*/ 1190202 h 1357700"/>
              <a:gd name="connsiteX76" fmla="*/ 5488513 w 10678681"/>
              <a:gd name="connsiteY76" fmla="*/ 1205367 h 1357700"/>
              <a:gd name="connsiteX77" fmla="*/ 5402905 w 10678681"/>
              <a:gd name="connsiteY77" fmla="*/ 1241191 h 1357700"/>
              <a:gd name="connsiteX78" fmla="*/ 5285593 w 10678681"/>
              <a:gd name="connsiteY78" fmla="*/ 1273569 h 1357700"/>
              <a:gd name="connsiteX79" fmla="*/ 5192893 w 10678681"/>
              <a:gd name="connsiteY79" fmla="*/ 1247188 h 1357700"/>
              <a:gd name="connsiteX80" fmla="*/ 5186475 w 10678681"/>
              <a:gd name="connsiteY80" fmla="*/ 1257028 h 1357700"/>
              <a:gd name="connsiteX81" fmla="*/ 5126038 w 10678681"/>
              <a:gd name="connsiteY81" fmla="*/ 1263189 h 1357700"/>
              <a:gd name="connsiteX82" fmla="*/ 4894688 w 10678681"/>
              <a:gd name="connsiteY82" fmla="*/ 1247184 h 1357700"/>
              <a:gd name="connsiteX83" fmla="*/ 4788036 w 10678681"/>
              <a:gd name="connsiteY83" fmla="*/ 1238182 h 1357700"/>
              <a:gd name="connsiteX84" fmla="*/ 4747555 w 10678681"/>
              <a:gd name="connsiteY84" fmla="*/ 1252768 h 1357700"/>
              <a:gd name="connsiteX85" fmla="*/ 4679644 w 10678681"/>
              <a:gd name="connsiteY85" fmla="*/ 1276603 h 1357700"/>
              <a:gd name="connsiteX86" fmla="*/ 4632222 w 10678681"/>
              <a:gd name="connsiteY86" fmla="*/ 1318360 h 1357700"/>
              <a:gd name="connsiteX87" fmla="*/ 4617358 w 10678681"/>
              <a:gd name="connsiteY87" fmla="*/ 1327690 h 1357700"/>
              <a:gd name="connsiteX88" fmla="*/ 4589102 w 10678681"/>
              <a:gd name="connsiteY88" fmla="*/ 1321223 h 1357700"/>
              <a:gd name="connsiteX89" fmla="*/ 4578184 w 10678681"/>
              <a:gd name="connsiteY89" fmla="*/ 1326745 h 1357700"/>
              <a:gd name="connsiteX90" fmla="*/ 4574270 w 10678681"/>
              <a:gd name="connsiteY90" fmla="*/ 1325878 h 1357700"/>
              <a:gd name="connsiteX91" fmla="*/ 4564919 w 10678681"/>
              <a:gd name="connsiteY91" fmla="*/ 1325507 h 1357700"/>
              <a:gd name="connsiteX92" fmla="*/ 4566586 w 10678681"/>
              <a:gd name="connsiteY92" fmla="*/ 1316963 h 1357700"/>
              <a:gd name="connsiteX93" fmla="*/ 4556303 w 10678681"/>
              <a:gd name="connsiteY93" fmla="*/ 1300262 h 1357700"/>
              <a:gd name="connsiteX94" fmla="*/ 4502358 w 10678681"/>
              <a:gd name="connsiteY94" fmla="*/ 1302558 h 1357700"/>
              <a:gd name="connsiteX95" fmla="*/ 4498919 w 10678681"/>
              <a:gd name="connsiteY95" fmla="*/ 1312115 h 1357700"/>
              <a:gd name="connsiteX96" fmla="*/ 4492075 w 10678681"/>
              <a:gd name="connsiteY96" fmla="*/ 1313357 h 1357700"/>
              <a:gd name="connsiteX97" fmla="*/ 4487466 w 10678681"/>
              <a:gd name="connsiteY97" fmla="*/ 1304102 h 1357700"/>
              <a:gd name="connsiteX98" fmla="*/ 4398292 w 10678681"/>
              <a:gd name="connsiteY98" fmla="*/ 1278410 h 1357700"/>
              <a:gd name="connsiteX99" fmla="*/ 4306088 w 10678681"/>
              <a:gd name="connsiteY99" fmla="*/ 1282512 h 1357700"/>
              <a:gd name="connsiteX100" fmla="*/ 4188995 w 10678681"/>
              <a:gd name="connsiteY100" fmla="*/ 1296718 h 1357700"/>
              <a:gd name="connsiteX101" fmla="*/ 4136582 w 10678681"/>
              <a:gd name="connsiteY101" fmla="*/ 1287687 h 1357700"/>
              <a:gd name="connsiteX102" fmla="*/ 4064614 w 10678681"/>
              <a:gd name="connsiteY102" fmla="*/ 1296118 h 1357700"/>
              <a:gd name="connsiteX103" fmla="*/ 3906561 w 10678681"/>
              <a:gd name="connsiteY103" fmla="*/ 1352435 h 1357700"/>
              <a:gd name="connsiteX104" fmla="*/ 3787890 w 10678681"/>
              <a:gd name="connsiteY104" fmla="*/ 1352442 h 1357700"/>
              <a:gd name="connsiteX105" fmla="*/ 3745993 w 10678681"/>
              <a:gd name="connsiteY105" fmla="*/ 1342630 h 1357700"/>
              <a:gd name="connsiteX106" fmla="*/ 3675785 w 10678681"/>
              <a:gd name="connsiteY106" fmla="*/ 1326802 h 1357700"/>
              <a:gd name="connsiteX107" fmla="*/ 3623856 w 10678681"/>
              <a:gd name="connsiteY107" fmla="*/ 1290804 h 1357700"/>
              <a:gd name="connsiteX108" fmla="*/ 3564933 w 10678681"/>
              <a:gd name="connsiteY108" fmla="*/ 1287147 h 1357700"/>
              <a:gd name="connsiteX109" fmla="*/ 3550537 w 10678681"/>
              <a:gd name="connsiteY109" fmla="*/ 1317552 h 1357700"/>
              <a:gd name="connsiteX110" fmla="*/ 3487736 w 10678681"/>
              <a:gd name="connsiteY110" fmla="*/ 1303493 h 1357700"/>
              <a:gd name="connsiteX111" fmla="*/ 3392548 w 10678681"/>
              <a:gd name="connsiteY111" fmla="*/ 1278741 h 1357700"/>
              <a:gd name="connsiteX112" fmla="*/ 3337466 w 10678681"/>
              <a:gd name="connsiteY112" fmla="*/ 1272537 h 1357700"/>
              <a:gd name="connsiteX113" fmla="*/ 3187206 w 10678681"/>
              <a:gd name="connsiteY113" fmla="*/ 1246821 h 1357700"/>
              <a:gd name="connsiteX114" fmla="*/ 3036856 w 10678681"/>
              <a:gd name="connsiteY114" fmla="*/ 1214383 h 1357700"/>
              <a:gd name="connsiteX115" fmla="*/ 2948654 w 10678681"/>
              <a:gd name="connsiteY115" fmla="*/ 1157455 h 1357700"/>
              <a:gd name="connsiteX116" fmla="*/ 2824973 w 10678681"/>
              <a:gd name="connsiteY116" fmla="*/ 1134864 h 1357700"/>
              <a:gd name="connsiteX117" fmla="*/ 2804398 w 10678681"/>
              <a:gd name="connsiteY117" fmla="*/ 1125556 h 1357700"/>
              <a:gd name="connsiteX118" fmla="*/ 2775396 w 10678681"/>
              <a:gd name="connsiteY118" fmla="*/ 1130148 h 1357700"/>
              <a:gd name="connsiteX119" fmla="*/ 2659096 w 10678681"/>
              <a:gd name="connsiteY119" fmla="*/ 1150294 h 1357700"/>
              <a:gd name="connsiteX120" fmla="*/ 2567088 w 10678681"/>
              <a:gd name="connsiteY120" fmla="*/ 1181781 h 1357700"/>
              <a:gd name="connsiteX121" fmla="*/ 2454501 w 10678681"/>
              <a:gd name="connsiteY121" fmla="*/ 1155455 h 1357700"/>
              <a:gd name="connsiteX122" fmla="*/ 2385161 w 10678681"/>
              <a:gd name="connsiteY122" fmla="*/ 1161312 h 1357700"/>
              <a:gd name="connsiteX123" fmla="*/ 2270528 w 10678681"/>
              <a:gd name="connsiteY123" fmla="*/ 1204338 h 1357700"/>
              <a:gd name="connsiteX124" fmla="*/ 2121820 w 10678681"/>
              <a:gd name="connsiteY124" fmla="*/ 1187078 h 1357700"/>
              <a:gd name="connsiteX125" fmla="*/ 2092716 w 10678681"/>
              <a:gd name="connsiteY125" fmla="*/ 1139224 h 1357700"/>
              <a:gd name="connsiteX126" fmla="*/ 2052449 w 10678681"/>
              <a:gd name="connsiteY126" fmla="*/ 1109687 h 1357700"/>
              <a:gd name="connsiteX127" fmla="*/ 2032607 w 10678681"/>
              <a:gd name="connsiteY127" fmla="*/ 1175477 h 1357700"/>
              <a:gd name="connsiteX128" fmla="*/ 1901837 w 10678681"/>
              <a:gd name="connsiteY128" fmla="*/ 1221762 h 1357700"/>
              <a:gd name="connsiteX129" fmla="*/ 1836762 w 10678681"/>
              <a:gd name="connsiteY129" fmla="*/ 1237387 h 1357700"/>
              <a:gd name="connsiteX130" fmla="*/ 1735877 w 10678681"/>
              <a:gd name="connsiteY130" fmla="*/ 1246527 h 1357700"/>
              <a:gd name="connsiteX131" fmla="*/ 1705069 w 10678681"/>
              <a:gd name="connsiteY131" fmla="*/ 1251989 h 1357700"/>
              <a:gd name="connsiteX132" fmla="*/ 1397689 w 10678681"/>
              <a:gd name="connsiteY132" fmla="*/ 1336144 h 1357700"/>
              <a:gd name="connsiteX133" fmla="*/ 1220734 w 10678681"/>
              <a:gd name="connsiteY133" fmla="*/ 1257811 h 1357700"/>
              <a:gd name="connsiteX134" fmla="*/ 1021737 w 10678681"/>
              <a:gd name="connsiteY134" fmla="*/ 1238739 h 1357700"/>
              <a:gd name="connsiteX135" fmla="*/ 959820 w 10678681"/>
              <a:gd name="connsiteY135" fmla="*/ 1275863 h 1357700"/>
              <a:gd name="connsiteX136" fmla="*/ 929137 w 10678681"/>
              <a:gd name="connsiteY136" fmla="*/ 1273957 h 1357700"/>
              <a:gd name="connsiteX137" fmla="*/ 878849 w 10678681"/>
              <a:gd name="connsiteY137" fmla="*/ 1266740 h 1357700"/>
              <a:gd name="connsiteX138" fmla="*/ 800667 w 10678681"/>
              <a:gd name="connsiteY138" fmla="*/ 1282041 h 1357700"/>
              <a:gd name="connsiteX139" fmla="*/ 644906 w 10678681"/>
              <a:gd name="connsiteY139" fmla="*/ 1273685 h 1357700"/>
              <a:gd name="connsiteX140" fmla="*/ 379869 w 10678681"/>
              <a:gd name="connsiteY140" fmla="*/ 1339165 h 1357700"/>
              <a:gd name="connsiteX141" fmla="*/ 137696 w 10678681"/>
              <a:gd name="connsiteY141" fmla="*/ 1319217 h 1357700"/>
              <a:gd name="connsiteX142" fmla="*/ 54250 w 10678681"/>
              <a:gd name="connsiteY142" fmla="*/ 1315838 h 1357700"/>
              <a:gd name="connsiteX143" fmla="*/ 28042 w 10678681"/>
              <a:gd name="connsiteY143" fmla="*/ 1297822 h 1357700"/>
              <a:gd name="connsiteX144" fmla="*/ 0 w 10678681"/>
              <a:gd name="connsiteY144" fmla="*/ 1294612 h 1357700"/>
              <a:gd name="connsiteX145" fmla="*/ 0 w 10678681"/>
              <a:gd name="connsiteY145"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30518 w 10678681"/>
              <a:gd name="connsiteY38" fmla="*/ 739526 h 1357700"/>
              <a:gd name="connsiteX39" fmla="*/ 7652907 w 10678681"/>
              <a:gd name="connsiteY39" fmla="*/ 783273 h 1357700"/>
              <a:gd name="connsiteX40" fmla="*/ 7606008 w 10678681"/>
              <a:gd name="connsiteY40" fmla="*/ 800717 h 1357700"/>
              <a:gd name="connsiteX41" fmla="*/ 7480223 w 10678681"/>
              <a:gd name="connsiteY41" fmla="*/ 856821 h 1357700"/>
              <a:gd name="connsiteX42" fmla="*/ 7356005 w 10678681"/>
              <a:gd name="connsiteY42" fmla="*/ 919462 h 1357700"/>
              <a:gd name="connsiteX43" fmla="*/ 7305396 w 10678681"/>
              <a:gd name="connsiteY43" fmla="*/ 986228 h 1357700"/>
              <a:gd name="connsiteX44" fmla="*/ 7266251 w 10678681"/>
              <a:gd name="connsiteY44" fmla="*/ 967864 h 1357700"/>
              <a:gd name="connsiteX45" fmla="*/ 7269396 w 10678681"/>
              <a:gd name="connsiteY45" fmla="*/ 989282 h 1357700"/>
              <a:gd name="connsiteX46" fmla="*/ 7258094 w 10678681"/>
              <a:gd name="connsiteY46" fmla="*/ 990679 h 1357700"/>
              <a:gd name="connsiteX47" fmla="*/ 7257893 w 10678681"/>
              <a:gd name="connsiteY47" fmla="*/ 991204 h 1357700"/>
              <a:gd name="connsiteX48" fmla="*/ 7247153 w 10678681"/>
              <a:gd name="connsiteY48" fmla="*/ 991550 h 1357700"/>
              <a:gd name="connsiteX49" fmla="*/ 7193612 w 10678681"/>
              <a:gd name="connsiteY49" fmla="*/ 987042 h 1357700"/>
              <a:gd name="connsiteX50" fmla="*/ 7132632 w 10678681"/>
              <a:gd name="connsiteY50" fmla="*/ 1042036 h 1357700"/>
              <a:gd name="connsiteX51" fmla="*/ 7105610 w 10678681"/>
              <a:gd name="connsiteY51" fmla="*/ 1053537 h 1357700"/>
              <a:gd name="connsiteX52" fmla="*/ 7069148 w 10678681"/>
              <a:gd name="connsiteY52" fmla="*/ 1047163 h 1357700"/>
              <a:gd name="connsiteX53" fmla="*/ 7039634 w 10678681"/>
              <a:gd name="connsiteY53" fmla="*/ 1059971 h 1357700"/>
              <a:gd name="connsiteX54" fmla="*/ 7033445 w 10678681"/>
              <a:gd name="connsiteY54" fmla="*/ 1063314 h 1357700"/>
              <a:gd name="connsiteX55" fmla="*/ 6999157 w 10678681"/>
              <a:gd name="connsiteY55" fmla="*/ 1055282 h 1357700"/>
              <a:gd name="connsiteX56" fmla="*/ 6981874 w 10678681"/>
              <a:gd name="connsiteY56" fmla="*/ 1053827 h 1357700"/>
              <a:gd name="connsiteX57" fmla="*/ 6976102 w 10678681"/>
              <a:gd name="connsiteY57" fmla="*/ 1047854 h 1357700"/>
              <a:gd name="connsiteX58" fmla="*/ 6951040 w 10678681"/>
              <a:gd name="connsiteY58" fmla="*/ 1048531 h 1357700"/>
              <a:gd name="connsiteX59" fmla="*/ 6948497 w 10678681"/>
              <a:gd name="connsiteY59" fmla="*/ 1050706 h 1357700"/>
              <a:gd name="connsiteX60" fmla="*/ 6926582 w 10678681"/>
              <a:gd name="connsiteY60" fmla="*/ 1043462 h 1357700"/>
              <a:gd name="connsiteX61" fmla="*/ 6833743 w 10678681"/>
              <a:gd name="connsiteY61" fmla="*/ 1027960 h 1357700"/>
              <a:gd name="connsiteX62" fmla="*/ 6687090 w 10678681"/>
              <a:gd name="connsiteY62" fmla="*/ 1063250 h 1357700"/>
              <a:gd name="connsiteX63" fmla="*/ 6437450 w 10678681"/>
              <a:gd name="connsiteY63" fmla="*/ 1101075 h 1357700"/>
              <a:gd name="connsiteX64" fmla="*/ 6327795 w 10678681"/>
              <a:gd name="connsiteY64" fmla="*/ 1088142 h 1357700"/>
              <a:gd name="connsiteX65" fmla="*/ 6136549 w 10678681"/>
              <a:gd name="connsiteY65" fmla="*/ 1100268 h 1357700"/>
              <a:gd name="connsiteX66" fmla="*/ 6004655 w 10678681"/>
              <a:gd name="connsiteY66" fmla="*/ 1114946 h 1357700"/>
              <a:gd name="connsiteX67" fmla="*/ 5936643 w 10678681"/>
              <a:gd name="connsiteY67" fmla="*/ 1095428 h 1357700"/>
              <a:gd name="connsiteX68" fmla="*/ 5912484 w 10678681"/>
              <a:gd name="connsiteY68" fmla="*/ 1112624 h 1357700"/>
              <a:gd name="connsiteX69" fmla="*/ 5908387 w 10678681"/>
              <a:gd name="connsiteY69" fmla="*/ 1116018 h 1357700"/>
              <a:gd name="connsiteX70" fmla="*/ 5890495 w 10678681"/>
              <a:gd name="connsiteY70" fmla="*/ 1120268 h 1357700"/>
              <a:gd name="connsiteX71" fmla="*/ 5887318 w 10678681"/>
              <a:gd name="connsiteY71" fmla="*/ 1133134 h 1357700"/>
              <a:gd name="connsiteX72" fmla="*/ 5861726 w 10678681"/>
              <a:gd name="connsiteY72" fmla="*/ 1147891 h 1357700"/>
              <a:gd name="connsiteX73" fmla="*/ 5805823 w 10678681"/>
              <a:gd name="connsiteY73" fmla="*/ 1152457 h 1357700"/>
              <a:gd name="connsiteX74" fmla="*/ 5689841 w 10678681"/>
              <a:gd name="connsiteY74" fmla="*/ 1176232 h 1357700"/>
              <a:gd name="connsiteX75" fmla="*/ 5605119 w 10678681"/>
              <a:gd name="connsiteY75" fmla="*/ 1190202 h 1357700"/>
              <a:gd name="connsiteX76" fmla="*/ 5488513 w 10678681"/>
              <a:gd name="connsiteY76" fmla="*/ 1205367 h 1357700"/>
              <a:gd name="connsiteX77" fmla="*/ 5402905 w 10678681"/>
              <a:gd name="connsiteY77" fmla="*/ 1241191 h 1357700"/>
              <a:gd name="connsiteX78" fmla="*/ 5285593 w 10678681"/>
              <a:gd name="connsiteY78" fmla="*/ 1273569 h 1357700"/>
              <a:gd name="connsiteX79" fmla="*/ 5192893 w 10678681"/>
              <a:gd name="connsiteY79" fmla="*/ 1247188 h 1357700"/>
              <a:gd name="connsiteX80" fmla="*/ 5186475 w 10678681"/>
              <a:gd name="connsiteY80" fmla="*/ 1257028 h 1357700"/>
              <a:gd name="connsiteX81" fmla="*/ 5126038 w 10678681"/>
              <a:gd name="connsiteY81" fmla="*/ 1263189 h 1357700"/>
              <a:gd name="connsiteX82" fmla="*/ 4894688 w 10678681"/>
              <a:gd name="connsiteY82" fmla="*/ 1247184 h 1357700"/>
              <a:gd name="connsiteX83" fmla="*/ 4788036 w 10678681"/>
              <a:gd name="connsiteY83" fmla="*/ 1238182 h 1357700"/>
              <a:gd name="connsiteX84" fmla="*/ 4747555 w 10678681"/>
              <a:gd name="connsiteY84" fmla="*/ 1252768 h 1357700"/>
              <a:gd name="connsiteX85" fmla="*/ 4679644 w 10678681"/>
              <a:gd name="connsiteY85" fmla="*/ 1276603 h 1357700"/>
              <a:gd name="connsiteX86" fmla="*/ 4632222 w 10678681"/>
              <a:gd name="connsiteY86" fmla="*/ 1318360 h 1357700"/>
              <a:gd name="connsiteX87" fmla="*/ 4617358 w 10678681"/>
              <a:gd name="connsiteY87" fmla="*/ 1327690 h 1357700"/>
              <a:gd name="connsiteX88" fmla="*/ 4589102 w 10678681"/>
              <a:gd name="connsiteY88" fmla="*/ 1321223 h 1357700"/>
              <a:gd name="connsiteX89" fmla="*/ 4578184 w 10678681"/>
              <a:gd name="connsiteY89" fmla="*/ 1326745 h 1357700"/>
              <a:gd name="connsiteX90" fmla="*/ 4574270 w 10678681"/>
              <a:gd name="connsiteY90" fmla="*/ 1325878 h 1357700"/>
              <a:gd name="connsiteX91" fmla="*/ 4564919 w 10678681"/>
              <a:gd name="connsiteY91" fmla="*/ 1325507 h 1357700"/>
              <a:gd name="connsiteX92" fmla="*/ 4566586 w 10678681"/>
              <a:gd name="connsiteY92" fmla="*/ 1316963 h 1357700"/>
              <a:gd name="connsiteX93" fmla="*/ 4556303 w 10678681"/>
              <a:gd name="connsiteY93" fmla="*/ 1300262 h 1357700"/>
              <a:gd name="connsiteX94" fmla="*/ 4502358 w 10678681"/>
              <a:gd name="connsiteY94" fmla="*/ 1302558 h 1357700"/>
              <a:gd name="connsiteX95" fmla="*/ 4498919 w 10678681"/>
              <a:gd name="connsiteY95" fmla="*/ 1312115 h 1357700"/>
              <a:gd name="connsiteX96" fmla="*/ 4492075 w 10678681"/>
              <a:gd name="connsiteY96" fmla="*/ 1313357 h 1357700"/>
              <a:gd name="connsiteX97" fmla="*/ 4487466 w 10678681"/>
              <a:gd name="connsiteY97" fmla="*/ 1304102 h 1357700"/>
              <a:gd name="connsiteX98" fmla="*/ 4398292 w 10678681"/>
              <a:gd name="connsiteY98" fmla="*/ 1278410 h 1357700"/>
              <a:gd name="connsiteX99" fmla="*/ 4306088 w 10678681"/>
              <a:gd name="connsiteY99" fmla="*/ 1282512 h 1357700"/>
              <a:gd name="connsiteX100" fmla="*/ 4188995 w 10678681"/>
              <a:gd name="connsiteY100" fmla="*/ 1296718 h 1357700"/>
              <a:gd name="connsiteX101" fmla="*/ 4136582 w 10678681"/>
              <a:gd name="connsiteY101" fmla="*/ 1287687 h 1357700"/>
              <a:gd name="connsiteX102" fmla="*/ 4064614 w 10678681"/>
              <a:gd name="connsiteY102" fmla="*/ 1296118 h 1357700"/>
              <a:gd name="connsiteX103" fmla="*/ 3906561 w 10678681"/>
              <a:gd name="connsiteY103" fmla="*/ 1352435 h 1357700"/>
              <a:gd name="connsiteX104" fmla="*/ 3787890 w 10678681"/>
              <a:gd name="connsiteY104" fmla="*/ 1352442 h 1357700"/>
              <a:gd name="connsiteX105" fmla="*/ 3745993 w 10678681"/>
              <a:gd name="connsiteY105" fmla="*/ 1342630 h 1357700"/>
              <a:gd name="connsiteX106" fmla="*/ 3675785 w 10678681"/>
              <a:gd name="connsiteY106" fmla="*/ 1326802 h 1357700"/>
              <a:gd name="connsiteX107" fmla="*/ 3623856 w 10678681"/>
              <a:gd name="connsiteY107" fmla="*/ 1290804 h 1357700"/>
              <a:gd name="connsiteX108" fmla="*/ 3564933 w 10678681"/>
              <a:gd name="connsiteY108" fmla="*/ 1287147 h 1357700"/>
              <a:gd name="connsiteX109" fmla="*/ 3550537 w 10678681"/>
              <a:gd name="connsiteY109" fmla="*/ 1317552 h 1357700"/>
              <a:gd name="connsiteX110" fmla="*/ 3487736 w 10678681"/>
              <a:gd name="connsiteY110" fmla="*/ 1303493 h 1357700"/>
              <a:gd name="connsiteX111" fmla="*/ 3392548 w 10678681"/>
              <a:gd name="connsiteY111" fmla="*/ 1278741 h 1357700"/>
              <a:gd name="connsiteX112" fmla="*/ 3337466 w 10678681"/>
              <a:gd name="connsiteY112" fmla="*/ 1272537 h 1357700"/>
              <a:gd name="connsiteX113" fmla="*/ 3187206 w 10678681"/>
              <a:gd name="connsiteY113" fmla="*/ 1246821 h 1357700"/>
              <a:gd name="connsiteX114" fmla="*/ 3036856 w 10678681"/>
              <a:gd name="connsiteY114" fmla="*/ 1214383 h 1357700"/>
              <a:gd name="connsiteX115" fmla="*/ 2948654 w 10678681"/>
              <a:gd name="connsiteY115" fmla="*/ 1157455 h 1357700"/>
              <a:gd name="connsiteX116" fmla="*/ 2824973 w 10678681"/>
              <a:gd name="connsiteY116" fmla="*/ 1134864 h 1357700"/>
              <a:gd name="connsiteX117" fmla="*/ 2804398 w 10678681"/>
              <a:gd name="connsiteY117" fmla="*/ 1125556 h 1357700"/>
              <a:gd name="connsiteX118" fmla="*/ 2775396 w 10678681"/>
              <a:gd name="connsiteY118" fmla="*/ 1130148 h 1357700"/>
              <a:gd name="connsiteX119" fmla="*/ 2659096 w 10678681"/>
              <a:gd name="connsiteY119" fmla="*/ 1150294 h 1357700"/>
              <a:gd name="connsiteX120" fmla="*/ 2567088 w 10678681"/>
              <a:gd name="connsiteY120" fmla="*/ 1181781 h 1357700"/>
              <a:gd name="connsiteX121" fmla="*/ 2454501 w 10678681"/>
              <a:gd name="connsiteY121" fmla="*/ 1155455 h 1357700"/>
              <a:gd name="connsiteX122" fmla="*/ 2385161 w 10678681"/>
              <a:gd name="connsiteY122" fmla="*/ 1161312 h 1357700"/>
              <a:gd name="connsiteX123" fmla="*/ 2270528 w 10678681"/>
              <a:gd name="connsiteY123" fmla="*/ 1204338 h 1357700"/>
              <a:gd name="connsiteX124" fmla="*/ 2121820 w 10678681"/>
              <a:gd name="connsiteY124" fmla="*/ 1187078 h 1357700"/>
              <a:gd name="connsiteX125" fmla="*/ 2092716 w 10678681"/>
              <a:gd name="connsiteY125" fmla="*/ 1139224 h 1357700"/>
              <a:gd name="connsiteX126" fmla="*/ 2052449 w 10678681"/>
              <a:gd name="connsiteY126" fmla="*/ 1109687 h 1357700"/>
              <a:gd name="connsiteX127" fmla="*/ 2032607 w 10678681"/>
              <a:gd name="connsiteY127" fmla="*/ 1175477 h 1357700"/>
              <a:gd name="connsiteX128" fmla="*/ 1901837 w 10678681"/>
              <a:gd name="connsiteY128" fmla="*/ 1221762 h 1357700"/>
              <a:gd name="connsiteX129" fmla="*/ 1836762 w 10678681"/>
              <a:gd name="connsiteY129" fmla="*/ 1237387 h 1357700"/>
              <a:gd name="connsiteX130" fmla="*/ 1735877 w 10678681"/>
              <a:gd name="connsiteY130" fmla="*/ 1246527 h 1357700"/>
              <a:gd name="connsiteX131" fmla="*/ 1705069 w 10678681"/>
              <a:gd name="connsiteY131" fmla="*/ 1251989 h 1357700"/>
              <a:gd name="connsiteX132" fmla="*/ 1397689 w 10678681"/>
              <a:gd name="connsiteY132" fmla="*/ 1336144 h 1357700"/>
              <a:gd name="connsiteX133" fmla="*/ 1220734 w 10678681"/>
              <a:gd name="connsiteY133" fmla="*/ 1257811 h 1357700"/>
              <a:gd name="connsiteX134" fmla="*/ 1021737 w 10678681"/>
              <a:gd name="connsiteY134" fmla="*/ 1238739 h 1357700"/>
              <a:gd name="connsiteX135" fmla="*/ 959820 w 10678681"/>
              <a:gd name="connsiteY135" fmla="*/ 1275863 h 1357700"/>
              <a:gd name="connsiteX136" fmla="*/ 929137 w 10678681"/>
              <a:gd name="connsiteY136" fmla="*/ 1273957 h 1357700"/>
              <a:gd name="connsiteX137" fmla="*/ 878849 w 10678681"/>
              <a:gd name="connsiteY137" fmla="*/ 1266740 h 1357700"/>
              <a:gd name="connsiteX138" fmla="*/ 800667 w 10678681"/>
              <a:gd name="connsiteY138" fmla="*/ 1282041 h 1357700"/>
              <a:gd name="connsiteX139" fmla="*/ 644906 w 10678681"/>
              <a:gd name="connsiteY139" fmla="*/ 1273685 h 1357700"/>
              <a:gd name="connsiteX140" fmla="*/ 379869 w 10678681"/>
              <a:gd name="connsiteY140" fmla="*/ 1339165 h 1357700"/>
              <a:gd name="connsiteX141" fmla="*/ 137696 w 10678681"/>
              <a:gd name="connsiteY141" fmla="*/ 1319217 h 1357700"/>
              <a:gd name="connsiteX142" fmla="*/ 54250 w 10678681"/>
              <a:gd name="connsiteY142" fmla="*/ 1315838 h 1357700"/>
              <a:gd name="connsiteX143" fmla="*/ 28042 w 10678681"/>
              <a:gd name="connsiteY143" fmla="*/ 1297822 h 1357700"/>
              <a:gd name="connsiteX144" fmla="*/ 0 w 10678681"/>
              <a:gd name="connsiteY144" fmla="*/ 1294612 h 1357700"/>
              <a:gd name="connsiteX145" fmla="*/ 0 w 10678681"/>
              <a:gd name="connsiteY145"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30518 w 10678681"/>
              <a:gd name="connsiteY38" fmla="*/ 739526 h 1357700"/>
              <a:gd name="connsiteX39" fmla="*/ 7652907 w 10678681"/>
              <a:gd name="connsiteY39" fmla="*/ 783273 h 1357700"/>
              <a:gd name="connsiteX40" fmla="*/ 7606008 w 10678681"/>
              <a:gd name="connsiteY40" fmla="*/ 800717 h 1357700"/>
              <a:gd name="connsiteX41" fmla="*/ 7480223 w 10678681"/>
              <a:gd name="connsiteY41" fmla="*/ 856821 h 1357700"/>
              <a:gd name="connsiteX42" fmla="*/ 7356005 w 10678681"/>
              <a:gd name="connsiteY42" fmla="*/ 919462 h 1357700"/>
              <a:gd name="connsiteX43" fmla="*/ 7305396 w 10678681"/>
              <a:gd name="connsiteY43" fmla="*/ 986228 h 1357700"/>
              <a:gd name="connsiteX44" fmla="*/ 7266251 w 10678681"/>
              <a:gd name="connsiteY44" fmla="*/ 967864 h 1357700"/>
              <a:gd name="connsiteX45" fmla="*/ 7269396 w 10678681"/>
              <a:gd name="connsiteY45" fmla="*/ 989282 h 1357700"/>
              <a:gd name="connsiteX46" fmla="*/ 7258094 w 10678681"/>
              <a:gd name="connsiteY46" fmla="*/ 990679 h 1357700"/>
              <a:gd name="connsiteX47" fmla="*/ 7257893 w 10678681"/>
              <a:gd name="connsiteY47" fmla="*/ 991204 h 1357700"/>
              <a:gd name="connsiteX48" fmla="*/ 7247153 w 10678681"/>
              <a:gd name="connsiteY48" fmla="*/ 991550 h 1357700"/>
              <a:gd name="connsiteX49" fmla="*/ 7193612 w 10678681"/>
              <a:gd name="connsiteY49" fmla="*/ 987042 h 1357700"/>
              <a:gd name="connsiteX50" fmla="*/ 7132632 w 10678681"/>
              <a:gd name="connsiteY50" fmla="*/ 1042036 h 1357700"/>
              <a:gd name="connsiteX51" fmla="*/ 7105610 w 10678681"/>
              <a:gd name="connsiteY51" fmla="*/ 1053537 h 1357700"/>
              <a:gd name="connsiteX52" fmla="*/ 7069148 w 10678681"/>
              <a:gd name="connsiteY52" fmla="*/ 1047163 h 1357700"/>
              <a:gd name="connsiteX53" fmla="*/ 7039634 w 10678681"/>
              <a:gd name="connsiteY53" fmla="*/ 1059971 h 1357700"/>
              <a:gd name="connsiteX54" fmla="*/ 7033445 w 10678681"/>
              <a:gd name="connsiteY54" fmla="*/ 1063314 h 1357700"/>
              <a:gd name="connsiteX55" fmla="*/ 6999157 w 10678681"/>
              <a:gd name="connsiteY55" fmla="*/ 1055282 h 1357700"/>
              <a:gd name="connsiteX56" fmla="*/ 6981874 w 10678681"/>
              <a:gd name="connsiteY56" fmla="*/ 1053827 h 1357700"/>
              <a:gd name="connsiteX57" fmla="*/ 6976102 w 10678681"/>
              <a:gd name="connsiteY57" fmla="*/ 1047854 h 1357700"/>
              <a:gd name="connsiteX58" fmla="*/ 6951040 w 10678681"/>
              <a:gd name="connsiteY58" fmla="*/ 1048531 h 1357700"/>
              <a:gd name="connsiteX59" fmla="*/ 6948497 w 10678681"/>
              <a:gd name="connsiteY59" fmla="*/ 1050706 h 1357700"/>
              <a:gd name="connsiteX60" fmla="*/ 6926582 w 10678681"/>
              <a:gd name="connsiteY60" fmla="*/ 1043462 h 1357700"/>
              <a:gd name="connsiteX61" fmla="*/ 6833743 w 10678681"/>
              <a:gd name="connsiteY61" fmla="*/ 1027960 h 1357700"/>
              <a:gd name="connsiteX62" fmla="*/ 6687090 w 10678681"/>
              <a:gd name="connsiteY62" fmla="*/ 1063250 h 1357700"/>
              <a:gd name="connsiteX63" fmla="*/ 6437450 w 10678681"/>
              <a:gd name="connsiteY63" fmla="*/ 1101075 h 1357700"/>
              <a:gd name="connsiteX64" fmla="*/ 6327795 w 10678681"/>
              <a:gd name="connsiteY64" fmla="*/ 1088142 h 1357700"/>
              <a:gd name="connsiteX65" fmla="*/ 6136549 w 10678681"/>
              <a:gd name="connsiteY65" fmla="*/ 1100268 h 1357700"/>
              <a:gd name="connsiteX66" fmla="*/ 6004655 w 10678681"/>
              <a:gd name="connsiteY66" fmla="*/ 1114946 h 1357700"/>
              <a:gd name="connsiteX67" fmla="*/ 5936643 w 10678681"/>
              <a:gd name="connsiteY67" fmla="*/ 1095428 h 1357700"/>
              <a:gd name="connsiteX68" fmla="*/ 5912484 w 10678681"/>
              <a:gd name="connsiteY68" fmla="*/ 1112624 h 1357700"/>
              <a:gd name="connsiteX69" fmla="*/ 5908387 w 10678681"/>
              <a:gd name="connsiteY69" fmla="*/ 1116018 h 1357700"/>
              <a:gd name="connsiteX70" fmla="*/ 5890495 w 10678681"/>
              <a:gd name="connsiteY70" fmla="*/ 1120268 h 1357700"/>
              <a:gd name="connsiteX71" fmla="*/ 5887318 w 10678681"/>
              <a:gd name="connsiteY71" fmla="*/ 1133134 h 1357700"/>
              <a:gd name="connsiteX72" fmla="*/ 5861726 w 10678681"/>
              <a:gd name="connsiteY72" fmla="*/ 1147891 h 1357700"/>
              <a:gd name="connsiteX73" fmla="*/ 5805823 w 10678681"/>
              <a:gd name="connsiteY73" fmla="*/ 1152457 h 1357700"/>
              <a:gd name="connsiteX74" fmla="*/ 5689841 w 10678681"/>
              <a:gd name="connsiteY74" fmla="*/ 1176232 h 1357700"/>
              <a:gd name="connsiteX75" fmla="*/ 5605119 w 10678681"/>
              <a:gd name="connsiteY75" fmla="*/ 1190202 h 1357700"/>
              <a:gd name="connsiteX76" fmla="*/ 5488513 w 10678681"/>
              <a:gd name="connsiteY76" fmla="*/ 1205367 h 1357700"/>
              <a:gd name="connsiteX77" fmla="*/ 5402905 w 10678681"/>
              <a:gd name="connsiteY77" fmla="*/ 1241191 h 1357700"/>
              <a:gd name="connsiteX78" fmla="*/ 5285593 w 10678681"/>
              <a:gd name="connsiteY78" fmla="*/ 1273569 h 1357700"/>
              <a:gd name="connsiteX79" fmla="*/ 5192893 w 10678681"/>
              <a:gd name="connsiteY79" fmla="*/ 1247188 h 1357700"/>
              <a:gd name="connsiteX80" fmla="*/ 5186475 w 10678681"/>
              <a:gd name="connsiteY80" fmla="*/ 1257028 h 1357700"/>
              <a:gd name="connsiteX81" fmla="*/ 5126038 w 10678681"/>
              <a:gd name="connsiteY81" fmla="*/ 1263189 h 1357700"/>
              <a:gd name="connsiteX82" fmla="*/ 4894688 w 10678681"/>
              <a:gd name="connsiteY82" fmla="*/ 1247184 h 1357700"/>
              <a:gd name="connsiteX83" fmla="*/ 4788036 w 10678681"/>
              <a:gd name="connsiteY83" fmla="*/ 1238182 h 1357700"/>
              <a:gd name="connsiteX84" fmla="*/ 4747555 w 10678681"/>
              <a:gd name="connsiteY84" fmla="*/ 1252768 h 1357700"/>
              <a:gd name="connsiteX85" fmla="*/ 4679644 w 10678681"/>
              <a:gd name="connsiteY85" fmla="*/ 1276603 h 1357700"/>
              <a:gd name="connsiteX86" fmla="*/ 4632222 w 10678681"/>
              <a:gd name="connsiteY86" fmla="*/ 1318360 h 1357700"/>
              <a:gd name="connsiteX87" fmla="*/ 4617358 w 10678681"/>
              <a:gd name="connsiteY87" fmla="*/ 1327690 h 1357700"/>
              <a:gd name="connsiteX88" fmla="*/ 4589102 w 10678681"/>
              <a:gd name="connsiteY88" fmla="*/ 1321223 h 1357700"/>
              <a:gd name="connsiteX89" fmla="*/ 4578184 w 10678681"/>
              <a:gd name="connsiteY89" fmla="*/ 1326745 h 1357700"/>
              <a:gd name="connsiteX90" fmla="*/ 4574270 w 10678681"/>
              <a:gd name="connsiteY90" fmla="*/ 1325878 h 1357700"/>
              <a:gd name="connsiteX91" fmla="*/ 4564919 w 10678681"/>
              <a:gd name="connsiteY91" fmla="*/ 1325507 h 1357700"/>
              <a:gd name="connsiteX92" fmla="*/ 4566586 w 10678681"/>
              <a:gd name="connsiteY92" fmla="*/ 1316963 h 1357700"/>
              <a:gd name="connsiteX93" fmla="*/ 4556303 w 10678681"/>
              <a:gd name="connsiteY93" fmla="*/ 1300262 h 1357700"/>
              <a:gd name="connsiteX94" fmla="*/ 4502358 w 10678681"/>
              <a:gd name="connsiteY94" fmla="*/ 1302558 h 1357700"/>
              <a:gd name="connsiteX95" fmla="*/ 4498919 w 10678681"/>
              <a:gd name="connsiteY95" fmla="*/ 1312115 h 1357700"/>
              <a:gd name="connsiteX96" fmla="*/ 4492075 w 10678681"/>
              <a:gd name="connsiteY96" fmla="*/ 1313357 h 1357700"/>
              <a:gd name="connsiteX97" fmla="*/ 4487466 w 10678681"/>
              <a:gd name="connsiteY97" fmla="*/ 1304102 h 1357700"/>
              <a:gd name="connsiteX98" fmla="*/ 4398292 w 10678681"/>
              <a:gd name="connsiteY98" fmla="*/ 1278410 h 1357700"/>
              <a:gd name="connsiteX99" fmla="*/ 4306088 w 10678681"/>
              <a:gd name="connsiteY99" fmla="*/ 1282512 h 1357700"/>
              <a:gd name="connsiteX100" fmla="*/ 4188995 w 10678681"/>
              <a:gd name="connsiteY100" fmla="*/ 1296718 h 1357700"/>
              <a:gd name="connsiteX101" fmla="*/ 4136582 w 10678681"/>
              <a:gd name="connsiteY101" fmla="*/ 1287687 h 1357700"/>
              <a:gd name="connsiteX102" fmla="*/ 4064614 w 10678681"/>
              <a:gd name="connsiteY102" fmla="*/ 1296118 h 1357700"/>
              <a:gd name="connsiteX103" fmla="*/ 3906561 w 10678681"/>
              <a:gd name="connsiteY103" fmla="*/ 1352435 h 1357700"/>
              <a:gd name="connsiteX104" fmla="*/ 3787890 w 10678681"/>
              <a:gd name="connsiteY104" fmla="*/ 1352442 h 1357700"/>
              <a:gd name="connsiteX105" fmla="*/ 3745993 w 10678681"/>
              <a:gd name="connsiteY105" fmla="*/ 1342630 h 1357700"/>
              <a:gd name="connsiteX106" fmla="*/ 3675785 w 10678681"/>
              <a:gd name="connsiteY106" fmla="*/ 1326802 h 1357700"/>
              <a:gd name="connsiteX107" fmla="*/ 3623856 w 10678681"/>
              <a:gd name="connsiteY107" fmla="*/ 1290804 h 1357700"/>
              <a:gd name="connsiteX108" fmla="*/ 3564933 w 10678681"/>
              <a:gd name="connsiteY108" fmla="*/ 1287147 h 1357700"/>
              <a:gd name="connsiteX109" fmla="*/ 3550537 w 10678681"/>
              <a:gd name="connsiteY109" fmla="*/ 1317552 h 1357700"/>
              <a:gd name="connsiteX110" fmla="*/ 3487736 w 10678681"/>
              <a:gd name="connsiteY110" fmla="*/ 1303493 h 1357700"/>
              <a:gd name="connsiteX111" fmla="*/ 3392548 w 10678681"/>
              <a:gd name="connsiteY111" fmla="*/ 1278741 h 1357700"/>
              <a:gd name="connsiteX112" fmla="*/ 3337466 w 10678681"/>
              <a:gd name="connsiteY112" fmla="*/ 1272537 h 1357700"/>
              <a:gd name="connsiteX113" fmla="*/ 3187206 w 10678681"/>
              <a:gd name="connsiteY113" fmla="*/ 1246821 h 1357700"/>
              <a:gd name="connsiteX114" fmla="*/ 3036856 w 10678681"/>
              <a:gd name="connsiteY114" fmla="*/ 1214383 h 1357700"/>
              <a:gd name="connsiteX115" fmla="*/ 2824973 w 10678681"/>
              <a:gd name="connsiteY115" fmla="*/ 1134864 h 1357700"/>
              <a:gd name="connsiteX116" fmla="*/ 2804398 w 10678681"/>
              <a:gd name="connsiteY116" fmla="*/ 1125556 h 1357700"/>
              <a:gd name="connsiteX117" fmla="*/ 2775396 w 10678681"/>
              <a:gd name="connsiteY117" fmla="*/ 1130148 h 1357700"/>
              <a:gd name="connsiteX118" fmla="*/ 2659096 w 10678681"/>
              <a:gd name="connsiteY118" fmla="*/ 1150294 h 1357700"/>
              <a:gd name="connsiteX119" fmla="*/ 2567088 w 10678681"/>
              <a:gd name="connsiteY119" fmla="*/ 1181781 h 1357700"/>
              <a:gd name="connsiteX120" fmla="*/ 2454501 w 10678681"/>
              <a:gd name="connsiteY120" fmla="*/ 1155455 h 1357700"/>
              <a:gd name="connsiteX121" fmla="*/ 2385161 w 10678681"/>
              <a:gd name="connsiteY121" fmla="*/ 1161312 h 1357700"/>
              <a:gd name="connsiteX122" fmla="*/ 2270528 w 10678681"/>
              <a:gd name="connsiteY122" fmla="*/ 1204338 h 1357700"/>
              <a:gd name="connsiteX123" fmla="*/ 2121820 w 10678681"/>
              <a:gd name="connsiteY123" fmla="*/ 1187078 h 1357700"/>
              <a:gd name="connsiteX124" fmla="*/ 2092716 w 10678681"/>
              <a:gd name="connsiteY124" fmla="*/ 1139224 h 1357700"/>
              <a:gd name="connsiteX125" fmla="*/ 2052449 w 10678681"/>
              <a:gd name="connsiteY125" fmla="*/ 1109687 h 1357700"/>
              <a:gd name="connsiteX126" fmla="*/ 2032607 w 10678681"/>
              <a:gd name="connsiteY126" fmla="*/ 1175477 h 1357700"/>
              <a:gd name="connsiteX127" fmla="*/ 1901837 w 10678681"/>
              <a:gd name="connsiteY127" fmla="*/ 1221762 h 1357700"/>
              <a:gd name="connsiteX128" fmla="*/ 1836762 w 10678681"/>
              <a:gd name="connsiteY128" fmla="*/ 1237387 h 1357700"/>
              <a:gd name="connsiteX129" fmla="*/ 1735877 w 10678681"/>
              <a:gd name="connsiteY129" fmla="*/ 1246527 h 1357700"/>
              <a:gd name="connsiteX130" fmla="*/ 1705069 w 10678681"/>
              <a:gd name="connsiteY130" fmla="*/ 1251989 h 1357700"/>
              <a:gd name="connsiteX131" fmla="*/ 1397689 w 10678681"/>
              <a:gd name="connsiteY131" fmla="*/ 1336144 h 1357700"/>
              <a:gd name="connsiteX132" fmla="*/ 1220734 w 10678681"/>
              <a:gd name="connsiteY132" fmla="*/ 1257811 h 1357700"/>
              <a:gd name="connsiteX133" fmla="*/ 1021737 w 10678681"/>
              <a:gd name="connsiteY133" fmla="*/ 1238739 h 1357700"/>
              <a:gd name="connsiteX134" fmla="*/ 959820 w 10678681"/>
              <a:gd name="connsiteY134" fmla="*/ 1275863 h 1357700"/>
              <a:gd name="connsiteX135" fmla="*/ 929137 w 10678681"/>
              <a:gd name="connsiteY135" fmla="*/ 1273957 h 1357700"/>
              <a:gd name="connsiteX136" fmla="*/ 878849 w 10678681"/>
              <a:gd name="connsiteY136" fmla="*/ 1266740 h 1357700"/>
              <a:gd name="connsiteX137" fmla="*/ 800667 w 10678681"/>
              <a:gd name="connsiteY137" fmla="*/ 1282041 h 1357700"/>
              <a:gd name="connsiteX138" fmla="*/ 644906 w 10678681"/>
              <a:gd name="connsiteY138" fmla="*/ 1273685 h 1357700"/>
              <a:gd name="connsiteX139" fmla="*/ 379869 w 10678681"/>
              <a:gd name="connsiteY139" fmla="*/ 1339165 h 1357700"/>
              <a:gd name="connsiteX140" fmla="*/ 137696 w 10678681"/>
              <a:gd name="connsiteY140" fmla="*/ 1319217 h 1357700"/>
              <a:gd name="connsiteX141" fmla="*/ 54250 w 10678681"/>
              <a:gd name="connsiteY141" fmla="*/ 1315838 h 1357700"/>
              <a:gd name="connsiteX142" fmla="*/ 28042 w 10678681"/>
              <a:gd name="connsiteY142" fmla="*/ 1297822 h 1357700"/>
              <a:gd name="connsiteX143" fmla="*/ 0 w 10678681"/>
              <a:gd name="connsiteY143" fmla="*/ 1294612 h 1357700"/>
              <a:gd name="connsiteX144" fmla="*/ 0 w 10678681"/>
              <a:gd name="connsiteY144"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30518 w 10678681"/>
              <a:gd name="connsiteY38" fmla="*/ 739526 h 1357700"/>
              <a:gd name="connsiteX39" fmla="*/ 7652907 w 10678681"/>
              <a:gd name="connsiteY39" fmla="*/ 783273 h 1357700"/>
              <a:gd name="connsiteX40" fmla="*/ 7606008 w 10678681"/>
              <a:gd name="connsiteY40" fmla="*/ 800717 h 1357700"/>
              <a:gd name="connsiteX41" fmla="*/ 7480223 w 10678681"/>
              <a:gd name="connsiteY41" fmla="*/ 856821 h 1357700"/>
              <a:gd name="connsiteX42" fmla="*/ 7356005 w 10678681"/>
              <a:gd name="connsiteY42" fmla="*/ 919462 h 1357700"/>
              <a:gd name="connsiteX43" fmla="*/ 7305396 w 10678681"/>
              <a:gd name="connsiteY43" fmla="*/ 986228 h 1357700"/>
              <a:gd name="connsiteX44" fmla="*/ 7266251 w 10678681"/>
              <a:gd name="connsiteY44" fmla="*/ 967864 h 1357700"/>
              <a:gd name="connsiteX45" fmla="*/ 7269396 w 10678681"/>
              <a:gd name="connsiteY45" fmla="*/ 989282 h 1357700"/>
              <a:gd name="connsiteX46" fmla="*/ 7258094 w 10678681"/>
              <a:gd name="connsiteY46" fmla="*/ 990679 h 1357700"/>
              <a:gd name="connsiteX47" fmla="*/ 7257893 w 10678681"/>
              <a:gd name="connsiteY47" fmla="*/ 991204 h 1357700"/>
              <a:gd name="connsiteX48" fmla="*/ 7247153 w 10678681"/>
              <a:gd name="connsiteY48" fmla="*/ 991550 h 1357700"/>
              <a:gd name="connsiteX49" fmla="*/ 7193612 w 10678681"/>
              <a:gd name="connsiteY49" fmla="*/ 987042 h 1357700"/>
              <a:gd name="connsiteX50" fmla="*/ 7132632 w 10678681"/>
              <a:gd name="connsiteY50" fmla="*/ 1042036 h 1357700"/>
              <a:gd name="connsiteX51" fmla="*/ 7105610 w 10678681"/>
              <a:gd name="connsiteY51" fmla="*/ 1053537 h 1357700"/>
              <a:gd name="connsiteX52" fmla="*/ 7069148 w 10678681"/>
              <a:gd name="connsiteY52" fmla="*/ 1047163 h 1357700"/>
              <a:gd name="connsiteX53" fmla="*/ 7039634 w 10678681"/>
              <a:gd name="connsiteY53" fmla="*/ 1059971 h 1357700"/>
              <a:gd name="connsiteX54" fmla="*/ 7033445 w 10678681"/>
              <a:gd name="connsiteY54" fmla="*/ 1063314 h 1357700"/>
              <a:gd name="connsiteX55" fmla="*/ 6999157 w 10678681"/>
              <a:gd name="connsiteY55" fmla="*/ 1055282 h 1357700"/>
              <a:gd name="connsiteX56" fmla="*/ 6981874 w 10678681"/>
              <a:gd name="connsiteY56" fmla="*/ 1053827 h 1357700"/>
              <a:gd name="connsiteX57" fmla="*/ 6976102 w 10678681"/>
              <a:gd name="connsiteY57" fmla="*/ 1047854 h 1357700"/>
              <a:gd name="connsiteX58" fmla="*/ 6951040 w 10678681"/>
              <a:gd name="connsiteY58" fmla="*/ 1048531 h 1357700"/>
              <a:gd name="connsiteX59" fmla="*/ 6948497 w 10678681"/>
              <a:gd name="connsiteY59" fmla="*/ 1050706 h 1357700"/>
              <a:gd name="connsiteX60" fmla="*/ 6926582 w 10678681"/>
              <a:gd name="connsiteY60" fmla="*/ 1043462 h 1357700"/>
              <a:gd name="connsiteX61" fmla="*/ 6833743 w 10678681"/>
              <a:gd name="connsiteY61" fmla="*/ 1027960 h 1357700"/>
              <a:gd name="connsiteX62" fmla="*/ 6687090 w 10678681"/>
              <a:gd name="connsiteY62" fmla="*/ 1063250 h 1357700"/>
              <a:gd name="connsiteX63" fmla="*/ 6437450 w 10678681"/>
              <a:gd name="connsiteY63" fmla="*/ 1101075 h 1357700"/>
              <a:gd name="connsiteX64" fmla="*/ 6327795 w 10678681"/>
              <a:gd name="connsiteY64" fmla="*/ 1088142 h 1357700"/>
              <a:gd name="connsiteX65" fmla="*/ 6136549 w 10678681"/>
              <a:gd name="connsiteY65" fmla="*/ 1100268 h 1357700"/>
              <a:gd name="connsiteX66" fmla="*/ 6004655 w 10678681"/>
              <a:gd name="connsiteY66" fmla="*/ 1114946 h 1357700"/>
              <a:gd name="connsiteX67" fmla="*/ 5936643 w 10678681"/>
              <a:gd name="connsiteY67" fmla="*/ 1095428 h 1357700"/>
              <a:gd name="connsiteX68" fmla="*/ 5912484 w 10678681"/>
              <a:gd name="connsiteY68" fmla="*/ 1112624 h 1357700"/>
              <a:gd name="connsiteX69" fmla="*/ 5908387 w 10678681"/>
              <a:gd name="connsiteY69" fmla="*/ 1116018 h 1357700"/>
              <a:gd name="connsiteX70" fmla="*/ 5890495 w 10678681"/>
              <a:gd name="connsiteY70" fmla="*/ 1120268 h 1357700"/>
              <a:gd name="connsiteX71" fmla="*/ 5887318 w 10678681"/>
              <a:gd name="connsiteY71" fmla="*/ 1133134 h 1357700"/>
              <a:gd name="connsiteX72" fmla="*/ 5861726 w 10678681"/>
              <a:gd name="connsiteY72" fmla="*/ 1147891 h 1357700"/>
              <a:gd name="connsiteX73" fmla="*/ 5805823 w 10678681"/>
              <a:gd name="connsiteY73" fmla="*/ 1152457 h 1357700"/>
              <a:gd name="connsiteX74" fmla="*/ 5689841 w 10678681"/>
              <a:gd name="connsiteY74" fmla="*/ 1176232 h 1357700"/>
              <a:gd name="connsiteX75" fmla="*/ 5605119 w 10678681"/>
              <a:gd name="connsiteY75" fmla="*/ 1190202 h 1357700"/>
              <a:gd name="connsiteX76" fmla="*/ 5488513 w 10678681"/>
              <a:gd name="connsiteY76" fmla="*/ 1205367 h 1357700"/>
              <a:gd name="connsiteX77" fmla="*/ 5402905 w 10678681"/>
              <a:gd name="connsiteY77" fmla="*/ 1241191 h 1357700"/>
              <a:gd name="connsiteX78" fmla="*/ 5285593 w 10678681"/>
              <a:gd name="connsiteY78" fmla="*/ 1273569 h 1357700"/>
              <a:gd name="connsiteX79" fmla="*/ 5192893 w 10678681"/>
              <a:gd name="connsiteY79" fmla="*/ 1247188 h 1357700"/>
              <a:gd name="connsiteX80" fmla="*/ 5186475 w 10678681"/>
              <a:gd name="connsiteY80" fmla="*/ 1257028 h 1357700"/>
              <a:gd name="connsiteX81" fmla="*/ 5126038 w 10678681"/>
              <a:gd name="connsiteY81" fmla="*/ 1263189 h 1357700"/>
              <a:gd name="connsiteX82" fmla="*/ 4894688 w 10678681"/>
              <a:gd name="connsiteY82" fmla="*/ 1247184 h 1357700"/>
              <a:gd name="connsiteX83" fmla="*/ 4788036 w 10678681"/>
              <a:gd name="connsiteY83" fmla="*/ 1238182 h 1357700"/>
              <a:gd name="connsiteX84" fmla="*/ 4747555 w 10678681"/>
              <a:gd name="connsiteY84" fmla="*/ 1252768 h 1357700"/>
              <a:gd name="connsiteX85" fmla="*/ 4679644 w 10678681"/>
              <a:gd name="connsiteY85" fmla="*/ 1276603 h 1357700"/>
              <a:gd name="connsiteX86" fmla="*/ 4632222 w 10678681"/>
              <a:gd name="connsiteY86" fmla="*/ 1318360 h 1357700"/>
              <a:gd name="connsiteX87" fmla="*/ 4617358 w 10678681"/>
              <a:gd name="connsiteY87" fmla="*/ 1327690 h 1357700"/>
              <a:gd name="connsiteX88" fmla="*/ 4589102 w 10678681"/>
              <a:gd name="connsiteY88" fmla="*/ 1321223 h 1357700"/>
              <a:gd name="connsiteX89" fmla="*/ 4578184 w 10678681"/>
              <a:gd name="connsiteY89" fmla="*/ 1326745 h 1357700"/>
              <a:gd name="connsiteX90" fmla="*/ 4574270 w 10678681"/>
              <a:gd name="connsiteY90" fmla="*/ 1325878 h 1357700"/>
              <a:gd name="connsiteX91" fmla="*/ 4564919 w 10678681"/>
              <a:gd name="connsiteY91" fmla="*/ 1325507 h 1357700"/>
              <a:gd name="connsiteX92" fmla="*/ 4566586 w 10678681"/>
              <a:gd name="connsiteY92" fmla="*/ 1316963 h 1357700"/>
              <a:gd name="connsiteX93" fmla="*/ 4556303 w 10678681"/>
              <a:gd name="connsiteY93" fmla="*/ 1300262 h 1357700"/>
              <a:gd name="connsiteX94" fmla="*/ 4502358 w 10678681"/>
              <a:gd name="connsiteY94" fmla="*/ 1302558 h 1357700"/>
              <a:gd name="connsiteX95" fmla="*/ 4498919 w 10678681"/>
              <a:gd name="connsiteY95" fmla="*/ 1312115 h 1357700"/>
              <a:gd name="connsiteX96" fmla="*/ 4492075 w 10678681"/>
              <a:gd name="connsiteY96" fmla="*/ 1313357 h 1357700"/>
              <a:gd name="connsiteX97" fmla="*/ 4487466 w 10678681"/>
              <a:gd name="connsiteY97" fmla="*/ 1304102 h 1357700"/>
              <a:gd name="connsiteX98" fmla="*/ 4398292 w 10678681"/>
              <a:gd name="connsiteY98" fmla="*/ 1278410 h 1357700"/>
              <a:gd name="connsiteX99" fmla="*/ 4306088 w 10678681"/>
              <a:gd name="connsiteY99" fmla="*/ 1282512 h 1357700"/>
              <a:gd name="connsiteX100" fmla="*/ 4188995 w 10678681"/>
              <a:gd name="connsiteY100" fmla="*/ 1296718 h 1357700"/>
              <a:gd name="connsiteX101" fmla="*/ 4136582 w 10678681"/>
              <a:gd name="connsiteY101" fmla="*/ 1287687 h 1357700"/>
              <a:gd name="connsiteX102" fmla="*/ 4064614 w 10678681"/>
              <a:gd name="connsiteY102" fmla="*/ 1296118 h 1357700"/>
              <a:gd name="connsiteX103" fmla="*/ 3906561 w 10678681"/>
              <a:gd name="connsiteY103" fmla="*/ 1352435 h 1357700"/>
              <a:gd name="connsiteX104" fmla="*/ 3787890 w 10678681"/>
              <a:gd name="connsiteY104" fmla="*/ 1352442 h 1357700"/>
              <a:gd name="connsiteX105" fmla="*/ 3745993 w 10678681"/>
              <a:gd name="connsiteY105" fmla="*/ 1342630 h 1357700"/>
              <a:gd name="connsiteX106" fmla="*/ 3675785 w 10678681"/>
              <a:gd name="connsiteY106" fmla="*/ 1326802 h 1357700"/>
              <a:gd name="connsiteX107" fmla="*/ 3623856 w 10678681"/>
              <a:gd name="connsiteY107" fmla="*/ 1290804 h 1357700"/>
              <a:gd name="connsiteX108" fmla="*/ 3564933 w 10678681"/>
              <a:gd name="connsiteY108" fmla="*/ 1287147 h 1357700"/>
              <a:gd name="connsiteX109" fmla="*/ 3550537 w 10678681"/>
              <a:gd name="connsiteY109" fmla="*/ 1317552 h 1357700"/>
              <a:gd name="connsiteX110" fmla="*/ 3487736 w 10678681"/>
              <a:gd name="connsiteY110" fmla="*/ 1303493 h 1357700"/>
              <a:gd name="connsiteX111" fmla="*/ 3392548 w 10678681"/>
              <a:gd name="connsiteY111" fmla="*/ 1278741 h 1357700"/>
              <a:gd name="connsiteX112" fmla="*/ 3337466 w 10678681"/>
              <a:gd name="connsiteY112" fmla="*/ 1272537 h 1357700"/>
              <a:gd name="connsiteX113" fmla="*/ 3187206 w 10678681"/>
              <a:gd name="connsiteY113" fmla="*/ 1246821 h 1357700"/>
              <a:gd name="connsiteX114" fmla="*/ 3036856 w 10678681"/>
              <a:gd name="connsiteY114" fmla="*/ 1214383 h 1357700"/>
              <a:gd name="connsiteX115" fmla="*/ 2824973 w 10678681"/>
              <a:gd name="connsiteY115" fmla="*/ 1134864 h 1357700"/>
              <a:gd name="connsiteX116" fmla="*/ 2804398 w 10678681"/>
              <a:gd name="connsiteY116" fmla="*/ 1125556 h 1357700"/>
              <a:gd name="connsiteX117" fmla="*/ 2775396 w 10678681"/>
              <a:gd name="connsiteY117" fmla="*/ 1130148 h 1357700"/>
              <a:gd name="connsiteX118" fmla="*/ 2659096 w 10678681"/>
              <a:gd name="connsiteY118" fmla="*/ 1150294 h 1357700"/>
              <a:gd name="connsiteX119" fmla="*/ 2567088 w 10678681"/>
              <a:gd name="connsiteY119" fmla="*/ 1181781 h 1357700"/>
              <a:gd name="connsiteX120" fmla="*/ 2454501 w 10678681"/>
              <a:gd name="connsiteY120" fmla="*/ 1155455 h 1357700"/>
              <a:gd name="connsiteX121" fmla="*/ 2385161 w 10678681"/>
              <a:gd name="connsiteY121" fmla="*/ 1161312 h 1357700"/>
              <a:gd name="connsiteX122" fmla="*/ 2121820 w 10678681"/>
              <a:gd name="connsiteY122" fmla="*/ 1187078 h 1357700"/>
              <a:gd name="connsiteX123" fmla="*/ 2092716 w 10678681"/>
              <a:gd name="connsiteY123" fmla="*/ 1139224 h 1357700"/>
              <a:gd name="connsiteX124" fmla="*/ 2052449 w 10678681"/>
              <a:gd name="connsiteY124" fmla="*/ 1109687 h 1357700"/>
              <a:gd name="connsiteX125" fmla="*/ 2032607 w 10678681"/>
              <a:gd name="connsiteY125" fmla="*/ 1175477 h 1357700"/>
              <a:gd name="connsiteX126" fmla="*/ 1901837 w 10678681"/>
              <a:gd name="connsiteY126" fmla="*/ 1221762 h 1357700"/>
              <a:gd name="connsiteX127" fmla="*/ 1836762 w 10678681"/>
              <a:gd name="connsiteY127" fmla="*/ 1237387 h 1357700"/>
              <a:gd name="connsiteX128" fmla="*/ 1735877 w 10678681"/>
              <a:gd name="connsiteY128" fmla="*/ 1246527 h 1357700"/>
              <a:gd name="connsiteX129" fmla="*/ 1705069 w 10678681"/>
              <a:gd name="connsiteY129" fmla="*/ 1251989 h 1357700"/>
              <a:gd name="connsiteX130" fmla="*/ 1397689 w 10678681"/>
              <a:gd name="connsiteY130" fmla="*/ 1336144 h 1357700"/>
              <a:gd name="connsiteX131" fmla="*/ 1220734 w 10678681"/>
              <a:gd name="connsiteY131" fmla="*/ 1257811 h 1357700"/>
              <a:gd name="connsiteX132" fmla="*/ 1021737 w 10678681"/>
              <a:gd name="connsiteY132" fmla="*/ 1238739 h 1357700"/>
              <a:gd name="connsiteX133" fmla="*/ 959820 w 10678681"/>
              <a:gd name="connsiteY133" fmla="*/ 1275863 h 1357700"/>
              <a:gd name="connsiteX134" fmla="*/ 929137 w 10678681"/>
              <a:gd name="connsiteY134" fmla="*/ 1273957 h 1357700"/>
              <a:gd name="connsiteX135" fmla="*/ 878849 w 10678681"/>
              <a:gd name="connsiteY135" fmla="*/ 1266740 h 1357700"/>
              <a:gd name="connsiteX136" fmla="*/ 800667 w 10678681"/>
              <a:gd name="connsiteY136" fmla="*/ 1282041 h 1357700"/>
              <a:gd name="connsiteX137" fmla="*/ 644906 w 10678681"/>
              <a:gd name="connsiteY137" fmla="*/ 1273685 h 1357700"/>
              <a:gd name="connsiteX138" fmla="*/ 379869 w 10678681"/>
              <a:gd name="connsiteY138" fmla="*/ 1339165 h 1357700"/>
              <a:gd name="connsiteX139" fmla="*/ 137696 w 10678681"/>
              <a:gd name="connsiteY139" fmla="*/ 1319217 h 1357700"/>
              <a:gd name="connsiteX140" fmla="*/ 54250 w 10678681"/>
              <a:gd name="connsiteY140" fmla="*/ 1315838 h 1357700"/>
              <a:gd name="connsiteX141" fmla="*/ 28042 w 10678681"/>
              <a:gd name="connsiteY141" fmla="*/ 1297822 h 1357700"/>
              <a:gd name="connsiteX142" fmla="*/ 0 w 10678681"/>
              <a:gd name="connsiteY142" fmla="*/ 1294612 h 1357700"/>
              <a:gd name="connsiteX143" fmla="*/ 0 w 10678681"/>
              <a:gd name="connsiteY143"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30518 w 10678681"/>
              <a:gd name="connsiteY38" fmla="*/ 739526 h 1357700"/>
              <a:gd name="connsiteX39" fmla="*/ 7652907 w 10678681"/>
              <a:gd name="connsiteY39" fmla="*/ 783273 h 1357700"/>
              <a:gd name="connsiteX40" fmla="*/ 7606008 w 10678681"/>
              <a:gd name="connsiteY40" fmla="*/ 800717 h 1357700"/>
              <a:gd name="connsiteX41" fmla="*/ 7480223 w 10678681"/>
              <a:gd name="connsiteY41" fmla="*/ 856821 h 1357700"/>
              <a:gd name="connsiteX42" fmla="*/ 7356005 w 10678681"/>
              <a:gd name="connsiteY42" fmla="*/ 919462 h 1357700"/>
              <a:gd name="connsiteX43" fmla="*/ 7305396 w 10678681"/>
              <a:gd name="connsiteY43" fmla="*/ 986228 h 1357700"/>
              <a:gd name="connsiteX44" fmla="*/ 7266251 w 10678681"/>
              <a:gd name="connsiteY44" fmla="*/ 967864 h 1357700"/>
              <a:gd name="connsiteX45" fmla="*/ 7269396 w 10678681"/>
              <a:gd name="connsiteY45" fmla="*/ 989282 h 1357700"/>
              <a:gd name="connsiteX46" fmla="*/ 7258094 w 10678681"/>
              <a:gd name="connsiteY46" fmla="*/ 990679 h 1357700"/>
              <a:gd name="connsiteX47" fmla="*/ 7257893 w 10678681"/>
              <a:gd name="connsiteY47" fmla="*/ 991204 h 1357700"/>
              <a:gd name="connsiteX48" fmla="*/ 7247153 w 10678681"/>
              <a:gd name="connsiteY48" fmla="*/ 991550 h 1357700"/>
              <a:gd name="connsiteX49" fmla="*/ 7193612 w 10678681"/>
              <a:gd name="connsiteY49" fmla="*/ 987042 h 1357700"/>
              <a:gd name="connsiteX50" fmla="*/ 7132632 w 10678681"/>
              <a:gd name="connsiteY50" fmla="*/ 1042036 h 1357700"/>
              <a:gd name="connsiteX51" fmla="*/ 7105610 w 10678681"/>
              <a:gd name="connsiteY51" fmla="*/ 1053537 h 1357700"/>
              <a:gd name="connsiteX52" fmla="*/ 7069148 w 10678681"/>
              <a:gd name="connsiteY52" fmla="*/ 1047163 h 1357700"/>
              <a:gd name="connsiteX53" fmla="*/ 7039634 w 10678681"/>
              <a:gd name="connsiteY53" fmla="*/ 1059971 h 1357700"/>
              <a:gd name="connsiteX54" fmla="*/ 7033445 w 10678681"/>
              <a:gd name="connsiteY54" fmla="*/ 1063314 h 1357700"/>
              <a:gd name="connsiteX55" fmla="*/ 6999157 w 10678681"/>
              <a:gd name="connsiteY55" fmla="*/ 1055282 h 1357700"/>
              <a:gd name="connsiteX56" fmla="*/ 6981874 w 10678681"/>
              <a:gd name="connsiteY56" fmla="*/ 1053827 h 1357700"/>
              <a:gd name="connsiteX57" fmla="*/ 6976102 w 10678681"/>
              <a:gd name="connsiteY57" fmla="*/ 1047854 h 1357700"/>
              <a:gd name="connsiteX58" fmla="*/ 6951040 w 10678681"/>
              <a:gd name="connsiteY58" fmla="*/ 1048531 h 1357700"/>
              <a:gd name="connsiteX59" fmla="*/ 6948497 w 10678681"/>
              <a:gd name="connsiteY59" fmla="*/ 1050706 h 1357700"/>
              <a:gd name="connsiteX60" fmla="*/ 6926582 w 10678681"/>
              <a:gd name="connsiteY60" fmla="*/ 1043462 h 1357700"/>
              <a:gd name="connsiteX61" fmla="*/ 6833743 w 10678681"/>
              <a:gd name="connsiteY61" fmla="*/ 1027960 h 1357700"/>
              <a:gd name="connsiteX62" fmla="*/ 6687090 w 10678681"/>
              <a:gd name="connsiteY62" fmla="*/ 1063250 h 1357700"/>
              <a:gd name="connsiteX63" fmla="*/ 6437450 w 10678681"/>
              <a:gd name="connsiteY63" fmla="*/ 1101075 h 1357700"/>
              <a:gd name="connsiteX64" fmla="*/ 6327795 w 10678681"/>
              <a:gd name="connsiteY64" fmla="*/ 1088142 h 1357700"/>
              <a:gd name="connsiteX65" fmla="*/ 6136549 w 10678681"/>
              <a:gd name="connsiteY65" fmla="*/ 1100268 h 1357700"/>
              <a:gd name="connsiteX66" fmla="*/ 6004655 w 10678681"/>
              <a:gd name="connsiteY66" fmla="*/ 1114946 h 1357700"/>
              <a:gd name="connsiteX67" fmla="*/ 5936643 w 10678681"/>
              <a:gd name="connsiteY67" fmla="*/ 1095428 h 1357700"/>
              <a:gd name="connsiteX68" fmla="*/ 5912484 w 10678681"/>
              <a:gd name="connsiteY68" fmla="*/ 1112624 h 1357700"/>
              <a:gd name="connsiteX69" fmla="*/ 5908387 w 10678681"/>
              <a:gd name="connsiteY69" fmla="*/ 1116018 h 1357700"/>
              <a:gd name="connsiteX70" fmla="*/ 5890495 w 10678681"/>
              <a:gd name="connsiteY70" fmla="*/ 1120268 h 1357700"/>
              <a:gd name="connsiteX71" fmla="*/ 5887318 w 10678681"/>
              <a:gd name="connsiteY71" fmla="*/ 1133134 h 1357700"/>
              <a:gd name="connsiteX72" fmla="*/ 5861726 w 10678681"/>
              <a:gd name="connsiteY72" fmla="*/ 1147891 h 1357700"/>
              <a:gd name="connsiteX73" fmla="*/ 5805823 w 10678681"/>
              <a:gd name="connsiteY73" fmla="*/ 1152457 h 1357700"/>
              <a:gd name="connsiteX74" fmla="*/ 5689841 w 10678681"/>
              <a:gd name="connsiteY74" fmla="*/ 1176232 h 1357700"/>
              <a:gd name="connsiteX75" fmla="*/ 5605119 w 10678681"/>
              <a:gd name="connsiteY75" fmla="*/ 1190202 h 1357700"/>
              <a:gd name="connsiteX76" fmla="*/ 5488513 w 10678681"/>
              <a:gd name="connsiteY76" fmla="*/ 1205367 h 1357700"/>
              <a:gd name="connsiteX77" fmla="*/ 5402905 w 10678681"/>
              <a:gd name="connsiteY77" fmla="*/ 1241191 h 1357700"/>
              <a:gd name="connsiteX78" fmla="*/ 5285593 w 10678681"/>
              <a:gd name="connsiteY78" fmla="*/ 1273569 h 1357700"/>
              <a:gd name="connsiteX79" fmla="*/ 5192893 w 10678681"/>
              <a:gd name="connsiteY79" fmla="*/ 1247188 h 1357700"/>
              <a:gd name="connsiteX80" fmla="*/ 5186475 w 10678681"/>
              <a:gd name="connsiteY80" fmla="*/ 1257028 h 1357700"/>
              <a:gd name="connsiteX81" fmla="*/ 5126038 w 10678681"/>
              <a:gd name="connsiteY81" fmla="*/ 1263189 h 1357700"/>
              <a:gd name="connsiteX82" fmla="*/ 4894688 w 10678681"/>
              <a:gd name="connsiteY82" fmla="*/ 1247184 h 1357700"/>
              <a:gd name="connsiteX83" fmla="*/ 4788036 w 10678681"/>
              <a:gd name="connsiteY83" fmla="*/ 1238182 h 1357700"/>
              <a:gd name="connsiteX84" fmla="*/ 4747555 w 10678681"/>
              <a:gd name="connsiteY84" fmla="*/ 1252768 h 1357700"/>
              <a:gd name="connsiteX85" fmla="*/ 4679644 w 10678681"/>
              <a:gd name="connsiteY85" fmla="*/ 1276603 h 1357700"/>
              <a:gd name="connsiteX86" fmla="*/ 4632222 w 10678681"/>
              <a:gd name="connsiteY86" fmla="*/ 1318360 h 1357700"/>
              <a:gd name="connsiteX87" fmla="*/ 4617358 w 10678681"/>
              <a:gd name="connsiteY87" fmla="*/ 1327690 h 1357700"/>
              <a:gd name="connsiteX88" fmla="*/ 4589102 w 10678681"/>
              <a:gd name="connsiteY88" fmla="*/ 1321223 h 1357700"/>
              <a:gd name="connsiteX89" fmla="*/ 4578184 w 10678681"/>
              <a:gd name="connsiteY89" fmla="*/ 1326745 h 1357700"/>
              <a:gd name="connsiteX90" fmla="*/ 4574270 w 10678681"/>
              <a:gd name="connsiteY90" fmla="*/ 1325878 h 1357700"/>
              <a:gd name="connsiteX91" fmla="*/ 4564919 w 10678681"/>
              <a:gd name="connsiteY91" fmla="*/ 1325507 h 1357700"/>
              <a:gd name="connsiteX92" fmla="*/ 4566586 w 10678681"/>
              <a:gd name="connsiteY92" fmla="*/ 1316963 h 1357700"/>
              <a:gd name="connsiteX93" fmla="*/ 4556303 w 10678681"/>
              <a:gd name="connsiteY93" fmla="*/ 1300262 h 1357700"/>
              <a:gd name="connsiteX94" fmla="*/ 4502358 w 10678681"/>
              <a:gd name="connsiteY94" fmla="*/ 1302558 h 1357700"/>
              <a:gd name="connsiteX95" fmla="*/ 4498919 w 10678681"/>
              <a:gd name="connsiteY95" fmla="*/ 1312115 h 1357700"/>
              <a:gd name="connsiteX96" fmla="*/ 4492075 w 10678681"/>
              <a:gd name="connsiteY96" fmla="*/ 1313357 h 1357700"/>
              <a:gd name="connsiteX97" fmla="*/ 4487466 w 10678681"/>
              <a:gd name="connsiteY97" fmla="*/ 1304102 h 1357700"/>
              <a:gd name="connsiteX98" fmla="*/ 4398292 w 10678681"/>
              <a:gd name="connsiteY98" fmla="*/ 1278410 h 1357700"/>
              <a:gd name="connsiteX99" fmla="*/ 4306088 w 10678681"/>
              <a:gd name="connsiteY99" fmla="*/ 1282512 h 1357700"/>
              <a:gd name="connsiteX100" fmla="*/ 4188995 w 10678681"/>
              <a:gd name="connsiteY100" fmla="*/ 1296718 h 1357700"/>
              <a:gd name="connsiteX101" fmla="*/ 4136582 w 10678681"/>
              <a:gd name="connsiteY101" fmla="*/ 1287687 h 1357700"/>
              <a:gd name="connsiteX102" fmla="*/ 4064614 w 10678681"/>
              <a:gd name="connsiteY102" fmla="*/ 1296118 h 1357700"/>
              <a:gd name="connsiteX103" fmla="*/ 3906561 w 10678681"/>
              <a:gd name="connsiteY103" fmla="*/ 1352435 h 1357700"/>
              <a:gd name="connsiteX104" fmla="*/ 3787890 w 10678681"/>
              <a:gd name="connsiteY104" fmla="*/ 1352442 h 1357700"/>
              <a:gd name="connsiteX105" fmla="*/ 3745993 w 10678681"/>
              <a:gd name="connsiteY105" fmla="*/ 1342630 h 1357700"/>
              <a:gd name="connsiteX106" fmla="*/ 3675785 w 10678681"/>
              <a:gd name="connsiteY106" fmla="*/ 1326802 h 1357700"/>
              <a:gd name="connsiteX107" fmla="*/ 3623856 w 10678681"/>
              <a:gd name="connsiteY107" fmla="*/ 1290804 h 1357700"/>
              <a:gd name="connsiteX108" fmla="*/ 3564933 w 10678681"/>
              <a:gd name="connsiteY108" fmla="*/ 1287147 h 1357700"/>
              <a:gd name="connsiteX109" fmla="*/ 3550537 w 10678681"/>
              <a:gd name="connsiteY109" fmla="*/ 1317552 h 1357700"/>
              <a:gd name="connsiteX110" fmla="*/ 3487736 w 10678681"/>
              <a:gd name="connsiteY110" fmla="*/ 1303493 h 1357700"/>
              <a:gd name="connsiteX111" fmla="*/ 3392548 w 10678681"/>
              <a:gd name="connsiteY111" fmla="*/ 1278741 h 1357700"/>
              <a:gd name="connsiteX112" fmla="*/ 3337466 w 10678681"/>
              <a:gd name="connsiteY112" fmla="*/ 1272537 h 1357700"/>
              <a:gd name="connsiteX113" fmla="*/ 3187206 w 10678681"/>
              <a:gd name="connsiteY113" fmla="*/ 1246821 h 1357700"/>
              <a:gd name="connsiteX114" fmla="*/ 3036856 w 10678681"/>
              <a:gd name="connsiteY114" fmla="*/ 1214383 h 1357700"/>
              <a:gd name="connsiteX115" fmla="*/ 2824973 w 10678681"/>
              <a:gd name="connsiteY115" fmla="*/ 1134864 h 1357700"/>
              <a:gd name="connsiteX116" fmla="*/ 2804398 w 10678681"/>
              <a:gd name="connsiteY116" fmla="*/ 1125556 h 1357700"/>
              <a:gd name="connsiteX117" fmla="*/ 2775396 w 10678681"/>
              <a:gd name="connsiteY117" fmla="*/ 1130148 h 1357700"/>
              <a:gd name="connsiteX118" fmla="*/ 2659096 w 10678681"/>
              <a:gd name="connsiteY118" fmla="*/ 1150294 h 1357700"/>
              <a:gd name="connsiteX119" fmla="*/ 2567088 w 10678681"/>
              <a:gd name="connsiteY119" fmla="*/ 1181781 h 1357700"/>
              <a:gd name="connsiteX120" fmla="*/ 2454501 w 10678681"/>
              <a:gd name="connsiteY120" fmla="*/ 1155455 h 1357700"/>
              <a:gd name="connsiteX121" fmla="*/ 2385161 w 10678681"/>
              <a:gd name="connsiteY121" fmla="*/ 1161312 h 1357700"/>
              <a:gd name="connsiteX122" fmla="*/ 2273361 w 10678681"/>
              <a:gd name="connsiteY122" fmla="*/ 1134090 h 1357700"/>
              <a:gd name="connsiteX123" fmla="*/ 2092716 w 10678681"/>
              <a:gd name="connsiteY123" fmla="*/ 1139224 h 1357700"/>
              <a:gd name="connsiteX124" fmla="*/ 2052449 w 10678681"/>
              <a:gd name="connsiteY124" fmla="*/ 1109687 h 1357700"/>
              <a:gd name="connsiteX125" fmla="*/ 2032607 w 10678681"/>
              <a:gd name="connsiteY125" fmla="*/ 1175477 h 1357700"/>
              <a:gd name="connsiteX126" fmla="*/ 1901837 w 10678681"/>
              <a:gd name="connsiteY126" fmla="*/ 1221762 h 1357700"/>
              <a:gd name="connsiteX127" fmla="*/ 1836762 w 10678681"/>
              <a:gd name="connsiteY127" fmla="*/ 1237387 h 1357700"/>
              <a:gd name="connsiteX128" fmla="*/ 1735877 w 10678681"/>
              <a:gd name="connsiteY128" fmla="*/ 1246527 h 1357700"/>
              <a:gd name="connsiteX129" fmla="*/ 1705069 w 10678681"/>
              <a:gd name="connsiteY129" fmla="*/ 1251989 h 1357700"/>
              <a:gd name="connsiteX130" fmla="*/ 1397689 w 10678681"/>
              <a:gd name="connsiteY130" fmla="*/ 1336144 h 1357700"/>
              <a:gd name="connsiteX131" fmla="*/ 1220734 w 10678681"/>
              <a:gd name="connsiteY131" fmla="*/ 1257811 h 1357700"/>
              <a:gd name="connsiteX132" fmla="*/ 1021737 w 10678681"/>
              <a:gd name="connsiteY132" fmla="*/ 1238739 h 1357700"/>
              <a:gd name="connsiteX133" fmla="*/ 959820 w 10678681"/>
              <a:gd name="connsiteY133" fmla="*/ 1275863 h 1357700"/>
              <a:gd name="connsiteX134" fmla="*/ 929137 w 10678681"/>
              <a:gd name="connsiteY134" fmla="*/ 1273957 h 1357700"/>
              <a:gd name="connsiteX135" fmla="*/ 878849 w 10678681"/>
              <a:gd name="connsiteY135" fmla="*/ 1266740 h 1357700"/>
              <a:gd name="connsiteX136" fmla="*/ 800667 w 10678681"/>
              <a:gd name="connsiteY136" fmla="*/ 1282041 h 1357700"/>
              <a:gd name="connsiteX137" fmla="*/ 644906 w 10678681"/>
              <a:gd name="connsiteY137" fmla="*/ 1273685 h 1357700"/>
              <a:gd name="connsiteX138" fmla="*/ 379869 w 10678681"/>
              <a:gd name="connsiteY138" fmla="*/ 1339165 h 1357700"/>
              <a:gd name="connsiteX139" fmla="*/ 137696 w 10678681"/>
              <a:gd name="connsiteY139" fmla="*/ 1319217 h 1357700"/>
              <a:gd name="connsiteX140" fmla="*/ 54250 w 10678681"/>
              <a:gd name="connsiteY140" fmla="*/ 1315838 h 1357700"/>
              <a:gd name="connsiteX141" fmla="*/ 28042 w 10678681"/>
              <a:gd name="connsiteY141" fmla="*/ 1297822 h 1357700"/>
              <a:gd name="connsiteX142" fmla="*/ 0 w 10678681"/>
              <a:gd name="connsiteY142" fmla="*/ 1294612 h 1357700"/>
              <a:gd name="connsiteX143" fmla="*/ 0 w 10678681"/>
              <a:gd name="connsiteY143"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30518 w 10678681"/>
              <a:gd name="connsiteY38" fmla="*/ 739526 h 1357700"/>
              <a:gd name="connsiteX39" fmla="*/ 7652907 w 10678681"/>
              <a:gd name="connsiteY39" fmla="*/ 783273 h 1357700"/>
              <a:gd name="connsiteX40" fmla="*/ 7606008 w 10678681"/>
              <a:gd name="connsiteY40" fmla="*/ 800717 h 1357700"/>
              <a:gd name="connsiteX41" fmla="*/ 7480223 w 10678681"/>
              <a:gd name="connsiteY41" fmla="*/ 856821 h 1357700"/>
              <a:gd name="connsiteX42" fmla="*/ 7356005 w 10678681"/>
              <a:gd name="connsiteY42" fmla="*/ 919462 h 1357700"/>
              <a:gd name="connsiteX43" fmla="*/ 7305396 w 10678681"/>
              <a:gd name="connsiteY43" fmla="*/ 986228 h 1357700"/>
              <a:gd name="connsiteX44" fmla="*/ 7266251 w 10678681"/>
              <a:gd name="connsiteY44" fmla="*/ 967864 h 1357700"/>
              <a:gd name="connsiteX45" fmla="*/ 7269396 w 10678681"/>
              <a:gd name="connsiteY45" fmla="*/ 989282 h 1357700"/>
              <a:gd name="connsiteX46" fmla="*/ 7258094 w 10678681"/>
              <a:gd name="connsiteY46" fmla="*/ 990679 h 1357700"/>
              <a:gd name="connsiteX47" fmla="*/ 7257893 w 10678681"/>
              <a:gd name="connsiteY47" fmla="*/ 991204 h 1357700"/>
              <a:gd name="connsiteX48" fmla="*/ 7247153 w 10678681"/>
              <a:gd name="connsiteY48" fmla="*/ 991550 h 1357700"/>
              <a:gd name="connsiteX49" fmla="*/ 7193612 w 10678681"/>
              <a:gd name="connsiteY49" fmla="*/ 987042 h 1357700"/>
              <a:gd name="connsiteX50" fmla="*/ 7132632 w 10678681"/>
              <a:gd name="connsiteY50" fmla="*/ 1042036 h 1357700"/>
              <a:gd name="connsiteX51" fmla="*/ 7105610 w 10678681"/>
              <a:gd name="connsiteY51" fmla="*/ 1053537 h 1357700"/>
              <a:gd name="connsiteX52" fmla="*/ 7069148 w 10678681"/>
              <a:gd name="connsiteY52" fmla="*/ 1047163 h 1357700"/>
              <a:gd name="connsiteX53" fmla="*/ 7039634 w 10678681"/>
              <a:gd name="connsiteY53" fmla="*/ 1059971 h 1357700"/>
              <a:gd name="connsiteX54" fmla="*/ 7033445 w 10678681"/>
              <a:gd name="connsiteY54" fmla="*/ 1063314 h 1357700"/>
              <a:gd name="connsiteX55" fmla="*/ 6999157 w 10678681"/>
              <a:gd name="connsiteY55" fmla="*/ 1055282 h 1357700"/>
              <a:gd name="connsiteX56" fmla="*/ 6981874 w 10678681"/>
              <a:gd name="connsiteY56" fmla="*/ 1053827 h 1357700"/>
              <a:gd name="connsiteX57" fmla="*/ 6976102 w 10678681"/>
              <a:gd name="connsiteY57" fmla="*/ 1047854 h 1357700"/>
              <a:gd name="connsiteX58" fmla="*/ 6951040 w 10678681"/>
              <a:gd name="connsiteY58" fmla="*/ 1048531 h 1357700"/>
              <a:gd name="connsiteX59" fmla="*/ 6948497 w 10678681"/>
              <a:gd name="connsiteY59" fmla="*/ 1050706 h 1357700"/>
              <a:gd name="connsiteX60" fmla="*/ 6926582 w 10678681"/>
              <a:gd name="connsiteY60" fmla="*/ 1043462 h 1357700"/>
              <a:gd name="connsiteX61" fmla="*/ 6833743 w 10678681"/>
              <a:gd name="connsiteY61" fmla="*/ 1027960 h 1357700"/>
              <a:gd name="connsiteX62" fmla="*/ 6687090 w 10678681"/>
              <a:gd name="connsiteY62" fmla="*/ 1063250 h 1357700"/>
              <a:gd name="connsiteX63" fmla="*/ 6437450 w 10678681"/>
              <a:gd name="connsiteY63" fmla="*/ 1101075 h 1357700"/>
              <a:gd name="connsiteX64" fmla="*/ 6327795 w 10678681"/>
              <a:gd name="connsiteY64" fmla="*/ 1088142 h 1357700"/>
              <a:gd name="connsiteX65" fmla="*/ 6136549 w 10678681"/>
              <a:gd name="connsiteY65" fmla="*/ 1100268 h 1357700"/>
              <a:gd name="connsiteX66" fmla="*/ 6004655 w 10678681"/>
              <a:gd name="connsiteY66" fmla="*/ 1114946 h 1357700"/>
              <a:gd name="connsiteX67" fmla="*/ 5936643 w 10678681"/>
              <a:gd name="connsiteY67" fmla="*/ 1095428 h 1357700"/>
              <a:gd name="connsiteX68" fmla="*/ 5912484 w 10678681"/>
              <a:gd name="connsiteY68" fmla="*/ 1112624 h 1357700"/>
              <a:gd name="connsiteX69" fmla="*/ 5908387 w 10678681"/>
              <a:gd name="connsiteY69" fmla="*/ 1116018 h 1357700"/>
              <a:gd name="connsiteX70" fmla="*/ 5890495 w 10678681"/>
              <a:gd name="connsiteY70" fmla="*/ 1120268 h 1357700"/>
              <a:gd name="connsiteX71" fmla="*/ 5887318 w 10678681"/>
              <a:gd name="connsiteY71" fmla="*/ 1133134 h 1357700"/>
              <a:gd name="connsiteX72" fmla="*/ 5861726 w 10678681"/>
              <a:gd name="connsiteY72" fmla="*/ 1147891 h 1357700"/>
              <a:gd name="connsiteX73" fmla="*/ 5805823 w 10678681"/>
              <a:gd name="connsiteY73" fmla="*/ 1152457 h 1357700"/>
              <a:gd name="connsiteX74" fmla="*/ 5689841 w 10678681"/>
              <a:gd name="connsiteY74" fmla="*/ 1176232 h 1357700"/>
              <a:gd name="connsiteX75" fmla="*/ 5605119 w 10678681"/>
              <a:gd name="connsiteY75" fmla="*/ 1190202 h 1357700"/>
              <a:gd name="connsiteX76" fmla="*/ 5488513 w 10678681"/>
              <a:gd name="connsiteY76" fmla="*/ 1205367 h 1357700"/>
              <a:gd name="connsiteX77" fmla="*/ 5402905 w 10678681"/>
              <a:gd name="connsiteY77" fmla="*/ 1241191 h 1357700"/>
              <a:gd name="connsiteX78" fmla="*/ 5285593 w 10678681"/>
              <a:gd name="connsiteY78" fmla="*/ 1273569 h 1357700"/>
              <a:gd name="connsiteX79" fmla="*/ 5192893 w 10678681"/>
              <a:gd name="connsiteY79" fmla="*/ 1247188 h 1357700"/>
              <a:gd name="connsiteX80" fmla="*/ 5186475 w 10678681"/>
              <a:gd name="connsiteY80" fmla="*/ 1257028 h 1357700"/>
              <a:gd name="connsiteX81" fmla="*/ 5126038 w 10678681"/>
              <a:gd name="connsiteY81" fmla="*/ 1263189 h 1357700"/>
              <a:gd name="connsiteX82" fmla="*/ 4894688 w 10678681"/>
              <a:gd name="connsiteY82" fmla="*/ 1247184 h 1357700"/>
              <a:gd name="connsiteX83" fmla="*/ 4788036 w 10678681"/>
              <a:gd name="connsiteY83" fmla="*/ 1238182 h 1357700"/>
              <a:gd name="connsiteX84" fmla="*/ 4747555 w 10678681"/>
              <a:gd name="connsiteY84" fmla="*/ 1252768 h 1357700"/>
              <a:gd name="connsiteX85" fmla="*/ 4679644 w 10678681"/>
              <a:gd name="connsiteY85" fmla="*/ 1276603 h 1357700"/>
              <a:gd name="connsiteX86" fmla="*/ 4632222 w 10678681"/>
              <a:gd name="connsiteY86" fmla="*/ 1318360 h 1357700"/>
              <a:gd name="connsiteX87" fmla="*/ 4617358 w 10678681"/>
              <a:gd name="connsiteY87" fmla="*/ 1327690 h 1357700"/>
              <a:gd name="connsiteX88" fmla="*/ 4589102 w 10678681"/>
              <a:gd name="connsiteY88" fmla="*/ 1321223 h 1357700"/>
              <a:gd name="connsiteX89" fmla="*/ 4578184 w 10678681"/>
              <a:gd name="connsiteY89" fmla="*/ 1326745 h 1357700"/>
              <a:gd name="connsiteX90" fmla="*/ 4574270 w 10678681"/>
              <a:gd name="connsiteY90" fmla="*/ 1325878 h 1357700"/>
              <a:gd name="connsiteX91" fmla="*/ 4564919 w 10678681"/>
              <a:gd name="connsiteY91" fmla="*/ 1325507 h 1357700"/>
              <a:gd name="connsiteX92" fmla="*/ 4566586 w 10678681"/>
              <a:gd name="connsiteY92" fmla="*/ 1316963 h 1357700"/>
              <a:gd name="connsiteX93" fmla="*/ 4556303 w 10678681"/>
              <a:gd name="connsiteY93" fmla="*/ 1300262 h 1357700"/>
              <a:gd name="connsiteX94" fmla="*/ 4502358 w 10678681"/>
              <a:gd name="connsiteY94" fmla="*/ 1302558 h 1357700"/>
              <a:gd name="connsiteX95" fmla="*/ 4498919 w 10678681"/>
              <a:gd name="connsiteY95" fmla="*/ 1312115 h 1357700"/>
              <a:gd name="connsiteX96" fmla="*/ 4492075 w 10678681"/>
              <a:gd name="connsiteY96" fmla="*/ 1313357 h 1357700"/>
              <a:gd name="connsiteX97" fmla="*/ 4487466 w 10678681"/>
              <a:gd name="connsiteY97" fmla="*/ 1304102 h 1357700"/>
              <a:gd name="connsiteX98" fmla="*/ 4398292 w 10678681"/>
              <a:gd name="connsiteY98" fmla="*/ 1278410 h 1357700"/>
              <a:gd name="connsiteX99" fmla="*/ 4306088 w 10678681"/>
              <a:gd name="connsiteY99" fmla="*/ 1282512 h 1357700"/>
              <a:gd name="connsiteX100" fmla="*/ 4188995 w 10678681"/>
              <a:gd name="connsiteY100" fmla="*/ 1296718 h 1357700"/>
              <a:gd name="connsiteX101" fmla="*/ 4136582 w 10678681"/>
              <a:gd name="connsiteY101" fmla="*/ 1287687 h 1357700"/>
              <a:gd name="connsiteX102" fmla="*/ 4064614 w 10678681"/>
              <a:gd name="connsiteY102" fmla="*/ 1296118 h 1357700"/>
              <a:gd name="connsiteX103" fmla="*/ 3906561 w 10678681"/>
              <a:gd name="connsiteY103" fmla="*/ 1352435 h 1357700"/>
              <a:gd name="connsiteX104" fmla="*/ 3787890 w 10678681"/>
              <a:gd name="connsiteY104" fmla="*/ 1352442 h 1357700"/>
              <a:gd name="connsiteX105" fmla="*/ 3745993 w 10678681"/>
              <a:gd name="connsiteY105" fmla="*/ 1342630 h 1357700"/>
              <a:gd name="connsiteX106" fmla="*/ 3675785 w 10678681"/>
              <a:gd name="connsiteY106" fmla="*/ 1326802 h 1357700"/>
              <a:gd name="connsiteX107" fmla="*/ 3623856 w 10678681"/>
              <a:gd name="connsiteY107" fmla="*/ 1290804 h 1357700"/>
              <a:gd name="connsiteX108" fmla="*/ 3564933 w 10678681"/>
              <a:gd name="connsiteY108" fmla="*/ 1287147 h 1357700"/>
              <a:gd name="connsiteX109" fmla="*/ 3550537 w 10678681"/>
              <a:gd name="connsiteY109" fmla="*/ 1317552 h 1357700"/>
              <a:gd name="connsiteX110" fmla="*/ 3487736 w 10678681"/>
              <a:gd name="connsiteY110" fmla="*/ 1303493 h 1357700"/>
              <a:gd name="connsiteX111" fmla="*/ 3392548 w 10678681"/>
              <a:gd name="connsiteY111" fmla="*/ 1278741 h 1357700"/>
              <a:gd name="connsiteX112" fmla="*/ 3337466 w 10678681"/>
              <a:gd name="connsiteY112" fmla="*/ 1272537 h 1357700"/>
              <a:gd name="connsiteX113" fmla="*/ 3187206 w 10678681"/>
              <a:gd name="connsiteY113" fmla="*/ 1246821 h 1357700"/>
              <a:gd name="connsiteX114" fmla="*/ 3036856 w 10678681"/>
              <a:gd name="connsiteY114" fmla="*/ 1214383 h 1357700"/>
              <a:gd name="connsiteX115" fmla="*/ 2824973 w 10678681"/>
              <a:gd name="connsiteY115" fmla="*/ 1134864 h 1357700"/>
              <a:gd name="connsiteX116" fmla="*/ 2804398 w 10678681"/>
              <a:gd name="connsiteY116" fmla="*/ 1125556 h 1357700"/>
              <a:gd name="connsiteX117" fmla="*/ 2775396 w 10678681"/>
              <a:gd name="connsiteY117" fmla="*/ 1130148 h 1357700"/>
              <a:gd name="connsiteX118" fmla="*/ 2659096 w 10678681"/>
              <a:gd name="connsiteY118" fmla="*/ 1150294 h 1357700"/>
              <a:gd name="connsiteX119" fmla="*/ 2567088 w 10678681"/>
              <a:gd name="connsiteY119" fmla="*/ 1181781 h 1357700"/>
              <a:gd name="connsiteX120" fmla="*/ 2454501 w 10678681"/>
              <a:gd name="connsiteY120" fmla="*/ 1155455 h 1357700"/>
              <a:gd name="connsiteX121" fmla="*/ 2385161 w 10678681"/>
              <a:gd name="connsiteY121" fmla="*/ 1161312 h 1357700"/>
              <a:gd name="connsiteX122" fmla="*/ 2273361 w 10678681"/>
              <a:gd name="connsiteY122" fmla="*/ 1134090 h 1357700"/>
              <a:gd name="connsiteX123" fmla="*/ 2132003 w 10678681"/>
              <a:gd name="connsiteY123" fmla="*/ 1139225 h 1357700"/>
              <a:gd name="connsiteX124" fmla="*/ 2052449 w 10678681"/>
              <a:gd name="connsiteY124" fmla="*/ 1109687 h 1357700"/>
              <a:gd name="connsiteX125" fmla="*/ 2032607 w 10678681"/>
              <a:gd name="connsiteY125" fmla="*/ 1175477 h 1357700"/>
              <a:gd name="connsiteX126" fmla="*/ 1901837 w 10678681"/>
              <a:gd name="connsiteY126" fmla="*/ 1221762 h 1357700"/>
              <a:gd name="connsiteX127" fmla="*/ 1836762 w 10678681"/>
              <a:gd name="connsiteY127" fmla="*/ 1237387 h 1357700"/>
              <a:gd name="connsiteX128" fmla="*/ 1735877 w 10678681"/>
              <a:gd name="connsiteY128" fmla="*/ 1246527 h 1357700"/>
              <a:gd name="connsiteX129" fmla="*/ 1705069 w 10678681"/>
              <a:gd name="connsiteY129" fmla="*/ 1251989 h 1357700"/>
              <a:gd name="connsiteX130" fmla="*/ 1397689 w 10678681"/>
              <a:gd name="connsiteY130" fmla="*/ 1336144 h 1357700"/>
              <a:gd name="connsiteX131" fmla="*/ 1220734 w 10678681"/>
              <a:gd name="connsiteY131" fmla="*/ 1257811 h 1357700"/>
              <a:gd name="connsiteX132" fmla="*/ 1021737 w 10678681"/>
              <a:gd name="connsiteY132" fmla="*/ 1238739 h 1357700"/>
              <a:gd name="connsiteX133" fmla="*/ 959820 w 10678681"/>
              <a:gd name="connsiteY133" fmla="*/ 1275863 h 1357700"/>
              <a:gd name="connsiteX134" fmla="*/ 929137 w 10678681"/>
              <a:gd name="connsiteY134" fmla="*/ 1273957 h 1357700"/>
              <a:gd name="connsiteX135" fmla="*/ 878849 w 10678681"/>
              <a:gd name="connsiteY135" fmla="*/ 1266740 h 1357700"/>
              <a:gd name="connsiteX136" fmla="*/ 800667 w 10678681"/>
              <a:gd name="connsiteY136" fmla="*/ 1282041 h 1357700"/>
              <a:gd name="connsiteX137" fmla="*/ 644906 w 10678681"/>
              <a:gd name="connsiteY137" fmla="*/ 1273685 h 1357700"/>
              <a:gd name="connsiteX138" fmla="*/ 379869 w 10678681"/>
              <a:gd name="connsiteY138" fmla="*/ 1339165 h 1357700"/>
              <a:gd name="connsiteX139" fmla="*/ 137696 w 10678681"/>
              <a:gd name="connsiteY139" fmla="*/ 1319217 h 1357700"/>
              <a:gd name="connsiteX140" fmla="*/ 54250 w 10678681"/>
              <a:gd name="connsiteY140" fmla="*/ 1315838 h 1357700"/>
              <a:gd name="connsiteX141" fmla="*/ 28042 w 10678681"/>
              <a:gd name="connsiteY141" fmla="*/ 1297822 h 1357700"/>
              <a:gd name="connsiteX142" fmla="*/ 0 w 10678681"/>
              <a:gd name="connsiteY142" fmla="*/ 1294612 h 1357700"/>
              <a:gd name="connsiteX143" fmla="*/ 0 w 10678681"/>
              <a:gd name="connsiteY143" fmla="*/ 0 h 1357700"/>
              <a:gd name="connsiteX0" fmla="*/ 0 w 10678681"/>
              <a:gd name="connsiteY0" fmla="*/ 0 h 1357700"/>
              <a:gd name="connsiteX1" fmla="*/ 10678681 w 10678681"/>
              <a:gd name="connsiteY1" fmla="*/ 0 h 1357700"/>
              <a:gd name="connsiteX2" fmla="*/ 10666019 w 10678681"/>
              <a:gd name="connsiteY2" fmla="*/ 7876 h 1357700"/>
              <a:gd name="connsiteX3" fmla="*/ 10632825 w 10678681"/>
              <a:gd name="connsiteY3" fmla="*/ 32153 h 1357700"/>
              <a:gd name="connsiteX4" fmla="*/ 10510605 w 10678681"/>
              <a:gd name="connsiteY4" fmla="*/ 30449 h 1357700"/>
              <a:gd name="connsiteX5" fmla="*/ 10456989 w 10678681"/>
              <a:gd name="connsiteY5" fmla="*/ 979 h 1357700"/>
              <a:gd name="connsiteX6" fmla="*/ 10438642 w 10678681"/>
              <a:gd name="connsiteY6" fmla="*/ 1524 h 1357700"/>
              <a:gd name="connsiteX7" fmla="*/ 10407146 w 10678681"/>
              <a:gd name="connsiteY7" fmla="*/ 43659 h 1357700"/>
              <a:gd name="connsiteX8" fmla="*/ 10357996 w 10678681"/>
              <a:gd name="connsiteY8" fmla="*/ 50836 h 1357700"/>
              <a:gd name="connsiteX9" fmla="*/ 10306667 w 10678681"/>
              <a:gd name="connsiteY9" fmla="*/ 109739 h 1357700"/>
              <a:gd name="connsiteX10" fmla="*/ 10115334 w 10678681"/>
              <a:gd name="connsiteY10" fmla="*/ 155658 h 1357700"/>
              <a:gd name="connsiteX11" fmla="*/ 10068157 w 10678681"/>
              <a:gd name="connsiteY11" fmla="*/ 215673 h 1357700"/>
              <a:gd name="connsiteX12" fmla="*/ 10045431 w 10678681"/>
              <a:gd name="connsiteY12" fmla="*/ 229568 h 1357700"/>
              <a:gd name="connsiteX13" fmla="*/ 10013265 w 10678681"/>
              <a:gd name="connsiteY13" fmla="*/ 284757 h 1357700"/>
              <a:gd name="connsiteX14" fmla="*/ 9862496 w 10678681"/>
              <a:gd name="connsiteY14" fmla="*/ 223033 h 1357700"/>
              <a:gd name="connsiteX15" fmla="*/ 9679638 w 10678681"/>
              <a:gd name="connsiteY15" fmla="*/ 277462 h 1357700"/>
              <a:gd name="connsiteX16" fmla="*/ 9498347 w 10678681"/>
              <a:gd name="connsiteY16" fmla="*/ 244723 h 1357700"/>
              <a:gd name="connsiteX17" fmla="*/ 9399702 w 10678681"/>
              <a:gd name="connsiteY17" fmla="*/ 276316 h 1357700"/>
              <a:gd name="connsiteX18" fmla="*/ 9378439 w 10678681"/>
              <a:gd name="connsiteY18" fmla="*/ 326244 h 1357700"/>
              <a:gd name="connsiteX19" fmla="*/ 9121744 w 10678681"/>
              <a:gd name="connsiteY19" fmla="*/ 365177 h 1357700"/>
              <a:gd name="connsiteX20" fmla="*/ 9061654 w 10678681"/>
              <a:gd name="connsiteY20" fmla="*/ 393730 h 1357700"/>
              <a:gd name="connsiteX21" fmla="*/ 8997577 w 10678681"/>
              <a:gd name="connsiteY21" fmla="*/ 380865 h 1357700"/>
              <a:gd name="connsiteX22" fmla="*/ 8907968 w 10678681"/>
              <a:gd name="connsiteY22" fmla="*/ 447345 h 1357700"/>
              <a:gd name="connsiteX23" fmla="*/ 8764163 w 10678681"/>
              <a:gd name="connsiteY23" fmla="*/ 471000 h 1357700"/>
              <a:gd name="connsiteX24" fmla="*/ 8680155 w 10678681"/>
              <a:gd name="connsiteY24" fmla="*/ 492404 h 1357700"/>
              <a:gd name="connsiteX25" fmla="*/ 8651436 w 10678681"/>
              <a:gd name="connsiteY25" fmla="*/ 511923 h 1357700"/>
              <a:gd name="connsiteX26" fmla="*/ 8609185 w 10678681"/>
              <a:gd name="connsiteY26" fmla="*/ 531525 h 1357700"/>
              <a:gd name="connsiteX27" fmla="*/ 8537091 w 10678681"/>
              <a:gd name="connsiteY27" fmla="*/ 574933 h 1357700"/>
              <a:gd name="connsiteX28" fmla="*/ 8435931 w 10678681"/>
              <a:gd name="connsiteY28" fmla="*/ 617926 h 1357700"/>
              <a:gd name="connsiteX29" fmla="*/ 8348623 w 10678681"/>
              <a:gd name="connsiteY29" fmla="*/ 600607 h 1357700"/>
              <a:gd name="connsiteX30" fmla="*/ 8344233 w 10678681"/>
              <a:gd name="connsiteY30" fmla="*/ 610922 h 1357700"/>
              <a:gd name="connsiteX31" fmla="*/ 8290622 w 10678681"/>
              <a:gd name="connsiteY31" fmla="*/ 622687 h 1357700"/>
              <a:gd name="connsiteX32" fmla="*/ 8086698 w 10678681"/>
              <a:gd name="connsiteY32" fmla="*/ 605185 h 1357700"/>
              <a:gd name="connsiteX33" fmla="*/ 7982378 w 10678681"/>
              <a:gd name="connsiteY33" fmla="*/ 629799 h 1357700"/>
              <a:gd name="connsiteX34" fmla="*/ 7947952 w 10678681"/>
              <a:gd name="connsiteY34" fmla="*/ 648003 h 1357700"/>
              <a:gd name="connsiteX35" fmla="*/ 7890112 w 10678681"/>
              <a:gd name="connsiteY35" fmla="*/ 677915 h 1357700"/>
              <a:gd name="connsiteX36" fmla="*/ 7853284 w 10678681"/>
              <a:gd name="connsiteY36" fmla="*/ 723588 h 1357700"/>
              <a:gd name="connsiteX37" fmla="*/ 7802383 w 10678681"/>
              <a:gd name="connsiteY37" fmla="*/ 739359 h 1357700"/>
              <a:gd name="connsiteX38" fmla="*/ 7730518 w 10678681"/>
              <a:gd name="connsiteY38" fmla="*/ 739526 h 1357700"/>
              <a:gd name="connsiteX39" fmla="*/ 7652907 w 10678681"/>
              <a:gd name="connsiteY39" fmla="*/ 783273 h 1357700"/>
              <a:gd name="connsiteX40" fmla="*/ 7606008 w 10678681"/>
              <a:gd name="connsiteY40" fmla="*/ 800717 h 1357700"/>
              <a:gd name="connsiteX41" fmla="*/ 7480223 w 10678681"/>
              <a:gd name="connsiteY41" fmla="*/ 856821 h 1357700"/>
              <a:gd name="connsiteX42" fmla="*/ 7356005 w 10678681"/>
              <a:gd name="connsiteY42" fmla="*/ 919462 h 1357700"/>
              <a:gd name="connsiteX43" fmla="*/ 7305396 w 10678681"/>
              <a:gd name="connsiteY43" fmla="*/ 986228 h 1357700"/>
              <a:gd name="connsiteX44" fmla="*/ 7266251 w 10678681"/>
              <a:gd name="connsiteY44" fmla="*/ 967864 h 1357700"/>
              <a:gd name="connsiteX45" fmla="*/ 7269396 w 10678681"/>
              <a:gd name="connsiteY45" fmla="*/ 989282 h 1357700"/>
              <a:gd name="connsiteX46" fmla="*/ 7258094 w 10678681"/>
              <a:gd name="connsiteY46" fmla="*/ 990679 h 1357700"/>
              <a:gd name="connsiteX47" fmla="*/ 7257893 w 10678681"/>
              <a:gd name="connsiteY47" fmla="*/ 991204 h 1357700"/>
              <a:gd name="connsiteX48" fmla="*/ 7247153 w 10678681"/>
              <a:gd name="connsiteY48" fmla="*/ 991550 h 1357700"/>
              <a:gd name="connsiteX49" fmla="*/ 7193612 w 10678681"/>
              <a:gd name="connsiteY49" fmla="*/ 987042 h 1357700"/>
              <a:gd name="connsiteX50" fmla="*/ 7132632 w 10678681"/>
              <a:gd name="connsiteY50" fmla="*/ 1042036 h 1357700"/>
              <a:gd name="connsiteX51" fmla="*/ 7105610 w 10678681"/>
              <a:gd name="connsiteY51" fmla="*/ 1053537 h 1357700"/>
              <a:gd name="connsiteX52" fmla="*/ 7069148 w 10678681"/>
              <a:gd name="connsiteY52" fmla="*/ 1047163 h 1357700"/>
              <a:gd name="connsiteX53" fmla="*/ 7039634 w 10678681"/>
              <a:gd name="connsiteY53" fmla="*/ 1059971 h 1357700"/>
              <a:gd name="connsiteX54" fmla="*/ 7033445 w 10678681"/>
              <a:gd name="connsiteY54" fmla="*/ 1063314 h 1357700"/>
              <a:gd name="connsiteX55" fmla="*/ 6999157 w 10678681"/>
              <a:gd name="connsiteY55" fmla="*/ 1055282 h 1357700"/>
              <a:gd name="connsiteX56" fmla="*/ 6981874 w 10678681"/>
              <a:gd name="connsiteY56" fmla="*/ 1053827 h 1357700"/>
              <a:gd name="connsiteX57" fmla="*/ 6976102 w 10678681"/>
              <a:gd name="connsiteY57" fmla="*/ 1047854 h 1357700"/>
              <a:gd name="connsiteX58" fmla="*/ 6951040 w 10678681"/>
              <a:gd name="connsiteY58" fmla="*/ 1048531 h 1357700"/>
              <a:gd name="connsiteX59" fmla="*/ 6948497 w 10678681"/>
              <a:gd name="connsiteY59" fmla="*/ 1050706 h 1357700"/>
              <a:gd name="connsiteX60" fmla="*/ 6926582 w 10678681"/>
              <a:gd name="connsiteY60" fmla="*/ 1043462 h 1357700"/>
              <a:gd name="connsiteX61" fmla="*/ 6833743 w 10678681"/>
              <a:gd name="connsiteY61" fmla="*/ 1027960 h 1357700"/>
              <a:gd name="connsiteX62" fmla="*/ 6687090 w 10678681"/>
              <a:gd name="connsiteY62" fmla="*/ 1063250 h 1357700"/>
              <a:gd name="connsiteX63" fmla="*/ 6437450 w 10678681"/>
              <a:gd name="connsiteY63" fmla="*/ 1101075 h 1357700"/>
              <a:gd name="connsiteX64" fmla="*/ 6327795 w 10678681"/>
              <a:gd name="connsiteY64" fmla="*/ 1088142 h 1357700"/>
              <a:gd name="connsiteX65" fmla="*/ 6136549 w 10678681"/>
              <a:gd name="connsiteY65" fmla="*/ 1100268 h 1357700"/>
              <a:gd name="connsiteX66" fmla="*/ 6004655 w 10678681"/>
              <a:gd name="connsiteY66" fmla="*/ 1114946 h 1357700"/>
              <a:gd name="connsiteX67" fmla="*/ 5936643 w 10678681"/>
              <a:gd name="connsiteY67" fmla="*/ 1095428 h 1357700"/>
              <a:gd name="connsiteX68" fmla="*/ 5912484 w 10678681"/>
              <a:gd name="connsiteY68" fmla="*/ 1112624 h 1357700"/>
              <a:gd name="connsiteX69" fmla="*/ 5908387 w 10678681"/>
              <a:gd name="connsiteY69" fmla="*/ 1116018 h 1357700"/>
              <a:gd name="connsiteX70" fmla="*/ 5890495 w 10678681"/>
              <a:gd name="connsiteY70" fmla="*/ 1120268 h 1357700"/>
              <a:gd name="connsiteX71" fmla="*/ 5887318 w 10678681"/>
              <a:gd name="connsiteY71" fmla="*/ 1133134 h 1357700"/>
              <a:gd name="connsiteX72" fmla="*/ 5861726 w 10678681"/>
              <a:gd name="connsiteY72" fmla="*/ 1147891 h 1357700"/>
              <a:gd name="connsiteX73" fmla="*/ 5805823 w 10678681"/>
              <a:gd name="connsiteY73" fmla="*/ 1152457 h 1357700"/>
              <a:gd name="connsiteX74" fmla="*/ 5689841 w 10678681"/>
              <a:gd name="connsiteY74" fmla="*/ 1176232 h 1357700"/>
              <a:gd name="connsiteX75" fmla="*/ 5605119 w 10678681"/>
              <a:gd name="connsiteY75" fmla="*/ 1190202 h 1357700"/>
              <a:gd name="connsiteX76" fmla="*/ 5488513 w 10678681"/>
              <a:gd name="connsiteY76" fmla="*/ 1205367 h 1357700"/>
              <a:gd name="connsiteX77" fmla="*/ 5402905 w 10678681"/>
              <a:gd name="connsiteY77" fmla="*/ 1241191 h 1357700"/>
              <a:gd name="connsiteX78" fmla="*/ 5285593 w 10678681"/>
              <a:gd name="connsiteY78" fmla="*/ 1273569 h 1357700"/>
              <a:gd name="connsiteX79" fmla="*/ 5192893 w 10678681"/>
              <a:gd name="connsiteY79" fmla="*/ 1247188 h 1357700"/>
              <a:gd name="connsiteX80" fmla="*/ 5186475 w 10678681"/>
              <a:gd name="connsiteY80" fmla="*/ 1257028 h 1357700"/>
              <a:gd name="connsiteX81" fmla="*/ 5126038 w 10678681"/>
              <a:gd name="connsiteY81" fmla="*/ 1263189 h 1357700"/>
              <a:gd name="connsiteX82" fmla="*/ 4894688 w 10678681"/>
              <a:gd name="connsiteY82" fmla="*/ 1247184 h 1357700"/>
              <a:gd name="connsiteX83" fmla="*/ 4788036 w 10678681"/>
              <a:gd name="connsiteY83" fmla="*/ 1238182 h 1357700"/>
              <a:gd name="connsiteX84" fmla="*/ 4747555 w 10678681"/>
              <a:gd name="connsiteY84" fmla="*/ 1252768 h 1357700"/>
              <a:gd name="connsiteX85" fmla="*/ 4679644 w 10678681"/>
              <a:gd name="connsiteY85" fmla="*/ 1276603 h 1357700"/>
              <a:gd name="connsiteX86" fmla="*/ 4632222 w 10678681"/>
              <a:gd name="connsiteY86" fmla="*/ 1318360 h 1357700"/>
              <a:gd name="connsiteX87" fmla="*/ 4617358 w 10678681"/>
              <a:gd name="connsiteY87" fmla="*/ 1327690 h 1357700"/>
              <a:gd name="connsiteX88" fmla="*/ 4589102 w 10678681"/>
              <a:gd name="connsiteY88" fmla="*/ 1321223 h 1357700"/>
              <a:gd name="connsiteX89" fmla="*/ 4578184 w 10678681"/>
              <a:gd name="connsiteY89" fmla="*/ 1326745 h 1357700"/>
              <a:gd name="connsiteX90" fmla="*/ 4574270 w 10678681"/>
              <a:gd name="connsiteY90" fmla="*/ 1325878 h 1357700"/>
              <a:gd name="connsiteX91" fmla="*/ 4564919 w 10678681"/>
              <a:gd name="connsiteY91" fmla="*/ 1325507 h 1357700"/>
              <a:gd name="connsiteX92" fmla="*/ 4566586 w 10678681"/>
              <a:gd name="connsiteY92" fmla="*/ 1316963 h 1357700"/>
              <a:gd name="connsiteX93" fmla="*/ 4556303 w 10678681"/>
              <a:gd name="connsiteY93" fmla="*/ 1300262 h 1357700"/>
              <a:gd name="connsiteX94" fmla="*/ 4502358 w 10678681"/>
              <a:gd name="connsiteY94" fmla="*/ 1302558 h 1357700"/>
              <a:gd name="connsiteX95" fmla="*/ 4498919 w 10678681"/>
              <a:gd name="connsiteY95" fmla="*/ 1312115 h 1357700"/>
              <a:gd name="connsiteX96" fmla="*/ 4492075 w 10678681"/>
              <a:gd name="connsiteY96" fmla="*/ 1313357 h 1357700"/>
              <a:gd name="connsiteX97" fmla="*/ 4487466 w 10678681"/>
              <a:gd name="connsiteY97" fmla="*/ 1304102 h 1357700"/>
              <a:gd name="connsiteX98" fmla="*/ 4398292 w 10678681"/>
              <a:gd name="connsiteY98" fmla="*/ 1278410 h 1357700"/>
              <a:gd name="connsiteX99" fmla="*/ 4306088 w 10678681"/>
              <a:gd name="connsiteY99" fmla="*/ 1282512 h 1357700"/>
              <a:gd name="connsiteX100" fmla="*/ 4188995 w 10678681"/>
              <a:gd name="connsiteY100" fmla="*/ 1296718 h 1357700"/>
              <a:gd name="connsiteX101" fmla="*/ 4136582 w 10678681"/>
              <a:gd name="connsiteY101" fmla="*/ 1287687 h 1357700"/>
              <a:gd name="connsiteX102" fmla="*/ 4064614 w 10678681"/>
              <a:gd name="connsiteY102" fmla="*/ 1296118 h 1357700"/>
              <a:gd name="connsiteX103" fmla="*/ 3906561 w 10678681"/>
              <a:gd name="connsiteY103" fmla="*/ 1352435 h 1357700"/>
              <a:gd name="connsiteX104" fmla="*/ 3787890 w 10678681"/>
              <a:gd name="connsiteY104" fmla="*/ 1352442 h 1357700"/>
              <a:gd name="connsiteX105" fmla="*/ 3745993 w 10678681"/>
              <a:gd name="connsiteY105" fmla="*/ 1342630 h 1357700"/>
              <a:gd name="connsiteX106" fmla="*/ 3675785 w 10678681"/>
              <a:gd name="connsiteY106" fmla="*/ 1326802 h 1357700"/>
              <a:gd name="connsiteX107" fmla="*/ 3623856 w 10678681"/>
              <a:gd name="connsiteY107" fmla="*/ 1290804 h 1357700"/>
              <a:gd name="connsiteX108" fmla="*/ 3564933 w 10678681"/>
              <a:gd name="connsiteY108" fmla="*/ 1287147 h 1357700"/>
              <a:gd name="connsiteX109" fmla="*/ 3550537 w 10678681"/>
              <a:gd name="connsiteY109" fmla="*/ 1317552 h 1357700"/>
              <a:gd name="connsiteX110" fmla="*/ 3487736 w 10678681"/>
              <a:gd name="connsiteY110" fmla="*/ 1303493 h 1357700"/>
              <a:gd name="connsiteX111" fmla="*/ 3392548 w 10678681"/>
              <a:gd name="connsiteY111" fmla="*/ 1278741 h 1357700"/>
              <a:gd name="connsiteX112" fmla="*/ 3337466 w 10678681"/>
              <a:gd name="connsiteY112" fmla="*/ 1272537 h 1357700"/>
              <a:gd name="connsiteX113" fmla="*/ 3187206 w 10678681"/>
              <a:gd name="connsiteY113" fmla="*/ 1246821 h 1357700"/>
              <a:gd name="connsiteX114" fmla="*/ 3036856 w 10678681"/>
              <a:gd name="connsiteY114" fmla="*/ 1214383 h 1357700"/>
              <a:gd name="connsiteX115" fmla="*/ 2824973 w 10678681"/>
              <a:gd name="connsiteY115" fmla="*/ 1134864 h 1357700"/>
              <a:gd name="connsiteX116" fmla="*/ 2804398 w 10678681"/>
              <a:gd name="connsiteY116" fmla="*/ 1125556 h 1357700"/>
              <a:gd name="connsiteX117" fmla="*/ 2775396 w 10678681"/>
              <a:gd name="connsiteY117" fmla="*/ 1130148 h 1357700"/>
              <a:gd name="connsiteX118" fmla="*/ 2659096 w 10678681"/>
              <a:gd name="connsiteY118" fmla="*/ 1150294 h 1357700"/>
              <a:gd name="connsiteX119" fmla="*/ 2567088 w 10678681"/>
              <a:gd name="connsiteY119" fmla="*/ 1181781 h 1357700"/>
              <a:gd name="connsiteX120" fmla="*/ 2454501 w 10678681"/>
              <a:gd name="connsiteY120" fmla="*/ 1155455 h 1357700"/>
              <a:gd name="connsiteX121" fmla="*/ 2385161 w 10678681"/>
              <a:gd name="connsiteY121" fmla="*/ 1161312 h 1357700"/>
              <a:gd name="connsiteX122" fmla="*/ 2273361 w 10678681"/>
              <a:gd name="connsiteY122" fmla="*/ 1134090 h 1357700"/>
              <a:gd name="connsiteX123" fmla="*/ 2132003 w 10678681"/>
              <a:gd name="connsiteY123" fmla="*/ 1139225 h 1357700"/>
              <a:gd name="connsiteX124" fmla="*/ 2052449 w 10678681"/>
              <a:gd name="connsiteY124" fmla="*/ 1109687 h 1357700"/>
              <a:gd name="connsiteX125" fmla="*/ 2010157 w 10678681"/>
              <a:gd name="connsiteY125" fmla="*/ 1152767 h 1357700"/>
              <a:gd name="connsiteX126" fmla="*/ 1901837 w 10678681"/>
              <a:gd name="connsiteY126" fmla="*/ 1221762 h 1357700"/>
              <a:gd name="connsiteX127" fmla="*/ 1836762 w 10678681"/>
              <a:gd name="connsiteY127" fmla="*/ 1237387 h 1357700"/>
              <a:gd name="connsiteX128" fmla="*/ 1735877 w 10678681"/>
              <a:gd name="connsiteY128" fmla="*/ 1246527 h 1357700"/>
              <a:gd name="connsiteX129" fmla="*/ 1705069 w 10678681"/>
              <a:gd name="connsiteY129" fmla="*/ 1251989 h 1357700"/>
              <a:gd name="connsiteX130" fmla="*/ 1397689 w 10678681"/>
              <a:gd name="connsiteY130" fmla="*/ 1336144 h 1357700"/>
              <a:gd name="connsiteX131" fmla="*/ 1220734 w 10678681"/>
              <a:gd name="connsiteY131" fmla="*/ 1257811 h 1357700"/>
              <a:gd name="connsiteX132" fmla="*/ 1021737 w 10678681"/>
              <a:gd name="connsiteY132" fmla="*/ 1238739 h 1357700"/>
              <a:gd name="connsiteX133" fmla="*/ 959820 w 10678681"/>
              <a:gd name="connsiteY133" fmla="*/ 1275863 h 1357700"/>
              <a:gd name="connsiteX134" fmla="*/ 929137 w 10678681"/>
              <a:gd name="connsiteY134" fmla="*/ 1273957 h 1357700"/>
              <a:gd name="connsiteX135" fmla="*/ 878849 w 10678681"/>
              <a:gd name="connsiteY135" fmla="*/ 1266740 h 1357700"/>
              <a:gd name="connsiteX136" fmla="*/ 800667 w 10678681"/>
              <a:gd name="connsiteY136" fmla="*/ 1282041 h 1357700"/>
              <a:gd name="connsiteX137" fmla="*/ 644906 w 10678681"/>
              <a:gd name="connsiteY137" fmla="*/ 1273685 h 1357700"/>
              <a:gd name="connsiteX138" fmla="*/ 379869 w 10678681"/>
              <a:gd name="connsiteY138" fmla="*/ 1339165 h 1357700"/>
              <a:gd name="connsiteX139" fmla="*/ 137696 w 10678681"/>
              <a:gd name="connsiteY139" fmla="*/ 1319217 h 1357700"/>
              <a:gd name="connsiteX140" fmla="*/ 54250 w 10678681"/>
              <a:gd name="connsiteY140" fmla="*/ 1315838 h 1357700"/>
              <a:gd name="connsiteX141" fmla="*/ 28042 w 10678681"/>
              <a:gd name="connsiteY141" fmla="*/ 1297822 h 1357700"/>
              <a:gd name="connsiteX142" fmla="*/ 0 w 10678681"/>
              <a:gd name="connsiteY142" fmla="*/ 1294612 h 1357700"/>
              <a:gd name="connsiteX143" fmla="*/ 0 w 10678681"/>
              <a:gd name="connsiteY143" fmla="*/ 0 h 1357700"/>
              <a:gd name="connsiteX0" fmla="*/ 0 w 10678681"/>
              <a:gd name="connsiteY0" fmla="*/ 0 h 1353297"/>
              <a:gd name="connsiteX1" fmla="*/ 10678681 w 10678681"/>
              <a:gd name="connsiteY1" fmla="*/ 0 h 1353297"/>
              <a:gd name="connsiteX2" fmla="*/ 10666019 w 10678681"/>
              <a:gd name="connsiteY2" fmla="*/ 7876 h 1353297"/>
              <a:gd name="connsiteX3" fmla="*/ 10632825 w 10678681"/>
              <a:gd name="connsiteY3" fmla="*/ 32153 h 1353297"/>
              <a:gd name="connsiteX4" fmla="*/ 10510605 w 10678681"/>
              <a:gd name="connsiteY4" fmla="*/ 30449 h 1353297"/>
              <a:gd name="connsiteX5" fmla="*/ 10456989 w 10678681"/>
              <a:gd name="connsiteY5" fmla="*/ 979 h 1353297"/>
              <a:gd name="connsiteX6" fmla="*/ 10438642 w 10678681"/>
              <a:gd name="connsiteY6" fmla="*/ 1524 h 1353297"/>
              <a:gd name="connsiteX7" fmla="*/ 10407146 w 10678681"/>
              <a:gd name="connsiteY7" fmla="*/ 43659 h 1353297"/>
              <a:gd name="connsiteX8" fmla="*/ 10357996 w 10678681"/>
              <a:gd name="connsiteY8" fmla="*/ 50836 h 1353297"/>
              <a:gd name="connsiteX9" fmla="*/ 10306667 w 10678681"/>
              <a:gd name="connsiteY9" fmla="*/ 109739 h 1353297"/>
              <a:gd name="connsiteX10" fmla="*/ 10115334 w 10678681"/>
              <a:gd name="connsiteY10" fmla="*/ 155658 h 1353297"/>
              <a:gd name="connsiteX11" fmla="*/ 10068157 w 10678681"/>
              <a:gd name="connsiteY11" fmla="*/ 215673 h 1353297"/>
              <a:gd name="connsiteX12" fmla="*/ 10045431 w 10678681"/>
              <a:gd name="connsiteY12" fmla="*/ 229568 h 1353297"/>
              <a:gd name="connsiteX13" fmla="*/ 10013265 w 10678681"/>
              <a:gd name="connsiteY13" fmla="*/ 284757 h 1353297"/>
              <a:gd name="connsiteX14" fmla="*/ 9862496 w 10678681"/>
              <a:gd name="connsiteY14" fmla="*/ 223033 h 1353297"/>
              <a:gd name="connsiteX15" fmla="*/ 9679638 w 10678681"/>
              <a:gd name="connsiteY15" fmla="*/ 277462 h 1353297"/>
              <a:gd name="connsiteX16" fmla="*/ 9498347 w 10678681"/>
              <a:gd name="connsiteY16" fmla="*/ 244723 h 1353297"/>
              <a:gd name="connsiteX17" fmla="*/ 9399702 w 10678681"/>
              <a:gd name="connsiteY17" fmla="*/ 276316 h 1353297"/>
              <a:gd name="connsiteX18" fmla="*/ 9378439 w 10678681"/>
              <a:gd name="connsiteY18" fmla="*/ 326244 h 1353297"/>
              <a:gd name="connsiteX19" fmla="*/ 9121744 w 10678681"/>
              <a:gd name="connsiteY19" fmla="*/ 365177 h 1353297"/>
              <a:gd name="connsiteX20" fmla="*/ 9061654 w 10678681"/>
              <a:gd name="connsiteY20" fmla="*/ 393730 h 1353297"/>
              <a:gd name="connsiteX21" fmla="*/ 8997577 w 10678681"/>
              <a:gd name="connsiteY21" fmla="*/ 380865 h 1353297"/>
              <a:gd name="connsiteX22" fmla="*/ 8907968 w 10678681"/>
              <a:gd name="connsiteY22" fmla="*/ 447345 h 1353297"/>
              <a:gd name="connsiteX23" fmla="*/ 8764163 w 10678681"/>
              <a:gd name="connsiteY23" fmla="*/ 471000 h 1353297"/>
              <a:gd name="connsiteX24" fmla="*/ 8680155 w 10678681"/>
              <a:gd name="connsiteY24" fmla="*/ 492404 h 1353297"/>
              <a:gd name="connsiteX25" fmla="*/ 8651436 w 10678681"/>
              <a:gd name="connsiteY25" fmla="*/ 511923 h 1353297"/>
              <a:gd name="connsiteX26" fmla="*/ 8609185 w 10678681"/>
              <a:gd name="connsiteY26" fmla="*/ 531525 h 1353297"/>
              <a:gd name="connsiteX27" fmla="*/ 8537091 w 10678681"/>
              <a:gd name="connsiteY27" fmla="*/ 574933 h 1353297"/>
              <a:gd name="connsiteX28" fmla="*/ 8435931 w 10678681"/>
              <a:gd name="connsiteY28" fmla="*/ 617926 h 1353297"/>
              <a:gd name="connsiteX29" fmla="*/ 8348623 w 10678681"/>
              <a:gd name="connsiteY29" fmla="*/ 600607 h 1353297"/>
              <a:gd name="connsiteX30" fmla="*/ 8344233 w 10678681"/>
              <a:gd name="connsiteY30" fmla="*/ 610922 h 1353297"/>
              <a:gd name="connsiteX31" fmla="*/ 8290622 w 10678681"/>
              <a:gd name="connsiteY31" fmla="*/ 622687 h 1353297"/>
              <a:gd name="connsiteX32" fmla="*/ 8086698 w 10678681"/>
              <a:gd name="connsiteY32" fmla="*/ 605185 h 1353297"/>
              <a:gd name="connsiteX33" fmla="*/ 7982378 w 10678681"/>
              <a:gd name="connsiteY33" fmla="*/ 629799 h 1353297"/>
              <a:gd name="connsiteX34" fmla="*/ 7947952 w 10678681"/>
              <a:gd name="connsiteY34" fmla="*/ 648003 h 1353297"/>
              <a:gd name="connsiteX35" fmla="*/ 7890112 w 10678681"/>
              <a:gd name="connsiteY35" fmla="*/ 677915 h 1353297"/>
              <a:gd name="connsiteX36" fmla="*/ 7853284 w 10678681"/>
              <a:gd name="connsiteY36" fmla="*/ 723588 h 1353297"/>
              <a:gd name="connsiteX37" fmla="*/ 7802383 w 10678681"/>
              <a:gd name="connsiteY37" fmla="*/ 739359 h 1353297"/>
              <a:gd name="connsiteX38" fmla="*/ 7730518 w 10678681"/>
              <a:gd name="connsiteY38" fmla="*/ 739526 h 1353297"/>
              <a:gd name="connsiteX39" fmla="*/ 7652907 w 10678681"/>
              <a:gd name="connsiteY39" fmla="*/ 783273 h 1353297"/>
              <a:gd name="connsiteX40" fmla="*/ 7606008 w 10678681"/>
              <a:gd name="connsiteY40" fmla="*/ 800717 h 1353297"/>
              <a:gd name="connsiteX41" fmla="*/ 7480223 w 10678681"/>
              <a:gd name="connsiteY41" fmla="*/ 856821 h 1353297"/>
              <a:gd name="connsiteX42" fmla="*/ 7356005 w 10678681"/>
              <a:gd name="connsiteY42" fmla="*/ 919462 h 1353297"/>
              <a:gd name="connsiteX43" fmla="*/ 7305396 w 10678681"/>
              <a:gd name="connsiteY43" fmla="*/ 986228 h 1353297"/>
              <a:gd name="connsiteX44" fmla="*/ 7266251 w 10678681"/>
              <a:gd name="connsiteY44" fmla="*/ 967864 h 1353297"/>
              <a:gd name="connsiteX45" fmla="*/ 7269396 w 10678681"/>
              <a:gd name="connsiteY45" fmla="*/ 989282 h 1353297"/>
              <a:gd name="connsiteX46" fmla="*/ 7258094 w 10678681"/>
              <a:gd name="connsiteY46" fmla="*/ 990679 h 1353297"/>
              <a:gd name="connsiteX47" fmla="*/ 7257893 w 10678681"/>
              <a:gd name="connsiteY47" fmla="*/ 991204 h 1353297"/>
              <a:gd name="connsiteX48" fmla="*/ 7247153 w 10678681"/>
              <a:gd name="connsiteY48" fmla="*/ 991550 h 1353297"/>
              <a:gd name="connsiteX49" fmla="*/ 7193612 w 10678681"/>
              <a:gd name="connsiteY49" fmla="*/ 987042 h 1353297"/>
              <a:gd name="connsiteX50" fmla="*/ 7132632 w 10678681"/>
              <a:gd name="connsiteY50" fmla="*/ 1042036 h 1353297"/>
              <a:gd name="connsiteX51" fmla="*/ 7105610 w 10678681"/>
              <a:gd name="connsiteY51" fmla="*/ 1053537 h 1353297"/>
              <a:gd name="connsiteX52" fmla="*/ 7069148 w 10678681"/>
              <a:gd name="connsiteY52" fmla="*/ 1047163 h 1353297"/>
              <a:gd name="connsiteX53" fmla="*/ 7039634 w 10678681"/>
              <a:gd name="connsiteY53" fmla="*/ 1059971 h 1353297"/>
              <a:gd name="connsiteX54" fmla="*/ 7033445 w 10678681"/>
              <a:gd name="connsiteY54" fmla="*/ 1063314 h 1353297"/>
              <a:gd name="connsiteX55" fmla="*/ 6999157 w 10678681"/>
              <a:gd name="connsiteY55" fmla="*/ 1055282 h 1353297"/>
              <a:gd name="connsiteX56" fmla="*/ 6981874 w 10678681"/>
              <a:gd name="connsiteY56" fmla="*/ 1053827 h 1353297"/>
              <a:gd name="connsiteX57" fmla="*/ 6976102 w 10678681"/>
              <a:gd name="connsiteY57" fmla="*/ 1047854 h 1353297"/>
              <a:gd name="connsiteX58" fmla="*/ 6951040 w 10678681"/>
              <a:gd name="connsiteY58" fmla="*/ 1048531 h 1353297"/>
              <a:gd name="connsiteX59" fmla="*/ 6948497 w 10678681"/>
              <a:gd name="connsiteY59" fmla="*/ 1050706 h 1353297"/>
              <a:gd name="connsiteX60" fmla="*/ 6926582 w 10678681"/>
              <a:gd name="connsiteY60" fmla="*/ 1043462 h 1353297"/>
              <a:gd name="connsiteX61" fmla="*/ 6833743 w 10678681"/>
              <a:gd name="connsiteY61" fmla="*/ 1027960 h 1353297"/>
              <a:gd name="connsiteX62" fmla="*/ 6687090 w 10678681"/>
              <a:gd name="connsiteY62" fmla="*/ 1063250 h 1353297"/>
              <a:gd name="connsiteX63" fmla="*/ 6437450 w 10678681"/>
              <a:gd name="connsiteY63" fmla="*/ 1101075 h 1353297"/>
              <a:gd name="connsiteX64" fmla="*/ 6327795 w 10678681"/>
              <a:gd name="connsiteY64" fmla="*/ 1088142 h 1353297"/>
              <a:gd name="connsiteX65" fmla="*/ 6136549 w 10678681"/>
              <a:gd name="connsiteY65" fmla="*/ 1100268 h 1353297"/>
              <a:gd name="connsiteX66" fmla="*/ 6004655 w 10678681"/>
              <a:gd name="connsiteY66" fmla="*/ 1114946 h 1353297"/>
              <a:gd name="connsiteX67" fmla="*/ 5936643 w 10678681"/>
              <a:gd name="connsiteY67" fmla="*/ 1095428 h 1353297"/>
              <a:gd name="connsiteX68" fmla="*/ 5912484 w 10678681"/>
              <a:gd name="connsiteY68" fmla="*/ 1112624 h 1353297"/>
              <a:gd name="connsiteX69" fmla="*/ 5908387 w 10678681"/>
              <a:gd name="connsiteY69" fmla="*/ 1116018 h 1353297"/>
              <a:gd name="connsiteX70" fmla="*/ 5890495 w 10678681"/>
              <a:gd name="connsiteY70" fmla="*/ 1120268 h 1353297"/>
              <a:gd name="connsiteX71" fmla="*/ 5887318 w 10678681"/>
              <a:gd name="connsiteY71" fmla="*/ 1133134 h 1353297"/>
              <a:gd name="connsiteX72" fmla="*/ 5861726 w 10678681"/>
              <a:gd name="connsiteY72" fmla="*/ 1147891 h 1353297"/>
              <a:gd name="connsiteX73" fmla="*/ 5805823 w 10678681"/>
              <a:gd name="connsiteY73" fmla="*/ 1152457 h 1353297"/>
              <a:gd name="connsiteX74" fmla="*/ 5689841 w 10678681"/>
              <a:gd name="connsiteY74" fmla="*/ 1176232 h 1353297"/>
              <a:gd name="connsiteX75" fmla="*/ 5605119 w 10678681"/>
              <a:gd name="connsiteY75" fmla="*/ 1190202 h 1353297"/>
              <a:gd name="connsiteX76" fmla="*/ 5488513 w 10678681"/>
              <a:gd name="connsiteY76" fmla="*/ 1205367 h 1353297"/>
              <a:gd name="connsiteX77" fmla="*/ 5402905 w 10678681"/>
              <a:gd name="connsiteY77" fmla="*/ 1241191 h 1353297"/>
              <a:gd name="connsiteX78" fmla="*/ 5285593 w 10678681"/>
              <a:gd name="connsiteY78" fmla="*/ 1273569 h 1353297"/>
              <a:gd name="connsiteX79" fmla="*/ 5192893 w 10678681"/>
              <a:gd name="connsiteY79" fmla="*/ 1247188 h 1353297"/>
              <a:gd name="connsiteX80" fmla="*/ 5186475 w 10678681"/>
              <a:gd name="connsiteY80" fmla="*/ 1257028 h 1353297"/>
              <a:gd name="connsiteX81" fmla="*/ 5126038 w 10678681"/>
              <a:gd name="connsiteY81" fmla="*/ 1263189 h 1353297"/>
              <a:gd name="connsiteX82" fmla="*/ 4894688 w 10678681"/>
              <a:gd name="connsiteY82" fmla="*/ 1247184 h 1353297"/>
              <a:gd name="connsiteX83" fmla="*/ 4788036 w 10678681"/>
              <a:gd name="connsiteY83" fmla="*/ 1238182 h 1353297"/>
              <a:gd name="connsiteX84" fmla="*/ 4747555 w 10678681"/>
              <a:gd name="connsiteY84" fmla="*/ 1252768 h 1353297"/>
              <a:gd name="connsiteX85" fmla="*/ 4679644 w 10678681"/>
              <a:gd name="connsiteY85" fmla="*/ 1276603 h 1353297"/>
              <a:gd name="connsiteX86" fmla="*/ 4632222 w 10678681"/>
              <a:gd name="connsiteY86" fmla="*/ 1318360 h 1353297"/>
              <a:gd name="connsiteX87" fmla="*/ 4617358 w 10678681"/>
              <a:gd name="connsiteY87" fmla="*/ 1327690 h 1353297"/>
              <a:gd name="connsiteX88" fmla="*/ 4589102 w 10678681"/>
              <a:gd name="connsiteY88" fmla="*/ 1321223 h 1353297"/>
              <a:gd name="connsiteX89" fmla="*/ 4578184 w 10678681"/>
              <a:gd name="connsiteY89" fmla="*/ 1326745 h 1353297"/>
              <a:gd name="connsiteX90" fmla="*/ 4574270 w 10678681"/>
              <a:gd name="connsiteY90" fmla="*/ 1325878 h 1353297"/>
              <a:gd name="connsiteX91" fmla="*/ 4564919 w 10678681"/>
              <a:gd name="connsiteY91" fmla="*/ 1325507 h 1353297"/>
              <a:gd name="connsiteX92" fmla="*/ 4566586 w 10678681"/>
              <a:gd name="connsiteY92" fmla="*/ 1316963 h 1353297"/>
              <a:gd name="connsiteX93" fmla="*/ 4556303 w 10678681"/>
              <a:gd name="connsiteY93" fmla="*/ 1300262 h 1353297"/>
              <a:gd name="connsiteX94" fmla="*/ 4502358 w 10678681"/>
              <a:gd name="connsiteY94" fmla="*/ 1302558 h 1353297"/>
              <a:gd name="connsiteX95" fmla="*/ 4498919 w 10678681"/>
              <a:gd name="connsiteY95" fmla="*/ 1312115 h 1353297"/>
              <a:gd name="connsiteX96" fmla="*/ 4492075 w 10678681"/>
              <a:gd name="connsiteY96" fmla="*/ 1313357 h 1353297"/>
              <a:gd name="connsiteX97" fmla="*/ 4487466 w 10678681"/>
              <a:gd name="connsiteY97" fmla="*/ 1304102 h 1353297"/>
              <a:gd name="connsiteX98" fmla="*/ 4398292 w 10678681"/>
              <a:gd name="connsiteY98" fmla="*/ 1278410 h 1353297"/>
              <a:gd name="connsiteX99" fmla="*/ 4306088 w 10678681"/>
              <a:gd name="connsiteY99" fmla="*/ 1282512 h 1353297"/>
              <a:gd name="connsiteX100" fmla="*/ 4188995 w 10678681"/>
              <a:gd name="connsiteY100" fmla="*/ 1296718 h 1353297"/>
              <a:gd name="connsiteX101" fmla="*/ 4136582 w 10678681"/>
              <a:gd name="connsiteY101" fmla="*/ 1287687 h 1353297"/>
              <a:gd name="connsiteX102" fmla="*/ 4064614 w 10678681"/>
              <a:gd name="connsiteY102" fmla="*/ 1296118 h 1353297"/>
              <a:gd name="connsiteX103" fmla="*/ 3906561 w 10678681"/>
              <a:gd name="connsiteY103" fmla="*/ 1352435 h 1353297"/>
              <a:gd name="connsiteX104" fmla="*/ 3787890 w 10678681"/>
              <a:gd name="connsiteY104" fmla="*/ 1352442 h 1353297"/>
              <a:gd name="connsiteX105" fmla="*/ 3745993 w 10678681"/>
              <a:gd name="connsiteY105" fmla="*/ 1342630 h 1353297"/>
              <a:gd name="connsiteX106" fmla="*/ 3675785 w 10678681"/>
              <a:gd name="connsiteY106" fmla="*/ 1326802 h 1353297"/>
              <a:gd name="connsiteX107" fmla="*/ 3623856 w 10678681"/>
              <a:gd name="connsiteY107" fmla="*/ 1290804 h 1353297"/>
              <a:gd name="connsiteX108" fmla="*/ 3564933 w 10678681"/>
              <a:gd name="connsiteY108" fmla="*/ 1287147 h 1353297"/>
              <a:gd name="connsiteX109" fmla="*/ 3550537 w 10678681"/>
              <a:gd name="connsiteY109" fmla="*/ 1317552 h 1353297"/>
              <a:gd name="connsiteX110" fmla="*/ 3487736 w 10678681"/>
              <a:gd name="connsiteY110" fmla="*/ 1303493 h 1353297"/>
              <a:gd name="connsiteX111" fmla="*/ 3392548 w 10678681"/>
              <a:gd name="connsiteY111" fmla="*/ 1278741 h 1353297"/>
              <a:gd name="connsiteX112" fmla="*/ 3337466 w 10678681"/>
              <a:gd name="connsiteY112" fmla="*/ 1272537 h 1353297"/>
              <a:gd name="connsiteX113" fmla="*/ 3187206 w 10678681"/>
              <a:gd name="connsiteY113" fmla="*/ 1246821 h 1353297"/>
              <a:gd name="connsiteX114" fmla="*/ 3036856 w 10678681"/>
              <a:gd name="connsiteY114" fmla="*/ 1214383 h 1353297"/>
              <a:gd name="connsiteX115" fmla="*/ 2824973 w 10678681"/>
              <a:gd name="connsiteY115" fmla="*/ 1134864 h 1353297"/>
              <a:gd name="connsiteX116" fmla="*/ 2804398 w 10678681"/>
              <a:gd name="connsiteY116" fmla="*/ 1125556 h 1353297"/>
              <a:gd name="connsiteX117" fmla="*/ 2775396 w 10678681"/>
              <a:gd name="connsiteY117" fmla="*/ 1130148 h 1353297"/>
              <a:gd name="connsiteX118" fmla="*/ 2659096 w 10678681"/>
              <a:gd name="connsiteY118" fmla="*/ 1150294 h 1353297"/>
              <a:gd name="connsiteX119" fmla="*/ 2567088 w 10678681"/>
              <a:gd name="connsiteY119" fmla="*/ 1181781 h 1353297"/>
              <a:gd name="connsiteX120" fmla="*/ 2454501 w 10678681"/>
              <a:gd name="connsiteY120" fmla="*/ 1155455 h 1353297"/>
              <a:gd name="connsiteX121" fmla="*/ 2385161 w 10678681"/>
              <a:gd name="connsiteY121" fmla="*/ 1161312 h 1353297"/>
              <a:gd name="connsiteX122" fmla="*/ 2273361 w 10678681"/>
              <a:gd name="connsiteY122" fmla="*/ 1134090 h 1353297"/>
              <a:gd name="connsiteX123" fmla="*/ 2132003 w 10678681"/>
              <a:gd name="connsiteY123" fmla="*/ 1139225 h 1353297"/>
              <a:gd name="connsiteX124" fmla="*/ 2052449 w 10678681"/>
              <a:gd name="connsiteY124" fmla="*/ 1109687 h 1353297"/>
              <a:gd name="connsiteX125" fmla="*/ 2010157 w 10678681"/>
              <a:gd name="connsiteY125" fmla="*/ 1152767 h 1353297"/>
              <a:gd name="connsiteX126" fmla="*/ 1901837 w 10678681"/>
              <a:gd name="connsiteY126" fmla="*/ 1221762 h 1353297"/>
              <a:gd name="connsiteX127" fmla="*/ 1836762 w 10678681"/>
              <a:gd name="connsiteY127" fmla="*/ 1237387 h 1353297"/>
              <a:gd name="connsiteX128" fmla="*/ 1735877 w 10678681"/>
              <a:gd name="connsiteY128" fmla="*/ 1246527 h 1353297"/>
              <a:gd name="connsiteX129" fmla="*/ 1705069 w 10678681"/>
              <a:gd name="connsiteY129" fmla="*/ 1251989 h 1353297"/>
              <a:gd name="connsiteX130" fmla="*/ 1408915 w 10678681"/>
              <a:gd name="connsiteY130" fmla="*/ 1268017 h 1353297"/>
              <a:gd name="connsiteX131" fmla="*/ 1220734 w 10678681"/>
              <a:gd name="connsiteY131" fmla="*/ 1257811 h 1353297"/>
              <a:gd name="connsiteX132" fmla="*/ 1021737 w 10678681"/>
              <a:gd name="connsiteY132" fmla="*/ 1238739 h 1353297"/>
              <a:gd name="connsiteX133" fmla="*/ 959820 w 10678681"/>
              <a:gd name="connsiteY133" fmla="*/ 1275863 h 1353297"/>
              <a:gd name="connsiteX134" fmla="*/ 929137 w 10678681"/>
              <a:gd name="connsiteY134" fmla="*/ 1273957 h 1353297"/>
              <a:gd name="connsiteX135" fmla="*/ 878849 w 10678681"/>
              <a:gd name="connsiteY135" fmla="*/ 1266740 h 1353297"/>
              <a:gd name="connsiteX136" fmla="*/ 800667 w 10678681"/>
              <a:gd name="connsiteY136" fmla="*/ 1282041 h 1353297"/>
              <a:gd name="connsiteX137" fmla="*/ 644906 w 10678681"/>
              <a:gd name="connsiteY137" fmla="*/ 1273685 h 1353297"/>
              <a:gd name="connsiteX138" fmla="*/ 379869 w 10678681"/>
              <a:gd name="connsiteY138" fmla="*/ 1339165 h 1353297"/>
              <a:gd name="connsiteX139" fmla="*/ 137696 w 10678681"/>
              <a:gd name="connsiteY139" fmla="*/ 1319217 h 1353297"/>
              <a:gd name="connsiteX140" fmla="*/ 54250 w 10678681"/>
              <a:gd name="connsiteY140" fmla="*/ 1315838 h 1353297"/>
              <a:gd name="connsiteX141" fmla="*/ 28042 w 10678681"/>
              <a:gd name="connsiteY141" fmla="*/ 1297822 h 1353297"/>
              <a:gd name="connsiteX142" fmla="*/ 0 w 10678681"/>
              <a:gd name="connsiteY142" fmla="*/ 1294612 h 1353297"/>
              <a:gd name="connsiteX143" fmla="*/ 0 w 10678681"/>
              <a:gd name="connsiteY143" fmla="*/ 0 h 1353297"/>
              <a:gd name="connsiteX0" fmla="*/ 0 w 10678681"/>
              <a:gd name="connsiteY0" fmla="*/ 0 h 1353297"/>
              <a:gd name="connsiteX1" fmla="*/ 10678681 w 10678681"/>
              <a:gd name="connsiteY1" fmla="*/ 0 h 1353297"/>
              <a:gd name="connsiteX2" fmla="*/ 10666019 w 10678681"/>
              <a:gd name="connsiteY2" fmla="*/ 7876 h 1353297"/>
              <a:gd name="connsiteX3" fmla="*/ 10632825 w 10678681"/>
              <a:gd name="connsiteY3" fmla="*/ 32153 h 1353297"/>
              <a:gd name="connsiteX4" fmla="*/ 10510605 w 10678681"/>
              <a:gd name="connsiteY4" fmla="*/ 30449 h 1353297"/>
              <a:gd name="connsiteX5" fmla="*/ 10456989 w 10678681"/>
              <a:gd name="connsiteY5" fmla="*/ 979 h 1353297"/>
              <a:gd name="connsiteX6" fmla="*/ 10438642 w 10678681"/>
              <a:gd name="connsiteY6" fmla="*/ 1524 h 1353297"/>
              <a:gd name="connsiteX7" fmla="*/ 10407146 w 10678681"/>
              <a:gd name="connsiteY7" fmla="*/ 43659 h 1353297"/>
              <a:gd name="connsiteX8" fmla="*/ 10357996 w 10678681"/>
              <a:gd name="connsiteY8" fmla="*/ 50836 h 1353297"/>
              <a:gd name="connsiteX9" fmla="*/ 10306667 w 10678681"/>
              <a:gd name="connsiteY9" fmla="*/ 109739 h 1353297"/>
              <a:gd name="connsiteX10" fmla="*/ 10115334 w 10678681"/>
              <a:gd name="connsiteY10" fmla="*/ 155658 h 1353297"/>
              <a:gd name="connsiteX11" fmla="*/ 10068157 w 10678681"/>
              <a:gd name="connsiteY11" fmla="*/ 215673 h 1353297"/>
              <a:gd name="connsiteX12" fmla="*/ 10045431 w 10678681"/>
              <a:gd name="connsiteY12" fmla="*/ 229568 h 1353297"/>
              <a:gd name="connsiteX13" fmla="*/ 10013265 w 10678681"/>
              <a:gd name="connsiteY13" fmla="*/ 284757 h 1353297"/>
              <a:gd name="connsiteX14" fmla="*/ 9862496 w 10678681"/>
              <a:gd name="connsiteY14" fmla="*/ 223033 h 1353297"/>
              <a:gd name="connsiteX15" fmla="*/ 9679638 w 10678681"/>
              <a:gd name="connsiteY15" fmla="*/ 277462 h 1353297"/>
              <a:gd name="connsiteX16" fmla="*/ 9498347 w 10678681"/>
              <a:gd name="connsiteY16" fmla="*/ 244723 h 1353297"/>
              <a:gd name="connsiteX17" fmla="*/ 9399702 w 10678681"/>
              <a:gd name="connsiteY17" fmla="*/ 276316 h 1353297"/>
              <a:gd name="connsiteX18" fmla="*/ 9378439 w 10678681"/>
              <a:gd name="connsiteY18" fmla="*/ 326244 h 1353297"/>
              <a:gd name="connsiteX19" fmla="*/ 9121744 w 10678681"/>
              <a:gd name="connsiteY19" fmla="*/ 365177 h 1353297"/>
              <a:gd name="connsiteX20" fmla="*/ 9061654 w 10678681"/>
              <a:gd name="connsiteY20" fmla="*/ 393730 h 1353297"/>
              <a:gd name="connsiteX21" fmla="*/ 8997577 w 10678681"/>
              <a:gd name="connsiteY21" fmla="*/ 380865 h 1353297"/>
              <a:gd name="connsiteX22" fmla="*/ 8907968 w 10678681"/>
              <a:gd name="connsiteY22" fmla="*/ 447345 h 1353297"/>
              <a:gd name="connsiteX23" fmla="*/ 8764163 w 10678681"/>
              <a:gd name="connsiteY23" fmla="*/ 471000 h 1353297"/>
              <a:gd name="connsiteX24" fmla="*/ 8680155 w 10678681"/>
              <a:gd name="connsiteY24" fmla="*/ 492404 h 1353297"/>
              <a:gd name="connsiteX25" fmla="*/ 8651436 w 10678681"/>
              <a:gd name="connsiteY25" fmla="*/ 511923 h 1353297"/>
              <a:gd name="connsiteX26" fmla="*/ 8609185 w 10678681"/>
              <a:gd name="connsiteY26" fmla="*/ 531525 h 1353297"/>
              <a:gd name="connsiteX27" fmla="*/ 8537091 w 10678681"/>
              <a:gd name="connsiteY27" fmla="*/ 574933 h 1353297"/>
              <a:gd name="connsiteX28" fmla="*/ 8435931 w 10678681"/>
              <a:gd name="connsiteY28" fmla="*/ 617926 h 1353297"/>
              <a:gd name="connsiteX29" fmla="*/ 8348623 w 10678681"/>
              <a:gd name="connsiteY29" fmla="*/ 600607 h 1353297"/>
              <a:gd name="connsiteX30" fmla="*/ 8344233 w 10678681"/>
              <a:gd name="connsiteY30" fmla="*/ 610922 h 1353297"/>
              <a:gd name="connsiteX31" fmla="*/ 8290622 w 10678681"/>
              <a:gd name="connsiteY31" fmla="*/ 622687 h 1353297"/>
              <a:gd name="connsiteX32" fmla="*/ 8086698 w 10678681"/>
              <a:gd name="connsiteY32" fmla="*/ 605185 h 1353297"/>
              <a:gd name="connsiteX33" fmla="*/ 7982378 w 10678681"/>
              <a:gd name="connsiteY33" fmla="*/ 629799 h 1353297"/>
              <a:gd name="connsiteX34" fmla="*/ 7947952 w 10678681"/>
              <a:gd name="connsiteY34" fmla="*/ 648003 h 1353297"/>
              <a:gd name="connsiteX35" fmla="*/ 7890112 w 10678681"/>
              <a:gd name="connsiteY35" fmla="*/ 677915 h 1353297"/>
              <a:gd name="connsiteX36" fmla="*/ 7853284 w 10678681"/>
              <a:gd name="connsiteY36" fmla="*/ 723588 h 1353297"/>
              <a:gd name="connsiteX37" fmla="*/ 7802383 w 10678681"/>
              <a:gd name="connsiteY37" fmla="*/ 739359 h 1353297"/>
              <a:gd name="connsiteX38" fmla="*/ 7730518 w 10678681"/>
              <a:gd name="connsiteY38" fmla="*/ 739526 h 1353297"/>
              <a:gd name="connsiteX39" fmla="*/ 7652907 w 10678681"/>
              <a:gd name="connsiteY39" fmla="*/ 783273 h 1353297"/>
              <a:gd name="connsiteX40" fmla="*/ 7606008 w 10678681"/>
              <a:gd name="connsiteY40" fmla="*/ 800717 h 1353297"/>
              <a:gd name="connsiteX41" fmla="*/ 7480223 w 10678681"/>
              <a:gd name="connsiteY41" fmla="*/ 856821 h 1353297"/>
              <a:gd name="connsiteX42" fmla="*/ 7356005 w 10678681"/>
              <a:gd name="connsiteY42" fmla="*/ 919462 h 1353297"/>
              <a:gd name="connsiteX43" fmla="*/ 7305396 w 10678681"/>
              <a:gd name="connsiteY43" fmla="*/ 986228 h 1353297"/>
              <a:gd name="connsiteX44" fmla="*/ 7266251 w 10678681"/>
              <a:gd name="connsiteY44" fmla="*/ 967864 h 1353297"/>
              <a:gd name="connsiteX45" fmla="*/ 7269396 w 10678681"/>
              <a:gd name="connsiteY45" fmla="*/ 989282 h 1353297"/>
              <a:gd name="connsiteX46" fmla="*/ 7258094 w 10678681"/>
              <a:gd name="connsiteY46" fmla="*/ 990679 h 1353297"/>
              <a:gd name="connsiteX47" fmla="*/ 7257893 w 10678681"/>
              <a:gd name="connsiteY47" fmla="*/ 991204 h 1353297"/>
              <a:gd name="connsiteX48" fmla="*/ 7247153 w 10678681"/>
              <a:gd name="connsiteY48" fmla="*/ 991550 h 1353297"/>
              <a:gd name="connsiteX49" fmla="*/ 7193612 w 10678681"/>
              <a:gd name="connsiteY49" fmla="*/ 987042 h 1353297"/>
              <a:gd name="connsiteX50" fmla="*/ 7132632 w 10678681"/>
              <a:gd name="connsiteY50" fmla="*/ 1042036 h 1353297"/>
              <a:gd name="connsiteX51" fmla="*/ 7105610 w 10678681"/>
              <a:gd name="connsiteY51" fmla="*/ 1053537 h 1353297"/>
              <a:gd name="connsiteX52" fmla="*/ 7069148 w 10678681"/>
              <a:gd name="connsiteY52" fmla="*/ 1047163 h 1353297"/>
              <a:gd name="connsiteX53" fmla="*/ 7039634 w 10678681"/>
              <a:gd name="connsiteY53" fmla="*/ 1059971 h 1353297"/>
              <a:gd name="connsiteX54" fmla="*/ 7033445 w 10678681"/>
              <a:gd name="connsiteY54" fmla="*/ 1063314 h 1353297"/>
              <a:gd name="connsiteX55" fmla="*/ 6999157 w 10678681"/>
              <a:gd name="connsiteY55" fmla="*/ 1055282 h 1353297"/>
              <a:gd name="connsiteX56" fmla="*/ 6981874 w 10678681"/>
              <a:gd name="connsiteY56" fmla="*/ 1053827 h 1353297"/>
              <a:gd name="connsiteX57" fmla="*/ 6976102 w 10678681"/>
              <a:gd name="connsiteY57" fmla="*/ 1047854 h 1353297"/>
              <a:gd name="connsiteX58" fmla="*/ 6951040 w 10678681"/>
              <a:gd name="connsiteY58" fmla="*/ 1048531 h 1353297"/>
              <a:gd name="connsiteX59" fmla="*/ 6948497 w 10678681"/>
              <a:gd name="connsiteY59" fmla="*/ 1050706 h 1353297"/>
              <a:gd name="connsiteX60" fmla="*/ 6926582 w 10678681"/>
              <a:gd name="connsiteY60" fmla="*/ 1043462 h 1353297"/>
              <a:gd name="connsiteX61" fmla="*/ 6833743 w 10678681"/>
              <a:gd name="connsiteY61" fmla="*/ 1027960 h 1353297"/>
              <a:gd name="connsiteX62" fmla="*/ 6687090 w 10678681"/>
              <a:gd name="connsiteY62" fmla="*/ 1063250 h 1353297"/>
              <a:gd name="connsiteX63" fmla="*/ 6437450 w 10678681"/>
              <a:gd name="connsiteY63" fmla="*/ 1101075 h 1353297"/>
              <a:gd name="connsiteX64" fmla="*/ 6327795 w 10678681"/>
              <a:gd name="connsiteY64" fmla="*/ 1088142 h 1353297"/>
              <a:gd name="connsiteX65" fmla="*/ 6136549 w 10678681"/>
              <a:gd name="connsiteY65" fmla="*/ 1100268 h 1353297"/>
              <a:gd name="connsiteX66" fmla="*/ 6004655 w 10678681"/>
              <a:gd name="connsiteY66" fmla="*/ 1114946 h 1353297"/>
              <a:gd name="connsiteX67" fmla="*/ 5936643 w 10678681"/>
              <a:gd name="connsiteY67" fmla="*/ 1095428 h 1353297"/>
              <a:gd name="connsiteX68" fmla="*/ 5912484 w 10678681"/>
              <a:gd name="connsiteY68" fmla="*/ 1112624 h 1353297"/>
              <a:gd name="connsiteX69" fmla="*/ 5908387 w 10678681"/>
              <a:gd name="connsiteY69" fmla="*/ 1116018 h 1353297"/>
              <a:gd name="connsiteX70" fmla="*/ 5890495 w 10678681"/>
              <a:gd name="connsiteY70" fmla="*/ 1120268 h 1353297"/>
              <a:gd name="connsiteX71" fmla="*/ 5887318 w 10678681"/>
              <a:gd name="connsiteY71" fmla="*/ 1133134 h 1353297"/>
              <a:gd name="connsiteX72" fmla="*/ 5861726 w 10678681"/>
              <a:gd name="connsiteY72" fmla="*/ 1147891 h 1353297"/>
              <a:gd name="connsiteX73" fmla="*/ 5805823 w 10678681"/>
              <a:gd name="connsiteY73" fmla="*/ 1152457 h 1353297"/>
              <a:gd name="connsiteX74" fmla="*/ 5689841 w 10678681"/>
              <a:gd name="connsiteY74" fmla="*/ 1176232 h 1353297"/>
              <a:gd name="connsiteX75" fmla="*/ 5605119 w 10678681"/>
              <a:gd name="connsiteY75" fmla="*/ 1190202 h 1353297"/>
              <a:gd name="connsiteX76" fmla="*/ 5488513 w 10678681"/>
              <a:gd name="connsiteY76" fmla="*/ 1205367 h 1353297"/>
              <a:gd name="connsiteX77" fmla="*/ 5402905 w 10678681"/>
              <a:gd name="connsiteY77" fmla="*/ 1241191 h 1353297"/>
              <a:gd name="connsiteX78" fmla="*/ 5285593 w 10678681"/>
              <a:gd name="connsiteY78" fmla="*/ 1273569 h 1353297"/>
              <a:gd name="connsiteX79" fmla="*/ 5192893 w 10678681"/>
              <a:gd name="connsiteY79" fmla="*/ 1247188 h 1353297"/>
              <a:gd name="connsiteX80" fmla="*/ 5186475 w 10678681"/>
              <a:gd name="connsiteY80" fmla="*/ 1257028 h 1353297"/>
              <a:gd name="connsiteX81" fmla="*/ 5126038 w 10678681"/>
              <a:gd name="connsiteY81" fmla="*/ 1263189 h 1353297"/>
              <a:gd name="connsiteX82" fmla="*/ 4894688 w 10678681"/>
              <a:gd name="connsiteY82" fmla="*/ 1247184 h 1353297"/>
              <a:gd name="connsiteX83" fmla="*/ 4788036 w 10678681"/>
              <a:gd name="connsiteY83" fmla="*/ 1238182 h 1353297"/>
              <a:gd name="connsiteX84" fmla="*/ 4747555 w 10678681"/>
              <a:gd name="connsiteY84" fmla="*/ 1252768 h 1353297"/>
              <a:gd name="connsiteX85" fmla="*/ 4679644 w 10678681"/>
              <a:gd name="connsiteY85" fmla="*/ 1276603 h 1353297"/>
              <a:gd name="connsiteX86" fmla="*/ 4632222 w 10678681"/>
              <a:gd name="connsiteY86" fmla="*/ 1318360 h 1353297"/>
              <a:gd name="connsiteX87" fmla="*/ 4617358 w 10678681"/>
              <a:gd name="connsiteY87" fmla="*/ 1327690 h 1353297"/>
              <a:gd name="connsiteX88" fmla="*/ 4589102 w 10678681"/>
              <a:gd name="connsiteY88" fmla="*/ 1321223 h 1353297"/>
              <a:gd name="connsiteX89" fmla="*/ 4578184 w 10678681"/>
              <a:gd name="connsiteY89" fmla="*/ 1326745 h 1353297"/>
              <a:gd name="connsiteX90" fmla="*/ 4574270 w 10678681"/>
              <a:gd name="connsiteY90" fmla="*/ 1325878 h 1353297"/>
              <a:gd name="connsiteX91" fmla="*/ 4564919 w 10678681"/>
              <a:gd name="connsiteY91" fmla="*/ 1325507 h 1353297"/>
              <a:gd name="connsiteX92" fmla="*/ 4566586 w 10678681"/>
              <a:gd name="connsiteY92" fmla="*/ 1316963 h 1353297"/>
              <a:gd name="connsiteX93" fmla="*/ 4556303 w 10678681"/>
              <a:gd name="connsiteY93" fmla="*/ 1300262 h 1353297"/>
              <a:gd name="connsiteX94" fmla="*/ 4502358 w 10678681"/>
              <a:gd name="connsiteY94" fmla="*/ 1302558 h 1353297"/>
              <a:gd name="connsiteX95" fmla="*/ 4498919 w 10678681"/>
              <a:gd name="connsiteY95" fmla="*/ 1312115 h 1353297"/>
              <a:gd name="connsiteX96" fmla="*/ 4492075 w 10678681"/>
              <a:gd name="connsiteY96" fmla="*/ 1313357 h 1353297"/>
              <a:gd name="connsiteX97" fmla="*/ 4487466 w 10678681"/>
              <a:gd name="connsiteY97" fmla="*/ 1304102 h 1353297"/>
              <a:gd name="connsiteX98" fmla="*/ 4398292 w 10678681"/>
              <a:gd name="connsiteY98" fmla="*/ 1278410 h 1353297"/>
              <a:gd name="connsiteX99" fmla="*/ 4306088 w 10678681"/>
              <a:gd name="connsiteY99" fmla="*/ 1282512 h 1353297"/>
              <a:gd name="connsiteX100" fmla="*/ 4188995 w 10678681"/>
              <a:gd name="connsiteY100" fmla="*/ 1296718 h 1353297"/>
              <a:gd name="connsiteX101" fmla="*/ 4136582 w 10678681"/>
              <a:gd name="connsiteY101" fmla="*/ 1287687 h 1353297"/>
              <a:gd name="connsiteX102" fmla="*/ 4064614 w 10678681"/>
              <a:gd name="connsiteY102" fmla="*/ 1296118 h 1353297"/>
              <a:gd name="connsiteX103" fmla="*/ 3906561 w 10678681"/>
              <a:gd name="connsiteY103" fmla="*/ 1352435 h 1353297"/>
              <a:gd name="connsiteX104" fmla="*/ 3787890 w 10678681"/>
              <a:gd name="connsiteY104" fmla="*/ 1352442 h 1353297"/>
              <a:gd name="connsiteX105" fmla="*/ 3745993 w 10678681"/>
              <a:gd name="connsiteY105" fmla="*/ 1342630 h 1353297"/>
              <a:gd name="connsiteX106" fmla="*/ 3675785 w 10678681"/>
              <a:gd name="connsiteY106" fmla="*/ 1326802 h 1353297"/>
              <a:gd name="connsiteX107" fmla="*/ 3623856 w 10678681"/>
              <a:gd name="connsiteY107" fmla="*/ 1290804 h 1353297"/>
              <a:gd name="connsiteX108" fmla="*/ 3564933 w 10678681"/>
              <a:gd name="connsiteY108" fmla="*/ 1287147 h 1353297"/>
              <a:gd name="connsiteX109" fmla="*/ 3550537 w 10678681"/>
              <a:gd name="connsiteY109" fmla="*/ 1317552 h 1353297"/>
              <a:gd name="connsiteX110" fmla="*/ 3487736 w 10678681"/>
              <a:gd name="connsiteY110" fmla="*/ 1303493 h 1353297"/>
              <a:gd name="connsiteX111" fmla="*/ 3392548 w 10678681"/>
              <a:gd name="connsiteY111" fmla="*/ 1278741 h 1353297"/>
              <a:gd name="connsiteX112" fmla="*/ 3337466 w 10678681"/>
              <a:gd name="connsiteY112" fmla="*/ 1272537 h 1353297"/>
              <a:gd name="connsiteX113" fmla="*/ 3187206 w 10678681"/>
              <a:gd name="connsiteY113" fmla="*/ 1246821 h 1353297"/>
              <a:gd name="connsiteX114" fmla="*/ 3036856 w 10678681"/>
              <a:gd name="connsiteY114" fmla="*/ 1214383 h 1353297"/>
              <a:gd name="connsiteX115" fmla="*/ 2824973 w 10678681"/>
              <a:gd name="connsiteY115" fmla="*/ 1134864 h 1353297"/>
              <a:gd name="connsiteX116" fmla="*/ 2804398 w 10678681"/>
              <a:gd name="connsiteY116" fmla="*/ 1125556 h 1353297"/>
              <a:gd name="connsiteX117" fmla="*/ 2775396 w 10678681"/>
              <a:gd name="connsiteY117" fmla="*/ 1130148 h 1353297"/>
              <a:gd name="connsiteX118" fmla="*/ 2659096 w 10678681"/>
              <a:gd name="connsiteY118" fmla="*/ 1150294 h 1353297"/>
              <a:gd name="connsiteX119" fmla="*/ 2567088 w 10678681"/>
              <a:gd name="connsiteY119" fmla="*/ 1181781 h 1353297"/>
              <a:gd name="connsiteX120" fmla="*/ 2454501 w 10678681"/>
              <a:gd name="connsiteY120" fmla="*/ 1155455 h 1353297"/>
              <a:gd name="connsiteX121" fmla="*/ 2385161 w 10678681"/>
              <a:gd name="connsiteY121" fmla="*/ 1161312 h 1353297"/>
              <a:gd name="connsiteX122" fmla="*/ 2273361 w 10678681"/>
              <a:gd name="connsiteY122" fmla="*/ 1134090 h 1353297"/>
              <a:gd name="connsiteX123" fmla="*/ 2132003 w 10678681"/>
              <a:gd name="connsiteY123" fmla="*/ 1139225 h 1353297"/>
              <a:gd name="connsiteX124" fmla="*/ 2052449 w 10678681"/>
              <a:gd name="connsiteY124" fmla="*/ 1109687 h 1353297"/>
              <a:gd name="connsiteX125" fmla="*/ 2010157 w 10678681"/>
              <a:gd name="connsiteY125" fmla="*/ 1152767 h 1353297"/>
              <a:gd name="connsiteX126" fmla="*/ 1901837 w 10678681"/>
              <a:gd name="connsiteY126" fmla="*/ 1221762 h 1353297"/>
              <a:gd name="connsiteX127" fmla="*/ 1836762 w 10678681"/>
              <a:gd name="connsiteY127" fmla="*/ 1237387 h 1353297"/>
              <a:gd name="connsiteX128" fmla="*/ 1735877 w 10678681"/>
              <a:gd name="connsiteY128" fmla="*/ 1246527 h 1353297"/>
              <a:gd name="connsiteX129" fmla="*/ 1705069 w 10678681"/>
              <a:gd name="connsiteY129" fmla="*/ 1251989 h 1353297"/>
              <a:gd name="connsiteX130" fmla="*/ 1408915 w 10678681"/>
              <a:gd name="connsiteY130" fmla="*/ 1268017 h 1353297"/>
              <a:gd name="connsiteX131" fmla="*/ 1220734 w 10678681"/>
              <a:gd name="connsiteY131" fmla="*/ 1257811 h 1353297"/>
              <a:gd name="connsiteX132" fmla="*/ 1021737 w 10678681"/>
              <a:gd name="connsiteY132" fmla="*/ 1238739 h 1353297"/>
              <a:gd name="connsiteX133" fmla="*/ 959820 w 10678681"/>
              <a:gd name="connsiteY133" fmla="*/ 1275863 h 1353297"/>
              <a:gd name="connsiteX134" fmla="*/ 929137 w 10678681"/>
              <a:gd name="connsiteY134" fmla="*/ 1273957 h 1353297"/>
              <a:gd name="connsiteX135" fmla="*/ 878849 w 10678681"/>
              <a:gd name="connsiteY135" fmla="*/ 1266740 h 1353297"/>
              <a:gd name="connsiteX136" fmla="*/ 800667 w 10678681"/>
              <a:gd name="connsiteY136" fmla="*/ 1282041 h 1353297"/>
              <a:gd name="connsiteX137" fmla="*/ 644906 w 10678681"/>
              <a:gd name="connsiteY137" fmla="*/ 1273685 h 1353297"/>
              <a:gd name="connsiteX138" fmla="*/ 379869 w 10678681"/>
              <a:gd name="connsiteY138" fmla="*/ 1339165 h 1353297"/>
              <a:gd name="connsiteX139" fmla="*/ 137696 w 10678681"/>
              <a:gd name="connsiteY139" fmla="*/ 1319217 h 1353297"/>
              <a:gd name="connsiteX140" fmla="*/ 54250 w 10678681"/>
              <a:gd name="connsiteY140" fmla="*/ 1315838 h 1353297"/>
              <a:gd name="connsiteX141" fmla="*/ 28042 w 10678681"/>
              <a:gd name="connsiteY141" fmla="*/ 1297822 h 1353297"/>
              <a:gd name="connsiteX142" fmla="*/ 0 w 10678681"/>
              <a:gd name="connsiteY142" fmla="*/ 1294612 h 1353297"/>
              <a:gd name="connsiteX143" fmla="*/ 0 w 10678681"/>
              <a:gd name="connsiteY143" fmla="*/ 0 h 1353297"/>
              <a:gd name="connsiteX0" fmla="*/ 0 w 10678681"/>
              <a:gd name="connsiteY0" fmla="*/ 0 h 1353297"/>
              <a:gd name="connsiteX1" fmla="*/ 10678681 w 10678681"/>
              <a:gd name="connsiteY1" fmla="*/ 0 h 1353297"/>
              <a:gd name="connsiteX2" fmla="*/ 10666019 w 10678681"/>
              <a:gd name="connsiteY2" fmla="*/ 7876 h 1353297"/>
              <a:gd name="connsiteX3" fmla="*/ 10632825 w 10678681"/>
              <a:gd name="connsiteY3" fmla="*/ 32153 h 1353297"/>
              <a:gd name="connsiteX4" fmla="*/ 10510605 w 10678681"/>
              <a:gd name="connsiteY4" fmla="*/ 30449 h 1353297"/>
              <a:gd name="connsiteX5" fmla="*/ 10456989 w 10678681"/>
              <a:gd name="connsiteY5" fmla="*/ 979 h 1353297"/>
              <a:gd name="connsiteX6" fmla="*/ 10438642 w 10678681"/>
              <a:gd name="connsiteY6" fmla="*/ 1524 h 1353297"/>
              <a:gd name="connsiteX7" fmla="*/ 10407146 w 10678681"/>
              <a:gd name="connsiteY7" fmla="*/ 43659 h 1353297"/>
              <a:gd name="connsiteX8" fmla="*/ 10357996 w 10678681"/>
              <a:gd name="connsiteY8" fmla="*/ 50836 h 1353297"/>
              <a:gd name="connsiteX9" fmla="*/ 10306667 w 10678681"/>
              <a:gd name="connsiteY9" fmla="*/ 109739 h 1353297"/>
              <a:gd name="connsiteX10" fmla="*/ 10115334 w 10678681"/>
              <a:gd name="connsiteY10" fmla="*/ 155658 h 1353297"/>
              <a:gd name="connsiteX11" fmla="*/ 10068157 w 10678681"/>
              <a:gd name="connsiteY11" fmla="*/ 215673 h 1353297"/>
              <a:gd name="connsiteX12" fmla="*/ 10045431 w 10678681"/>
              <a:gd name="connsiteY12" fmla="*/ 229568 h 1353297"/>
              <a:gd name="connsiteX13" fmla="*/ 10013265 w 10678681"/>
              <a:gd name="connsiteY13" fmla="*/ 284757 h 1353297"/>
              <a:gd name="connsiteX14" fmla="*/ 9862496 w 10678681"/>
              <a:gd name="connsiteY14" fmla="*/ 223033 h 1353297"/>
              <a:gd name="connsiteX15" fmla="*/ 9679638 w 10678681"/>
              <a:gd name="connsiteY15" fmla="*/ 277462 h 1353297"/>
              <a:gd name="connsiteX16" fmla="*/ 9498347 w 10678681"/>
              <a:gd name="connsiteY16" fmla="*/ 244723 h 1353297"/>
              <a:gd name="connsiteX17" fmla="*/ 9399702 w 10678681"/>
              <a:gd name="connsiteY17" fmla="*/ 276316 h 1353297"/>
              <a:gd name="connsiteX18" fmla="*/ 9378439 w 10678681"/>
              <a:gd name="connsiteY18" fmla="*/ 326244 h 1353297"/>
              <a:gd name="connsiteX19" fmla="*/ 9121744 w 10678681"/>
              <a:gd name="connsiteY19" fmla="*/ 365177 h 1353297"/>
              <a:gd name="connsiteX20" fmla="*/ 9061654 w 10678681"/>
              <a:gd name="connsiteY20" fmla="*/ 393730 h 1353297"/>
              <a:gd name="connsiteX21" fmla="*/ 8997577 w 10678681"/>
              <a:gd name="connsiteY21" fmla="*/ 380865 h 1353297"/>
              <a:gd name="connsiteX22" fmla="*/ 8907968 w 10678681"/>
              <a:gd name="connsiteY22" fmla="*/ 447345 h 1353297"/>
              <a:gd name="connsiteX23" fmla="*/ 8764163 w 10678681"/>
              <a:gd name="connsiteY23" fmla="*/ 471000 h 1353297"/>
              <a:gd name="connsiteX24" fmla="*/ 8680155 w 10678681"/>
              <a:gd name="connsiteY24" fmla="*/ 492404 h 1353297"/>
              <a:gd name="connsiteX25" fmla="*/ 8651436 w 10678681"/>
              <a:gd name="connsiteY25" fmla="*/ 511923 h 1353297"/>
              <a:gd name="connsiteX26" fmla="*/ 8609185 w 10678681"/>
              <a:gd name="connsiteY26" fmla="*/ 531525 h 1353297"/>
              <a:gd name="connsiteX27" fmla="*/ 8537091 w 10678681"/>
              <a:gd name="connsiteY27" fmla="*/ 574933 h 1353297"/>
              <a:gd name="connsiteX28" fmla="*/ 8435931 w 10678681"/>
              <a:gd name="connsiteY28" fmla="*/ 617926 h 1353297"/>
              <a:gd name="connsiteX29" fmla="*/ 8348623 w 10678681"/>
              <a:gd name="connsiteY29" fmla="*/ 600607 h 1353297"/>
              <a:gd name="connsiteX30" fmla="*/ 8344233 w 10678681"/>
              <a:gd name="connsiteY30" fmla="*/ 610922 h 1353297"/>
              <a:gd name="connsiteX31" fmla="*/ 8290622 w 10678681"/>
              <a:gd name="connsiteY31" fmla="*/ 622687 h 1353297"/>
              <a:gd name="connsiteX32" fmla="*/ 8086698 w 10678681"/>
              <a:gd name="connsiteY32" fmla="*/ 605185 h 1353297"/>
              <a:gd name="connsiteX33" fmla="*/ 7982378 w 10678681"/>
              <a:gd name="connsiteY33" fmla="*/ 629799 h 1353297"/>
              <a:gd name="connsiteX34" fmla="*/ 7947952 w 10678681"/>
              <a:gd name="connsiteY34" fmla="*/ 648003 h 1353297"/>
              <a:gd name="connsiteX35" fmla="*/ 7890112 w 10678681"/>
              <a:gd name="connsiteY35" fmla="*/ 677915 h 1353297"/>
              <a:gd name="connsiteX36" fmla="*/ 7853284 w 10678681"/>
              <a:gd name="connsiteY36" fmla="*/ 723588 h 1353297"/>
              <a:gd name="connsiteX37" fmla="*/ 7802383 w 10678681"/>
              <a:gd name="connsiteY37" fmla="*/ 739359 h 1353297"/>
              <a:gd name="connsiteX38" fmla="*/ 7730518 w 10678681"/>
              <a:gd name="connsiteY38" fmla="*/ 739526 h 1353297"/>
              <a:gd name="connsiteX39" fmla="*/ 7652907 w 10678681"/>
              <a:gd name="connsiteY39" fmla="*/ 783273 h 1353297"/>
              <a:gd name="connsiteX40" fmla="*/ 7606008 w 10678681"/>
              <a:gd name="connsiteY40" fmla="*/ 800717 h 1353297"/>
              <a:gd name="connsiteX41" fmla="*/ 7480223 w 10678681"/>
              <a:gd name="connsiteY41" fmla="*/ 856821 h 1353297"/>
              <a:gd name="connsiteX42" fmla="*/ 7356005 w 10678681"/>
              <a:gd name="connsiteY42" fmla="*/ 919462 h 1353297"/>
              <a:gd name="connsiteX43" fmla="*/ 7305396 w 10678681"/>
              <a:gd name="connsiteY43" fmla="*/ 986228 h 1353297"/>
              <a:gd name="connsiteX44" fmla="*/ 7266251 w 10678681"/>
              <a:gd name="connsiteY44" fmla="*/ 967864 h 1353297"/>
              <a:gd name="connsiteX45" fmla="*/ 7269396 w 10678681"/>
              <a:gd name="connsiteY45" fmla="*/ 989282 h 1353297"/>
              <a:gd name="connsiteX46" fmla="*/ 7258094 w 10678681"/>
              <a:gd name="connsiteY46" fmla="*/ 990679 h 1353297"/>
              <a:gd name="connsiteX47" fmla="*/ 7257893 w 10678681"/>
              <a:gd name="connsiteY47" fmla="*/ 991204 h 1353297"/>
              <a:gd name="connsiteX48" fmla="*/ 7247153 w 10678681"/>
              <a:gd name="connsiteY48" fmla="*/ 991550 h 1353297"/>
              <a:gd name="connsiteX49" fmla="*/ 7193612 w 10678681"/>
              <a:gd name="connsiteY49" fmla="*/ 987042 h 1353297"/>
              <a:gd name="connsiteX50" fmla="*/ 7132632 w 10678681"/>
              <a:gd name="connsiteY50" fmla="*/ 1042036 h 1353297"/>
              <a:gd name="connsiteX51" fmla="*/ 7105610 w 10678681"/>
              <a:gd name="connsiteY51" fmla="*/ 1053537 h 1353297"/>
              <a:gd name="connsiteX52" fmla="*/ 7069148 w 10678681"/>
              <a:gd name="connsiteY52" fmla="*/ 1047163 h 1353297"/>
              <a:gd name="connsiteX53" fmla="*/ 7039634 w 10678681"/>
              <a:gd name="connsiteY53" fmla="*/ 1059971 h 1353297"/>
              <a:gd name="connsiteX54" fmla="*/ 7033445 w 10678681"/>
              <a:gd name="connsiteY54" fmla="*/ 1063314 h 1353297"/>
              <a:gd name="connsiteX55" fmla="*/ 6999157 w 10678681"/>
              <a:gd name="connsiteY55" fmla="*/ 1055282 h 1353297"/>
              <a:gd name="connsiteX56" fmla="*/ 6981874 w 10678681"/>
              <a:gd name="connsiteY56" fmla="*/ 1053827 h 1353297"/>
              <a:gd name="connsiteX57" fmla="*/ 6976102 w 10678681"/>
              <a:gd name="connsiteY57" fmla="*/ 1047854 h 1353297"/>
              <a:gd name="connsiteX58" fmla="*/ 6951040 w 10678681"/>
              <a:gd name="connsiteY58" fmla="*/ 1048531 h 1353297"/>
              <a:gd name="connsiteX59" fmla="*/ 6948497 w 10678681"/>
              <a:gd name="connsiteY59" fmla="*/ 1050706 h 1353297"/>
              <a:gd name="connsiteX60" fmla="*/ 6926582 w 10678681"/>
              <a:gd name="connsiteY60" fmla="*/ 1043462 h 1353297"/>
              <a:gd name="connsiteX61" fmla="*/ 6833743 w 10678681"/>
              <a:gd name="connsiteY61" fmla="*/ 1027960 h 1353297"/>
              <a:gd name="connsiteX62" fmla="*/ 6687090 w 10678681"/>
              <a:gd name="connsiteY62" fmla="*/ 1063250 h 1353297"/>
              <a:gd name="connsiteX63" fmla="*/ 6437450 w 10678681"/>
              <a:gd name="connsiteY63" fmla="*/ 1101075 h 1353297"/>
              <a:gd name="connsiteX64" fmla="*/ 6327795 w 10678681"/>
              <a:gd name="connsiteY64" fmla="*/ 1088142 h 1353297"/>
              <a:gd name="connsiteX65" fmla="*/ 6136549 w 10678681"/>
              <a:gd name="connsiteY65" fmla="*/ 1100268 h 1353297"/>
              <a:gd name="connsiteX66" fmla="*/ 6004655 w 10678681"/>
              <a:gd name="connsiteY66" fmla="*/ 1114946 h 1353297"/>
              <a:gd name="connsiteX67" fmla="*/ 5936643 w 10678681"/>
              <a:gd name="connsiteY67" fmla="*/ 1095428 h 1353297"/>
              <a:gd name="connsiteX68" fmla="*/ 5912484 w 10678681"/>
              <a:gd name="connsiteY68" fmla="*/ 1112624 h 1353297"/>
              <a:gd name="connsiteX69" fmla="*/ 5908387 w 10678681"/>
              <a:gd name="connsiteY69" fmla="*/ 1116018 h 1353297"/>
              <a:gd name="connsiteX70" fmla="*/ 5890495 w 10678681"/>
              <a:gd name="connsiteY70" fmla="*/ 1120268 h 1353297"/>
              <a:gd name="connsiteX71" fmla="*/ 5887318 w 10678681"/>
              <a:gd name="connsiteY71" fmla="*/ 1133134 h 1353297"/>
              <a:gd name="connsiteX72" fmla="*/ 5861726 w 10678681"/>
              <a:gd name="connsiteY72" fmla="*/ 1147891 h 1353297"/>
              <a:gd name="connsiteX73" fmla="*/ 5805823 w 10678681"/>
              <a:gd name="connsiteY73" fmla="*/ 1152457 h 1353297"/>
              <a:gd name="connsiteX74" fmla="*/ 5689841 w 10678681"/>
              <a:gd name="connsiteY74" fmla="*/ 1176232 h 1353297"/>
              <a:gd name="connsiteX75" fmla="*/ 5605119 w 10678681"/>
              <a:gd name="connsiteY75" fmla="*/ 1190202 h 1353297"/>
              <a:gd name="connsiteX76" fmla="*/ 5488513 w 10678681"/>
              <a:gd name="connsiteY76" fmla="*/ 1205367 h 1353297"/>
              <a:gd name="connsiteX77" fmla="*/ 5402905 w 10678681"/>
              <a:gd name="connsiteY77" fmla="*/ 1241191 h 1353297"/>
              <a:gd name="connsiteX78" fmla="*/ 5285593 w 10678681"/>
              <a:gd name="connsiteY78" fmla="*/ 1273569 h 1353297"/>
              <a:gd name="connsiteX79" fmla="*/ 5192893 w 10678681"/>
              <a:gd name="connsiteY79" fmla="*/ 1247188 h 1353297"/>
              <a:gd name="connsiteX80" fmla="*/ 5186475 w 10678681"/>
              <a:gd name="connsiteY80" fmla="*/ 1257028 h 1353297"/>
              <a:gd name="connsiteX81" fmla="*/ 5126038 w 10678681"/>
              <a:gd name="connsiteY81" fmla="*/ 1263189 h 1353297"/>
              <a:gd name="connsiteX82" fmla="*/ 4894688 w 10678681"/>
              <a:gd name="connsiteY82" fmla="*/ 1247184 h 1353297"/>
              <a:gd name="connsiteX83" fmla="*/ 4788036 w 10678681"/>
              <a:gd name="connsiteY83" fmla="*/ 1238182 h 1353297"/>
              <a:gd name="connsiteX84" fmla="*/ 4747555 w 10678681"/>
              <a:gd name="connsiteY84" fmla="*/ 1252768 h 1353297"/>
              <a:gd name="connsiteX85" fmla="*/ 4679644 w 10678681"/>
              <a:gd name="connsiteY85" fmla="*/ 1276603 h 1353297"/>
              <a:gd name="connsiteX86" fmla="*/ 4632222 w 10678681"/>
              <a:gd name="connsiteY86" fmla="*/ 1318360 h 1353297"/>
              <a:gd name="connsiteX87" fmla="*/ 4617358 w 10678681"/>
              <a:gd name="connsiteY87" fmla="*/ 1327690 h 1353297"/>
              <a:gd name="connsiteX88" fmla="*/ 4589102 w 10678681"/>
              <a:gd name="connsiteY88" fmla="*/ 1321223 h 1353297"/>
              <a:gd name="connsiteX89" fmla="*/ 4578184 w 10678681"/>
              <a:gd name="connsiteY89" fmla="*/ 1326745 h 1353297"/>
              <a:gd name="connsiteX90" fmla="*/ 4574270 w 10678681"/>
              <a:gd name="connsiteY90" fmla="*/ 1325878 h 1353297"/>
              <a:gd name="connsiteX91" fmla="*/ 4564919 w 10678681"/>
              <a:gd name="connsiteY91" fmla="*/ 1325507 h 1353297"/>
              <a:gd name="connsiteX92" fmla="*/ 4566586 w 10678681"/>
              <a:gd name="connsiteY92" fmla="*/ 1316963 h 1353297"/>
              <a:gd name="connsiteX93" fmla="*/ 4556303 w 10678681"/>
              <a:gd name="connsiteY93" fmla="*/ 1300262 h 1353297"/>
              <a:gd name="connsiteX94" fmla="*/ 4502358 w 10678681"/>
              <a:gd name="connsiteY94" fmla="*/ 1302558 h 1353297"/>
              <a:gd name="connsiteX95" fmla="*/ 4498919 w 10678681"/>
              <a:gd name="connsiteY95" fmla="*/ 1312115 h 1353297"/>
              <a:gd name="connsiteX96" fmla="*/ 4492075 w 10678681"/>
              <a:gd name="connsiteY96" fmla="*/ 1313357 h 1353297"/>
              <a:gd name="connsiteX97" fmla="*/ 4487466 w 10678681"/>
              <a:gd name="connsiteY97" fmla="*/ 1304102 h 1353297"/>
              <a:gd name="connsiteX98" fmla="*/ 4398292 w 10678681"/>
              <a:gd name="connsiteY98" fmla="*/ 1278410 h 1353297"/>
              <a:gd name="connsiteX99" fmla="*/ 4306088 w 10678681"/>
              <a:gd name="connsiteY99" fmla="*/ 1282512 h 1353297"/>
              <a:gd name="connsiteX100" fmla="*/ 4188995 w 10678681"/>
              <a:gd name="connsiteY100" fmla="*/ 1296718 h 1353297"/>
              <a:gd name="connsiteX101" fmla="*/ 4136582 w 10678681"/>
              <a:gd name="connsiteY101" fmla="*/ 1287687 h 1353297"/>
              <a:gd name="connsiteX102" fmla="*/ 4064614 w 10678681"/>
              <a:gd name="connsiteY102" fmla="*/ 1296118 h 1353297"/>
              <a:gd name="connsiteX103" fmla="*/ 3906561 w 10678681"/>
              <a:gd name="connsiteY103" fmla="*/ 1352435 h 1353297"/>
              <a:gd name="connsiteX104" fmla="*/ 3787890 w 10678681"/>
              <a:gd name="connsiteY104" fmla="*/ 1352442 h 1353297"/>
              <a:gd name="connsiteX105" fmla="*/ 3745993 w 10678681"/>
              <a:gd name="connsiteY105" fmla="*/ 1342630 h 1353297"/>
              <a:gd name="connsiteX106" fmla="*/ 3675785 w 10678681"/>
              <a:gd name="connsiteY106" fmla="*/ 1326802 h 1353297"/>
              <a:gd name="connsiteX107" fmla="*/ 3623856 w 10678681"/>
              <a:gd name="connsiteY107" fmla="*/ 1290804 h 1353297"/>
              <a:gd name="connsiteX108" fmla="*/ 3564933 w 10678681"/>
              <a:gd name="connsiteY108" fmla="*/ 1287147 h 1353297"/>
              <a:gd name="connsiteX109" fmla="*/ 3550537 w 10678681"/>
              <a:gd name="connsiteY109" fmla="*/ 1317552 h 1353297"/>
              <a:gd name="connsiteX110" fmla="*/ 3487736 w 10678681"/>
              <a:gd name="connsiteY110" fmla="*/ 1303493 h 1353297"/>
              <a:gd name="connsiteX111" fmla="*/ 3392548 w 10678681"/>
              <a:gd name="connsiteY111" fmla="*/ 1278741 h 1353297"/>
              <a:gd name="connsiteX112" fmla="*/ 3337466 w 10678681"/>
              <a:gd name="connsiteY112" fmla="*/ 1272537 h 1353297"/>
              <a:gd name="connsiteX113" fmla="*/ 3187206 w 10678681"/>
              <a:gd name="connsiteY113" fmla="*/ 1246821 h 1353297"/>
              <a:gd name="connsiteX114" fmla="*/ 3036856 w 10678681"/>
              <a:gd name="connsiteY114" fmla="*/ 1214383 h 1353297"/>
              <a:gd name="connsiteX115" fmla="*/ 2824973 w 10678681"/>
              <a:gd name="connsiteY115" fmla="*/ 1134864 h 1353297"/>
              <a:gd name="connsiteX116" fmla="*/ 2804398 w 10678681"/>
              <a:gd name="connsiteY116" fmla="*/ 1125556 h 1353297"/>
              <a:gd name="connsiteX117" fmla="*/ 2775396 w 10678681"/>
              <a:gd name="connsiteY117" fmla="*/ 1130148 h 1353297"/>
              <a:gd name="connsiteX118" fmla="*/ 2659096 w 10678681"/>
              <a:gd name="connsiteY118" fmla="*/ 1150294 h 1353297"/>
              <a:gd name="connsiteX119" fmla="*/ 2567088 w 10678681"/>
              <a:gd name="connsiteY119" fmla="*/ 1181781 h 1353297"/>
              <a:gd name="connsiteX120" fmla="*/ 2454501 w 10678681"/>
              <a:gd name="connsiteY120" fmla="*/ 1155455 h 1353297"/>
              <a:gd name="connsiteX121" fmla="*/ 2385161 w 10678681"/>
              <a:gd name="connsiteY121" fmla="*/ 1161312 h 1353297"/>
              <a:gd name="connsiteX122" fmla="*/ 2273361 w 10678681"/>
              <a:gd name="connsiteY122" fmla="*/ 1134090 h 1353297"/>
              <a:gd name="connsiteX123" fmla="*/ 2132003 w 10678681"/>
              <a:gd name="connsiteY123" fmla="*/ 1139225 h 1353297"/>
              <a:gd name="connsiteX124" fmla="*/ 2052449 w 10678681"/>
              <a:gd name="connsiteY124" fmla="*/ 1109687 h 1353297"/>
              <a:gd name="connsiteX125" fmla="*/ 2010157 w 10678681"/>
              <a:gd name="connsiteY125" fmla="*/ 1152767 h 1353297"/>
              <a:gd name="connsiteX126" fmla="*/ 1901837 w 10678681"/>
              <a:gd name="connsiteY126" fmla="*/ 1221762 h 1353297"/>
              <a:gd name="connsiteX127" fmla="*/ 1836762 w 10678681"/>
              <a:gd name="connsiteY127" fmla="*/ 1237387 h 1353297"/>
              <a:gd name="connsiteX128" fmla="*/ 1735877 w 10678681"/>
              <a:gd name="connsiteY128" fmla="*/ 1246527 h 1353297"/>
              <a:gd name="connsiteX129" fmla="*/ 1705069 w 10678681"/>
              <a:gd name="connsiteY129" fmla="*/ 1251989 h 1353297"/>
              <a:gd name="connsiteX130" fmla="*/ 1307888 w 10678681"/>
              <a:gd name="connsiteY130" fmla="*/ 1283156 h 1353297"/>
              <a:gd name="connsiteX131" fmla="*/ 1220734 w 10678681"/>
              <a:gd name="connsiteY131" fmla="*/ 1257811 h 1353297"/>
              <a:gd name="connsiteX132" fmla="*/ 1021737 w 10678681"/>
              <a:gd name="connsiteY132" fmla="*/ 1238739 h 1353297"/>
              <a:gd name="connsiteX133" fmla="*/ 959820 w 10678681"/>
              <a:gd name="connsiteY133" fmla="*/ 1275863 h 1353297"/>
              <a:gd name="connsiteX134" fmla="*/ 929137 w 10678681"/>
              <a:gd name="connsiteY134" fmla="*/ 1273957 h 1353297"/>
              <a:gd name="connsiteX135" fmla="*/ 878849 w 10678681"/>
              <a:gd name="connsiteY135" fmla="*/ 1266740 h 1353297"/>
              <a:gd name="connsiteX136" fmla="*/ 800667 w 10678681"/>
              <a:gd name="connsiteY136" fmla="*/ 1282041 h 1353297"/>
              <a:gd name="connsiteX137" fmla="*/ 644906 w 10678681"/>
              <a:gd name="connsiteY137" fmla="*/ 1273685 h 1353297"/>
              <a:gd name="connsiteX138" fmla="*/ 379869 w 10678681"/>
              <a:gd name="connsiteY138" fmla="*/ 1339165 h 1353297"/>
              <a:gd name="connsiteX139" fmla="*/ 137696 w 10678681"/>
              <a:gd name="connsiteY139" fmla="*/ 1319217 h 1353297"/>
              <a:gd name="connsiteX140" fmla="*/ 54250 w 10678681"/>
              <a:gd name="connsiteY140" fmla="*/ 1315838 h 1353297"/>
              <a:gd name="connsiteX141" fmla="*/ 28042 w 10678681"/>
              <a:gd name="connsiteY141" fmla="*/ 1297822 h 1353297"/>
              <a:gd name="connsiteX142" fmla="*/ 0 w 10678681"/>
              <a:gd name="connsiteY142" fmla="*/ 1294612 h 1353297"/>
              <a:gd name="connsiteX143" fmla="*/ 0 w 10678681"/>
              <a:gd name="connsiteY143" fmla="*/ 0 h 1353297"/>
              <a:gd name="connsiteX0" fmla="*/ 0 w 10678681"/>
              <a:gd name="connsiteY0" fmla="*/ 0 h 1353297"/>
              <a:gd name="connsiteX1" fmla="*/ 10678681 w 10678681"/>
              <a:gd name="connsiteY1" fmla="*/ 0 h 1353297"/>
              <a:gd name="connsiteX2" fmla="*/ 10666019 w 10678681"/>
              <a:gd name="connsiteY2" fmla="*/ 7876 h 1353297"/>
              <a:gd name="connsiteX3" fmla="*/ 10632825 w 10678681"/>
              <a:gd name="connsiteY3" fmla="*/ 32153 h 1353297"/>
              <a:gd name="connsiteX4" fmla="*/ 10510605 w 10678681"/>
              <a:gd name="connsiteY4" fmla="*/ 30449 h 1353297"/>
              <a:gd name="connsiteX5" fmla="*/ 10456989 w 10678681"/>
              <a:gd name="connsiteY5" fmla="*/ 979 h 1353297"/>
              <a:gd name="connsiteX6" fmla="*/ 10438642 w 10678681"/>
              <a:gd name="connsiteY6" fmla="*/ 1524 h 1353297"/>
              <a:gd name="connsiteX7" fmla="*/ 10407146 w 10678681"/>
              <a:gd name="connsiteY7" fmla="*/ 43659 h 1353297"/>
              <a:gd name="connsiteX8" fmla="*/ 10357996 w 10678681"/>
              <a:gd name="connsiteY8" fmla="*/ 50836 h 1353297"/>
              <a:gd name="connsiteX9" fmla="*/ 10306667 w 10678681"/>
              <a:gd name="connsiteY9" fmla="*/ 109739 h 1353297"/>
              <a:gd name="connsiteX10" fmla="*/ 10115334 w 10678681"/>
              <a:gd name="connsiteY10" fmla="*/ 155658 h 1353297"/>
              <a:gd name="connsiteX11" fmla="*/ 10068157 w 10678681"/>
              <a:gd name="connsiteY11" fmla="*/ 215673 h 1353297"/>
              <a:gd name="connsiteX12" fmla="*/ 10045431 w 10678681"/>
              <a:gd name="connsiteY12" fmla="*/ 229568 h 1353297"/>
              <a:gd name="connsiteX13" fmla="*/ 10013265 w 10678681"/>
              <a:gd name="connsiteY13" fmla="*/ 284757 h 1353297"/>
              <a:gd name="connsiteX14" fmla="*/ 9862496 w 10678681"/>
              <a:gd name="connsiteY14" fmla="*/ 223033 h 1353297"/>
              <a:gd name="connsiteX15" fmla="*/ 9679638 w 10678681"/>
              <a:gd name="connsiteY15" fmla="*/ 277462 h 1353297"/>
              <a:gd name="connsiteX16" fmla="*/ 9498347 w 10678681"/>
              <a:gd name="connsiteY16" fmla="*/ 244723 h 1353297"/>
              <a:gd name="connsiteX17" fmla="*/ 9399702 w 10678681"/>
              <a:gd name="connsiteY17" fmla="*/ 276316 h 1353297"/>
              <a:gd name="connsiteX18" fmla="*/ 9378439 w 10678681"/>
              <a:gd name="connsiteY18" fmla="*/ 326244 h 1353297"/>
              <a:gd name="connsiteX19" fmla="*/ 9121744 w 10678681"/>
              <a:gd name="connsiteY19" fmla="*/ 365177 h 1353297"/>
              <a:gd name="connsiteX20" fmla="*/ 9061654 w 10678681"/>
              <a:gd name="connsiteY20" fmla="*/ 393730 h 1353297"/>
              <a:gd name="connsiteX21" fmla="*/ 8997577 w 10678681"/>
              <a:gd name="connsiteY21" fmla="*/ 380865 h 1353297"/>
              <a:gd name="connsiteX22" fmla="*/ 8907968 w 10678681"/>
              <a:gd name="connsiteY22" fmla="*/ 447345 h 1353297"/>
              <a:gd name="connsiteX23" fmla="*/ 8764163 w 10678681"/>
              <a:gd name="connsiteY23" fmla="*/ 471000 h 1353297"/>
              <a:gd name="connsiteX24" fmla="*/ 8680155 w 10678681"/>
              <a:gd name="connsiteY24" fmla="*/ 492404 h 1353297"/>
              <a:gd name="connsiteX25" fmla="*/ 8651436 w 10678681"/>
              <a:gd name="connsiteY25" fmla="*/ 511923 h 1353297"/>
              <a:gd name="connsiteX26" fmla="*/ 8609185 w 10678681"/>
              <a:gd name="connsiteY26" fmla="*/ 531525 h 1353297"/>
              <a:gd name="connsiteX27" fmla="*/ 8537091 w 10678681"/>
              <a:gd name="connsiteY27" fmla="*/ 574933 h 1353297"/>
              <a:gd name="connsiteX28" fmla="*/ 8435931 w 10678681"/>
              <a:gd name="connsiteY28" fmla="*/ 617926 h 1353297"/>
              <a:gd name="connsiteX29" fmla="*/ 8348623 w 10678681"/>
              <a:gd name="connsiteY29" fmla="*/ 600607 h 1353297"/>
              <a:gd name="connsiteX30" fmla="*/ 8344233 w 10678681"/>
              <a:gd name="connsiteY30" fmla="*/ 610922 h 1353297"/>
              <a:gd name="connsiteX31" fmla="*/ 8290622 w 10678681"/>
              <a:gd name="connsiteY31" fmla="*/ 622687 h 1353297"/>
              <a:gd name="connsiteX32" fmla="*/ 8086698 w 10678681"/>
              <a:gd name="connsiteY32" fmla="*/ 605185 h 1353297"/>
              <a:gd name="connsiteX33" fmla="*/ 7982378 w 10678681"/>
              <a:gd name="connsiteY33" fmla="*/ 629799 h 1353297"/>
              <a:gd name="connsiteX34" fmla="*/ 7947952 w 10678681"/>
              <a:gd name="connsiteY34" fmla="*/ 648003 h 1353297"/>
              <a:gd name="connsiteX35" fmla="*/ 7890112 w 10678681"/>
              <a:gd name="connsiteY35" fmla="*/ 677915 h 1353297"/>
              <a:gd name="connsiteX36" fmla="*/ 7853284 w 10678681"/>
              <a:gd name="connsiteY36" fmla="*/ 723588 h 1353297"/>
              <a:gd name="connsiteX37" fmla="*/ 7802383 w 10678681"/>
              <a:gd name="connsiteY37" fmla="*/ 739359 h 1353297"/>
              <a:gd name="connsiteX38" fmla="*/ 7730518 w 10678681"/>
              <a:gd name="connsiteY38" fmla="*/ 739526 h 1353297"/>
              <a:gd name="connsiteX39" fmla="*/ 7652907 w 10678681"/>
              <a:gd name="connsiteY39" fmla="*/ 783273 h 1353297"/>
              <a:gd name="connsiteX40" fmla="*/ 7606008 w 10678681"/>
              <a:gd name="connsiteY40" fmla="*/ 800717 h 1353297"/>
              <a:gd name="connsiteX41" fmla="*/ 7480223 w 10678681"/>
              <a:gd name="connsiteY41" fmla="*/ 856821 h 1353297"/>
              <a:gd name="connsiteX42" fmla="*/ 7356005 w 10678681"/>
              <a:gd name="connsiteY42" fmla="*/ 919462 h 1353297"/>
              <a:gd name="connsiteX43" fmla="*/ 7305396 w 10678681"/>
              <a:gd name="connsiteY43" fmla="*/ 986228 h 1353297"/>
              <a:gd name="connsiteX44" fmla="*/ 7266251 w 10678681"/>
              <a:gd name="connsiteY44" fmla="*/ 967864 h 1353297"/>
              <a:gd name="connsiteX45" fmla="*/ 7269396 w 10678681"/>
              <a:gd name="connsiteY45" fmla="*/ 989282 h 1353297"/>
              <a:gd name="connsiteX46" fmla="*/ 7258094 w 10678681"/>
              <a:gd name="connsiteY46" fmla="*/ 990679 h 1353297"/>
              <a:gd name="connsiteX47" fmla="*/ 7257893 w 10678681"/>
              <a:gd name="connsiteY47" fmla="*/ 991204 h 1353297"/>
              <a:gd name="connsiteX48" fmla="*/ 7247153 w 10678681"/>
              <a:gd name="connsiteY48" fmla="*/ 991550 h 1353297"/>
              <a:gd name="connsiteX49" fmla="*/ 7193612 w 10678681"/>
              <a:gd name="connsiteY49" fmla="*/ 987042 h 1353297"/>
              <a:gd name="connsiteX50" fmla="*/ 7132632 w 10678681"/>
              <a:gd name="connsiteY50" fmla="*/ 1042036 h 1353297"/>
              <a:gd name="connsiteX51" fmla="*/ 7105610 w 10678681"/>
              <a:gd name="connsiteY51" fmla="*/ 1053537 h 1353297"/>
              <a:gd name="connsiteX52" fmla="*/ 7069148 w 10678681"/>
              <a:gd name="connsiteY52" fmla="*/ 1047163 h 1353297"/>
              <a:gd name="connsiteX53" fmla="*/ 7039634 w 10678681"/>
              <a:gd name="connsiteY53" fmla="*/ 1059971 h 1353297"/>
              <a:gd name="connsiteX54" fmla="*/ 7033445 w 10678681"/>
              <a:gd name="connsiteY54" fmla="*/ 1063314 h 1353297"/>
              <a:gd name="connsiteX55" fmla="*/ 6999157 w 10678681"/>
              <a:gd name="connsiteY55" fmla="*/ 1055282 h 1353297"/>
              <a:gd name="connsiteX56" fmla="*/ 6981874 w 10678681"/>
              <a:gd name="connsiteY56" fmla="*/ 1053827 h 1353297"/>
              <a:gd name="connsiteX57" fmla="*/ 6976102 w 10678681"/>
              <a:gd name="connsiteY57" fmla="*/ 1047854 h 1353297"/>
              <a:gd name="connsiteX58" fmla="*/ 6951040 w 10678681"/>
              <a:gd name="connsiteY58" fmla="*/ 1048531 h 1353297"/>
              <a:gd name="connsiteX59" fmla="*/ 6948497 w 10678681"/>
              <a:gd name="connsiteY59" fmla="*/ 1050706 h 1353297"/>
              <a:gd name="connsiteX60" fmla="*/ 6926582 w 10678681"/>
              <a:gd name="connsiteY60" fmla="*/ 1043462 h 1353297"/>
              <a:gd name="connsiteX61" fmla="*/ 6833743 w 10678681"/>
              <a:gd name="connsiteY61" fmla="*/ 1027960 h 1353297"/>
              <a:gd name="connsiteX62" fmla="*/ 6687090 w 10678681"/>
              <a:gd name="connsiteY62" fmla="*/ 1063250 h 1353297"/>
              <a:gd name="connsiteX63" fmla="*/ 6437450 w 10678681"/>
              <a:gd name="connsiteY63" fmla="*/ 1101075 h 1353297"/>
              <a:gd name="connsiteX64" fmla="*/ 6327795 w 10678681"/>
              <a:gd name="connsiteY64" fmla="*/ 1088142 h 1353297"/>
              <a:gd name="connsiteX65" fmla="*/ 6136549 w 10678681"/>
              <a:gd name="connsiteY65" fmla="*/ 1100268 h 1353297"/>
              <a:gd name="connsiteX66" fmla="*/ 6004655 w 10678681"/>
              <a:gd name="connsiteY66" fmla="*/ 1114946 h 1353297"/>
              <a:gd name="connsiteX67" fmla="*/ 5936643 w 10678681"/>
              <a:gd name="connsiteY67" fmla="*/ 1095428 h 1353297"/>
              <a:gd name="connsiteX68" fmla="*/ 5912484 w 10678681"/>
              <a:gd name="connsiteY68" fmla="*/ 1112624 h 1353297"/>
              <a:gd name="connsiteX69" fmla="*/ 5908387 w 10678681"/>
              <a:gd name="connsiteY69" fmla="*/ 1116018 h 1353297"/>
              <a:gd name="connsiteX70" fmla="*/ 5890495 w 10678681"/>
              <a:gd name="connsiteY70" fmla="*/ 1120268 h 1353297"/>
              <a:gd name="connsiteX71" fmla="*/ 5887318 w 10678681"/>
              <a:gd name="connsiteY71" fmla="*/ 1133134 h 1353297"/>
              <a:gd name="connsiteX72" fmla="*/ 5861726 w 10678681"/>
              <a:gd name="connsiteY72" fmla="*/ 1147891 h 1353297"/>
              <a:gd name="connsiteX73" fmla="*/ 5805823 w 10678681"/>
              <a:gd name="connsiteY73" fmla="*/ 1152457 h 1353297"/>
              <a:gd name="connsiteX74" fmla="*/ 5689841 w 10678681"/>
              <a:gd name="connsiteY74" fmla="*/ 1176232 h 1353297"/>
              <a:gd name="connsiteX75" fmla="*/ 5605119 w 10678681"/>
              <a:gd name="connsiteY75" fmla="*/ 1190202 h 1353297"/>
              <a:gd name="connsiteX76" fmla="*/ 5488513 w 10678681"/>
              <a:gd name="connsiteY76" fmla="*/ 1205367 h 1353297"/>
              <a:gd name="connsiteX77" fmla="*/ 5402905 w 10678681"/>
              <a:gd name="connsiteY77" fmla="*/ 1241191 h 1353297"/>
              <a:gd name="connsiteX78" fmla="*/ 5285593 w 10678681"/>
              <a:gd name="connsiteY78" fmla="*/ 1273569 h 1353297"/>
              <a:gd name="connsiteX79" fmla="*/ 5192893 w 10678681"/>
              <a:gd name="connsiteY79" fmla="*/ 1247188 h 1353297"/>
              <a:gd name="connsiteX80" fmla="*/ 5186475 w 10678681"/>
              <a:gd name="connsiteY80" fmla="*/ 1257028 h 1353297"/>
              <a:gd name="connsiteX81" fmla="*/ 5126038 w 10678681"/>
              <a:gd name="connsiteY81" fmla="*/ 1263189 h 1353297"/>
              <a:gd name="connsiteX82" fmla="*/ 4894688 w 10678681"/>
              <a:gd name="connsiteY82" fmla="*/ 1247184 h 1353297"/>
              <a:gd name="connsiteX83" fmla="*/ 4788036 w 10678681"/>
              <a:gd name="connsiteY83" fmla="*/ 1238182 h 1353297"/>
              <a:gd name="connsiteX84" fmla="*/ 4747555 w 10678681"/>
              <a:gd name="connsiteY84" fmla="*/ 1252768 h 1353297"/>
              <a:gd name="connsiteX85" fmla="*/ 4679644 w 10678681"/>
              <a:gd name="connsiteY85" fmla="*/ 1276603 h 1353297"/>
              <a:gd name="connsiteX86" fmla="*/ 4632222 w 10678681"/>
              <a:gd name="connsiteY86" fmla="*/ 1318360 h 1353297"/>
              <a:gd name="connsiteX87" fmla="*/ 4617358 w 10678681"/>
              <a:gd name="connsiteY87" fmla="*/ 1327690 h 1353297"/>
              <a:gd name="connsiteX88" fmla="*/ 4589102 w 10678681"/>
              <a:gd name="connsiteY88" fmla="*/ 1321223 h 1353297"/>
              <a:gd name="connsiteX89" fmla="*/ 4578184 w 10678681"/>
              <a:gd name="connsiteY89" fmla="*/ 1326745 h 1353297"/>
              <a:gd name="connsiteX90" fmla="*/ 4574270 w 10678681"/>
              <a:gd name="connsiteY90" fmla="*/ 1325878 h 1353297"/>
              <a:gd name="connsiteX91" fmla="*/ 4564919 w 10678681"/>
              <a:gd name="connsiteY91" fmla="*/ 1325507 h 1353297"/>
              <a:gd name="connsiteX92" fmla="*/ 4566586 w 10678681"/>
              <a:gd name="connsiteY92" fmla="*/ 1316963 h 1353297"/>
              <a:gd name="connsiteX93" fmla="*/ 4556303 w 10678681"/>
              <a:gd name="connsiteY93" fmla="*/ 1300262 h 1353297"/>
              <a:gd name="connsiteX94" fmla="*/ 4502358 w 10678681"/>
              <a:gd name="connsiteY94" fmla="*/ 1302558 h 1353297"/>
              <a:gd name="connsiteX95" fmla="*/ 4498919 w 10678681"/>
              <a:gd name="connsiteY95" fmla="*/ 1312115 h 1353297"/>
              <a:gd name="connsiteX96" fmla="*/ 4492075 w 10678681"/>
              <a:gd name="connsiteY96" fmla="*/ 1313357 h 1353297"/>
              <a:gd name="connsiteX97" fmla="*/ 4487466 w 10678681"/>
              <a:gd name="connsiteY97" fmla="*/ 1304102 h 1353297"/>
              <a:gd name="connsiteX98" fmla="*/ 4398292 w 10678681"/>
              <a:gd name="connsiteY98" fmla="*/ 1278410 h 1353297"/>
              <a:gd name="connsiteX99" fmla="*/ 4306088 w 10678681"/>
              <a:gd name="connsiteY99" fmla="*/ 1282512 h 1353297"/>
              <a:gd name="connsiteX100" fmla="*/ 4188995 w 10678681"/>
              <a:gd name="connsiteY100" fmla="*/ 1296718 h 1353297"/>
              <a:gd name="connsiteX101" fmla="*/ 4136582 w 10678681"/>
              <a:gd name="connsiteY101" fmla="*/ 1287687 h 1353297"/>
              <a:gd name="connsiteX102" fmla="*/ 4064614 w 10678681"/>
              <a:gd name="connsiteY102" fmla="*/ 1296118 h 1353297"/>
              <a:gd name="connsiteX103" fmla="*/ 3906561 w 10678681"/>
              <a:gd name="connsiteY103" fmla="*/ 1352435 h 1353297"/>
              <a:gd name="connsiteX104" fmla="*/ 3787890 w 10678681"/>
              <a:gd name="connsiteY104" fmla="*/ 1352442 h 1353297"/>
              <a:gd name="connsiteX105" fmla="*/ 3745993 w 10678681"/>
              <a:gd name="connsiteY105" fmla="*/ 1342630 h 1353297"/>
              <a:gd name="connsiteX106" fmla="*/ 3675785 w 10678681"/>
              <a:gd name="connsiteY106" fmla="*/ 1326802 h 1353297"/>
              <a:gd name="connsiteX107" fmla="*/ 3623856 w 10678681"/>
              <a:gd name="connsiteY107" fmla="*/ 1290804 h 1353297"/>
              <a:gd name="connsiteX108" fmla="*/ 3564933 w 10678681"/>
              <a:gd name="connsiteY108" fmla="*/ 1287147 h 1353297"/>
              <a:gd name="connsiteX109" fmla="*/ 3550537 w 10678681"/>
              <a:gd name="connsiteY109" fmla="*/ 1317552 h 1353297"/>
              <a:gd name="connsiteX110" fmla="*/ 3487736 w 10678681"/>
              <a:gd name="connsiteY110" fmla="*/ 1303493 h 1353297"/>
              <a:gd name="connsiteX111" fmla="*/ 3392548 w 10678681"/>
              <a:gd name="connsiteY111" fmla="*/ 1278741 h 1353297"/>
              <a:gd name="connsiteX112" fmla="*/ 3337466 w 10678681"/>
              <a:gd name="connsiteY112" fmla="*/ 1272537 h 1353297"/>
              <a:gd name="connsiteX113" fmla="*/ 3187206 w 10678681"/>
              <a:gd name="connsiteY113" fmla="*/ 1246821 h 1353297"/>
              <a:gd name="connsiteX114" fmla="*/ 3036856 w 10678681"/>
              <a:gd name="connsiteY114" fmla="*/ 1214383 h 1353297"/>
              <a:gd name="connsiteX115" fmla="*/ 2824973 w 10678681"/>
              <a:gd name="connsiteY115" fmla="*/ 1134864 h 1353297"/>
              <a:gd name="connsiteX116" fmla="*/ 2804398 w 10678681"/>
              <a:gd name="connsiteY116" fmla="*/ 1125556 h 1353297"/>
              <a:gd name="connsiteX117" fmla="*/ 2775396 w 10678681"/>
              <a:gd name="connsiteY117" fmla="*/ 1130148 h 1353297"/>
              <a:gd name="connsiteX118" fmla="*/ 2659096 w 10678681"/>
              <a:gd name="connsiteY118" fmla="*/ 1150294 h 1353297"/>
              <a:gd name="connsiteX119" fmla="*/ 2567088 w 10678681"/>
              <a:gd name="connsiteY119" fmla="*/ 1181781 h 1353297"/>
              <a:gd name="connsiteX120" fmla="*/ 2454501 w 10678681"/>
              <a:gd name="connsiteY120" fmla="*/ 1155455 h 1353297"/>
              <a:gd name="connsiteX121" fmla="*/ 2385161 w 10678681"/>
              <a:gd name="connsiteY121" fmla="*/ 1161312 h 1353297"/>
              <a:gd name="connsiteX122" fmla="*/ 2273361 w 10678681"/>
              <a:gd name="connsiteY122" fmla="*/ 1134090 h 1353297"/>
              <a:gd name="connsiteX123" fmla="*/ 2132003 w 10678681"/>
              <a:gd name="connsiteY123" fmla="*/ 1139225 h 1353297"/>
              <a:gd name="connsiteX124" fmla="*/ 2041224 w 10678681"/>
              <a:gd name="connsiteY124" fmla="*/ 1147536 h 1353297"/>
              <a:gd name="connsiteX125" fmla="*/ 2010157 w 10678681"/>
              <a:gd name="connsiteY125" fmla="*/ 1152767 h 1353297"/>
              <a:gd name="connsiteX126" fmla="*/ 1901837 w 10678681"/>
              <a:gd name="connsiteY126" fmla="*/ 1221762 h 1353297"/>
              <a:gd name="connsiteX127" fmla="*/ 1836762 w 10678681"/>
              <a:gd name="connsiteY127" fmla="*/ 1237387 h 1353297"/>
              <a:gd name="connsiteX128" fmla="*/ 1735877 w 10678681"/>
              <a:gd name="connsiteY128" fmla="*/ 1246527 h 1353297"/>
              <a:gd name="connsiteX129" fmla="*/ 1705069 w 10678681"/>
              <a:gd name="connsiteY129" fmla="*/ 1251989 h 1353297"/>
              <a:gd name="connsiteX130" fmla="*/ 1307888 w 10678681"/>
              <a:gd name="connsiteY130" fmla="*/ 1283156 h 1353297"/>
              <a:gd name="connsiteX131" fmla="*/ 1220734 w 10678681"/>
              <a:gd name="connsiteY131" fmla="*/ 1257811 h 1353297"/>
              <a:gd name="connsiteX132" fmla="*/ 1021737 w 10678681"/>
              <a:gd name="connsiteY132" fmla="*/ 1238739 h 1353297"/>
              <a:gd name="connsiteX133" fmla="*/ 959820 w 10678681"/>
              <a:gd name="connsiteY133" fmla="*/ 1275863 h 1353297"/>
              <a:gd name="connsiteX134" fmla="*/ 929137 w 10678681"/>
              <a:gd name="connsiteY134" fmla="*/ 1273957 h 1353297"/>
              <a:gd name="connsiteX135" fmla="*/ 878849 w 10678681"/>
              <a:gd name="connsiteY135" fmla="*/ 1266740 h 1353297"/>
              <a:gd name="connsiteX136" fmla="*/ 800667 w 10678681"/>
              <a:gd name="connsiteY136" fmla="*/ 1282041 h 1353297"/>
              <a:gd name="connsiteX137" fmla="*/ 644906 w 10678681"/>
              <a:gd name="connsiteY137" fmla="*/ 1273685 h 1353297"/>
              <a:gd name="connsiteX138" fmla="*/ 379869 w 10678681"/>
              <a:gd name="connsiteY138" fmla="*/ 1339165 h 1353297"/>
              <a:gd name="connsiteX139" fmla="*/ 137696 w 10678681"/>
              <a:gd name="connsiteY139" fmla="*/ 1319217 h 1353297"/>
              <a:gd name="connsiteX140" fmla="*/ 54250 w 10678681"/>
              <a:gd name="connsiteY140" fmla="*/ 1315838 h 1353297"/>
              <a:gd name="connsiteX141" fmla="*/ 28042 w 10678681"/>
              <a:gd name="connsiteY141" fmla="*/ 1297822 h 1353297"/>
              <a:gd name="connsiteX142" fmla="*/ 0 w 10678681"/>
              <a:gd name="connsiteY142" fmla="*/ 1294612 h 1353297"/>
              <a:gd name="connsiteX143" fmla="*/ 0 w 10678681"/>
              <a:gd name="connsiteY143" fmla="*/ 0 h 1353297"/>
              <a:gd name="connsiteX0" fmla="*/ 0 w 10678681"/>
              <a:gd name="connsiteY0" fmla="*/ 0 h 1353297"/>
              <a:gd name="connsiteX1" fmla="*/ 10678681 w 10678681"/>
              <a:gd name="connsiteY1" fmla="*/ 0 h 1353297"/>
              <a:gd name="connsiteX2" fmla="*/ 10666019 w 10678681"/>
              <a:gd name="connsiteY2" fmla="*/ 7876 h 1353297"/>
              <a:gd name="connsiteX3" fmla="*/ 10632825 w 10678681"/>
              <a:gd name="connsiteY3" fmla="*/ 32153 h 1353297"/>
              <a:gd name="connsiteX4" fmla="*/ 10510605 w 10678681"/>
              <a:gd name="connsiteY4" fmla="*/ 30449 h 1353297"/>
              <a:gd name="connsiteX5" fmla="*/ 10456989 w 10678681"/>
              <a:gd name="connsiteY5" fmla="*/ 979 h 1353297"/>
              <a:gd name="connsiteX6" fmla="*/ 10438642 w 10678681"/>
              <a:gd name="connsiteY6" fmla="*/ 1524 h 1353297"/>
              <a:gd name="connsiteX7" fmla="*/ 10407146 w 10678681"/>
              <a:gd name="connsiteY7" fmla="*/ 43659 h 1353297"/>
              <a:gd name="connsiteX8" fmla="*/ 10357996 w 10678681"/>
              <a:gd name="connsiteY8" fmla="*/ 50836 h 1353297"/>
              <a:gd name="connsiteX9" fmla="*/ 10306667 w 10678681"/>
              <a:gd name="connsiteY9" fmla="*/ 109739 h 1353297"/>
              <a:gd name="connsiteX10" fmla="*/ 10115334 w 10678681"/>
              <a:gd name="connsiteY10" fmla="*/ 155658 h 1353297"/>
              <a:gd name="connsiteX11" fmla="*/ 10068157 w 10678681"/>
              <a:gd name="connsiteY11" fmla="*/ 215673 h 1353297"/>
              <a:gd name="connsiteX12" fmla="*/ 10045431 w 10678681"/>
              <a:gd name="connsiteY12" fmla="*/ 229568 h 1353297"/>
              <a:gd name="connsiteX13" fmla="*/ 10013265 w 10678681"/>
              <a:gd name="connsiteY13" fmla="*/ 284757 h 1353297"/>
              <a:gd name="connsiteX14" fmla="*/ 9862496 w 10678681"/>
              <a:gd name="connsiteY14" fmla="*/ 223033 h 1353297"/>
              <a:gd name="connsiteX15" fmla="*/ 9679638 w 10678681"/>
              <a:gd name="connsiteY15" fmla="*/ 277462 h 1353297"/>
              <a:gd name="connsiteX16" fmla="*/ 9498347 w 10678681"/>
              <a:gd name="connsiteY16" fmla="*/ 244723 h 1353297"/>
              <a:gd name="connsiteX17" fmla="*/ 9399702 w 10678681"/>
              <a:gd name="connsiteY17" fmla="*/ 276316 h 1353297"/>
              <a:gd name="connsiteX18" fmla="*/ 9378439 w 10678681"/>
              <a:gd name="connsiteY18" fmla="*/ 326244 h 1353297"/>
              <a:gd name="connsiteX19" fmla="*/ 9121744 w 10678681"/>
              <a:gd name="connsiteY19" fmla="*/ 365177 h 1353297"/>
              <a:gd name="connsiteX20" fmla="*/ 9061654 w 10678681"/>
              <a:gd name="connsiteY20" fmla="*/ 393730 h 1353297"/>
              <a:gd name="connsiteX21" fmla="*/ 8997577 w 10678681"/>
              <a:gd name="connsiteY21" fmla="*/ 380865 h 1353297"/>
              <a:gd name="connsiteX22" fmla="*/ 8907968 w 10678681"/>
              <a:gd name="connsiteY22" fmla="*/ 447345 h 1353297"/>
              <a:gd name="connsiteX23" fmla="*/ 8764163 w 10678681"/>
              <a:gd name="connsiteY23" fmla="*/ 471000 h 1353297"/>
              <a:gd name="connsiteX24" fmla="*/ 8680155 w 10678681"/>
              <a:gd name="connsiteY24" fmla="*/ 492404 h 1353297"/>
              <a:gd name="connsiteX25" fmla="*/ 8651436 w 10678681"/>
              <a:gd name="connsiteY25" fmla="*/ 511923 h 1353297"/>
              <a:gd name="connsiteX26" fmla="*/ 8609185 w 10678681"/>
              <a:gd name="connsiteY26" fmla="*/ 531525 h 1353297"/>
              <a:gd name="connsiteX27" fmla="*/ 8537091 w 10678681"/>
              <a:gd name="connsiteY27" fmla="*/ 574933 h 1353297"/>
              <a:gd name="connsiteX28" fmla="*/ 8435931 w 10678681"/>
              <a:gd name="connsiteY28" fmla="*/ 617926 h 1353297"/>
              <a:gd name="connsiteX29" fmla="*/ 8348623 w 10678681"/>
              <a:gd name="connsiteY29" fmla="*/ 600607 h 1353297"/>
              <a:gd name="connsiteX30" fmla="*/ 8344233 w 10678681"/>
              <a:gd name="connsiteY30" fmla="*/ 610922 h 1353297"/>
              <a:gd name="connsiteX31" fmla="*/ 8290622 w 10678681"/>
              <a:gd name="connsiteY31" fmla="*/ 622687 h 1353297"/>
              <a:gd name="connsiteX32" fmla="*/ 8086698 w 10678681"/>
              <a:gd name="connsiteY32" fmla="*/ 605185 h 1353297"/>
              <a:gd name="connsiteX33" fmla="*/ 7982378 w 10678681"/>
              <a:gd name="connsiteY33" fmla="*/ 629799 h 1353297"/>
              <a:gd name="connsiteX34" fmla="*/ 7947952 w 10678681"/>
              <a:gd name="connsiteY34" fmla="*/ 648003 h 1353297"/>
              <a:gd name="connsiteX35" fmla="*/ 7890112 w 10678681"/>
              <a:gd name="connsiteY35" fmla="*/ 677915 h 1353297"/>
              <a:gd name="connsiteX36" fmla="*/ 7853284 w 10678681"/>
              <a:gd name="connsiteY36" fmla="*/ 723588 h 1353297"/>
              <a:gd name="connsiteX37" fmla="*/ 7802383 w 10678681"/>
              <a:gd name="connsiteY37" fmla="*/ 739359 h 1353297"/>
              <a:gd name="connsiteX38" fmla="*/ 7730518 w 10678681"/>
              <a:gd name="connsiteY38" fmla="*/ 739526 h 1353297"/>
              <a:gd name="connsiteX39" fmla="*/ 7652907 w 10678681"/>
              <a:gd name="connsiteY39" fmla="*/ 783273 h 1353297"/>
              <a:gd name="connsiteX40" fmla="*/ 7606008 w 10678681"/>
              <a:gd name="connsiteY40" fmla="*/ 800717 h 1353297"/>
              <a:gd name="connsiteX41" fmla="*/ 7480223 w 10678681"/>
              <a:gd name="connsiteY41" fmla="*/ 856821 h 1353297"/>
              <a:gd name="connsiteX42" fmla="*/ 7356005 w 10678681"/>
              <a:gd name="connsiteY42" fmla="*/ 919462 h 1353297"/>
              <a:gd name="connsiteX43" fmla="*/ 7305396 w 10678681"/>
              <a:gd name="connsiteY43" fmla="*/ 986228 h 1353297"/>
              <a:gd name="connsiteX44" fmla="*/ 7266251 w 10678681"/>
              <a:gd name="connsiteY44" fmla="*/ 967864 h 1353297"/>
              <a:gd name="connsiteX45" fmla="*/ 7269396 w 10678681"/>
              <a:gd name="connsiteY45" fmla="*/ 989282 h 1353297"/>
              <a:gd name="connsiteX46" fmla="*/ 7258094 w 10678681"/>
              <a:gd name="connsiteY46" fmla="*/ 990679 h 1353297"/>
              <a:gd name="connsiteX47" fmla="*/ 7257893 w 10678681"/>
              <a:gd name="connsiteY47" fmla="*/ 991204 h 1353297"/>
              <a:gd name="connsiteX48" fmla="*/ 7247153 w 10678681"/>
              <a:gd name="connsiteY48" fmla="*/ 991550 h 1353297"/>
              <a:gd name="connsiteX49" fmla="*/ 7193612 w 10678681"/>
              <a:gd name="connsiteY49" fmla="*/ 987042 h 1353297"/>
              <a:gd name="connsiteX50" fmla="*/ 7132632 w 10678681"/>
              <a:gd name="connsiteY50" fmla="*/ 1042036 h 1353297"/>
              <a:gd name="connsiteX51" fmla="*/ 7105610 w 10678681"/>
              <a:gd name="connsiteY51" fmla="*/ 1053537 h 1353297"/>
              <a:gd name="connsiteX52" fmla="*/ 7069148 w 10678681"/>
              <a:gd name="connsiteY52" fmla="*/ 1047163 h 1353297"/>
              <a:gd name="connsiteX53" fmla="*/ 7039634 w 10678681"/>
              <a:gd name="connsiteY53" fmla="*/ 1059971 h 1353297"/>
              <a:gd name="connsiteX54" fmla="*/ 7033445 w 10678681"/>
              <a:gd name="connsiteY54" fmla="*/ 1063314 h 1353297"/>
              <a:gd name="connsiteX55" fmla="*/ 6999157 w 10678681"/>
              <a:gd name="connsiteY55" fmla="*/ 1055282 h 1353297"/>
              <a:gd name="connsiteX56" fmla="*/ 6981874 w 10678681"/>
              <a:gd name="connsiteY56" fmla="*/ 1053827 h 1353297"/>
              <a:gd name="connsiteX57" fmla="*/ 6976102 w 10678681"/>
              <a:gd name="connsiteY57" fmla="*/ 1047854 h 1353297"/>
              <a:gd name="connsiteX58" fmla="*/ 6951040 w 10678681"/>
              <a:gd name="connsiteY58" fmla="*/ 1048531 h 1353297"/>
              <a:gd name="connsiteX59" fmla="*/ 6948497 w 10678681"/>
              <a:gd name="connsiteY59" fmla="*/ 1050706 h 1353297"/>
              <a:gd name="connsiteX60" fmla="*/ 6926582 w 10678681"/>
              <a:gd name="connsiteY60" fmla="*/ 1043462 h 1353297"/>
              <a:gd name="connsiteX61" fmla="*/ 6833743 w 10678681"/>
              <a:gd name="connsiteY61" fmla="*/ 1027960 h 1353297"/>
              <a:gd name="connsiteX62" fmla="*/ 6687090 w 10678681"/>
              <a:gd name="connsiteY62" fmla="*/ 1063250 h 1353297"/>
              <a:gd name="connsiteX63" fmla="*/ 6437450 w 10678681"/>
              <a:gd name="connsiteY63" fmla="*/ 1101075 h 1353297"/>
              <a:gd name="connsiteX64" fmla="*/ 6327795 w 10678681"/>
              <a:gd name="connsiteY64" fmla="*/ 1088142 h 1353297"/>
              <a:gd name="connsiteX65" fmla="*/ 6136549 w 10678681"/>
              <a:gd name="connsiteY65" fmla="*/ 1100268 h 1353297"/>
              <a:gd name="connsiteX66" fmla="*/ 6004655 w 10678681"/>
              <a:gd name="connsiteY66" fmla="*/ 1114946 h 1353297"/>
              <a:gd name="connsiteX67" fmla="*/ 5936643 w 10678681"/>
              <a:gd name="connsiteY67" fmla="*/ 1095428 h 1353297"/>
              <a:gd name="connsiteX68" fmla="*/ 5912484 w 10678681"/>
              <a:gd name="connsiteY68" fmla="*/ 1112624 h 1353297"/>
              <a:gd name="connsiteX69" fmla="*/ 5908387 w 10678681"/>
              <a:gd name="connsiteY69" fmla="*/ 1116018 h 1353297"/>
              <a:gd name="connsiteX70" fmla="*/ 5890495 w 10678681"/>
              <a:gd name="connsiteY70" fmla="*/ 1120268 h 1353297"/>
              <a:gd name="connsiteX71" fmla="*/ 5887318 w 10678681"/>
              <a:gd name="connsiteY71" fmla="*/ 1133134 h 1353297"/>
              <a:gd name="connsiteX72" fmla="*/ 5861726 w 10678681"/>
              <a:gd name="connsiteY72" fmla="*/ 1147891 h 1353297"/>
              <a:gd name="connsiteX73" fmla="*/ 5805823 w 10678681"/>
              <a:gd name="connsiteY73" fmla="*/ 1152457 h 1353297"/>
              <a:gd name="connsiteX74" fmla="*/ 5689841 w 10678681"/>
              <a:gd name="connsiteY74" fmla="*/ 1176232 h 1353297"/>
              <a:gd name="connsiteX75" fmla="*/ 5605119 w 10678681"/>
              <a:gd name="connsiteY75" fmla="*/ 1190202 h 1353297"/>
              <a:gd name="connsiteX76" fmla="*/ 5488513 w 10678681"/>
              <a:gd name="connsiteY76" fmla="*/ 1205367 h 1353297"/>
              <a:gd name="connsiteX77" fmla="*/ 5402905 w 10678681"/>
              <a:gd name="connsiteY77" fmla="*/ 1241191 h 1353297"/>
              <a:gd name="connsiteX78" fmla="*/ 5285593 w 10678681"/>
              <a:gd name="connsiteY78" fmla="*/ 1273569 h 1353297"/>
              <a:gd name="connsiteX79" fmla="*/ 5192893 w 10678681"/>
              <a:gd name="connsiteY79" fmla="*/ 1247188 h 1353297"/>
              <a:gd name="connsiteX80" fmla="*/ 5186475 w 10678681"/>
              <a:gd name="connsiteY80" fmla="*/ 1257028 h 1353297"/>
              <a:gd name="connsiteX81" fmla="*/ 5126038 w 10678681"/>
              <a:gd name="connsiteY81" fmla="*/ 1263189 h 1353297"/>
              <a:gd name="connsiteX82" fmla="*/ 4894688 w 10678681"/>
              <a:gd name="connsiteY82" fmla="*/ 1247184 h 1353297"/>
              <a:gd name="connsiteX83" fmla="*/ 4788036 w 10678681"/>
              <a:gd name="connsiteY83" fmla="*/ 1238182 h 1353297"/>
              <a:gd name="connsiteX84" fmla="*/ 4747555 w 10678681"/>
              <a:gd name="connsiteY84" fmla="*/ 1252768 h 1353297"/>
              <a:gd name="connsiteX85" fmla="*/ 4679644 w 10678681"/>
              <a:gd name="connsiteY85" fmla="*/ 1276603 h 1353297"/>
              <a:gd name="connsiteX86" fmla="*/ 4632222 w 10678681"/>
              <a:gd name="connsiteY86" fmla="*/ 1318360 h 1353297"/>
              <a:gd name="connsiteX87" fmla="*/ 4617358 w 10678681"/>
              <a:gd name="connsiteY87" fmla="*/ 1327690 h 1353297"/>
              <a:gd name="connsiteX88" fmla="*/ 4589102 w 10678681"/>
              <a:gd name="connsiteY88" fmla="*/ 1321223 h 1353297"/>
              <a:gd name="connsiteX89" fmla="*/ 4578184 w 10678681"/>
              <a:gd name="connsiteY89" fmla="*/ 1326745 h 1353297"/>
              <a:gd name="connsiteX90" fmla="*/ 4574270 w 10678681"/>
              <a:gd name="connsiteY90" fmla="*/ 1325878 h 1353297"/>
              <a:gd name="connsiteX91" fmla="*/ 4564919 w 10678681"/>
              <a:gd name="connsiteY91" fmla="*/ 1325507 h 1353297"/>
              <a:gd name="connsiteX92" fmla="*/ 4566586 w 10678681"/>
              <a:gd name="connsiteY92" fmla="*/ 1316963 h 1353297"/>
              <a:gd name="connsiteX93" fmla="*/ 4556303 w 10678681"/>
              <a:gd name="connsiteY93" fmla="*/ 1300262 h 1353297"/>
              <a:gd name="connsiteX94" fmla="*/ 4502358 w 10678681"/>
              <a:gd name="connsiteY94" fmla="*/ 1302558 h 1353297"/>
              <a:gd name="connsiteX95" fmla="*/ 4498919 w 10678681"/>
              <a:gd name="connsiteY95" fmla="*/ 1312115 h 1353297"/>
              <a:gd name="connsiteX96" fmla="*/ 4492075 w 10678681"/>
              <a:gd name="connsiteY96" fmla="*/ 1313357 h 1353297"/>
              <a:gd name="connsiteX97" fmla="*/ 4487466 w 10678681"/>
              <a:gd name="connsiteY97" fmla="*/ 1304102 h 1353297"/>
              <a:gd name="connsiteX98" fmla="*/ 4398292 w 10678681"/>
              <a:gd name="connsiteY98" fmla="*/ 1278410 h 1353297"/>
              <a:gd name="connsiteX99" fmla="*/ 4306088 w 10678681"/>
              <a:gd name="connsiteY99" fmla="*/ 1282512 h 1353297"/>
              <a:gd name="connsiteX100" fmla="*/ 4188995 w 10678681"/>
              <a:gd name="connsiteY100" fmla="*/ 1296718 h 1353297"/>
              <a:gd name="connsiteX101" fmla="*/ 4136582 w 10678681"/>
              <a:gd name="connsiteY101" fmla="*/ 1287687 h 1353297"/>
              <a:gd name="connsiteX102" fmla="*/ 4064614 w 10678681"/>
              <a:gd name="connsiteY102" fmla="*/ 1296118 h 1353297"/>
              <a:gd name="connsiteX103" fmla="*/ 3906561 w 10678681"/>
              <a:gd name="connsiteY103" fmla="*/ 1352435 h 1353297"/>
              <a:gd name="connsiteX104" fmla="*/ 3787890 w 10678681"/>
              <a:gd name="connsiteY104" fmla="*/ 1352442 h 1353297"/>
              <a:gd name="connsiteX105" fmla="*/ 3745993 w 10678681"/>
              <a:gd name="connsiteY105" fmla="*/ 1342630 h 1353297"/>
              <a:gd name="connsiteX106" fmla="*/ 3675785 w 10678681"/>
              <a:gd name="connsiteY106" fmla="*/ 1326802 h 1353297"/>
              <a:gd name="connsiteX107" fmla="*/ 3623856 w 10678681"/>
              <a:gd name="connsiteY107" fmla="*/ 1290804 h 1353297"/>
              <a:gd name="connsiteX108" fmla="*/ 3564933 w 10678681"/>
              <a:gd name="connsiteY108" fmla="*/ 1287147 h 1353297"/>
              <a:gd name="connsiteX109" fmla="*/ 3550537 w 10678681"/>
              <a:gd name="connsiteY109" fmla="*/ 1317552 h 1353297"/>
              <a:gd name="connsiteX110" fmla="*/ 3487736 w 10678681"/>
              <a:gd name="connsiteY110" fmla="*/ 1303493 h 1353297"/>
              <a:gd name="connsiteX111" fmla="*/ 3392548 w 10678681"/>
              <a:gd name="connsiteY111" fmla="*/ 1278741 h 1353297"/>
              <a:gd name="connsiteX112" fmla="*/ 3337466 w 10678681"/>
              <a:gd name="connsiteY112" fmla="*/ 1272537 h 1353297"/>
              <a:gd name="connsiteX113" fmla="*/ 3187206 w 10678681"/>
              <a:gd name="connsiteY113" fmla="*/ 1246821 h 1353297"/>
              <a:gd name="connsiteX114" fmla="*/ 3036856 w 10678681"/>
              <a:gd name="connsiteY114" fmla="*/ 1214383 h 1353297"/>
              <a:gd name="connsiteX115" fmla="*/ 2824973 w 10678681"/>
              <a:gd name="connsiteY115" fmla="*/ 1134864 h 1353297"/>
              <a:gd name="connsiteX116" fmla="*/ 2804398 w 10678681"/>
              <a:gd name="connsiteY116" fmla="*/ 1125556 h 1353297"/>
              <a:gd name="connsiteX117" fmla="*/ 2775396 w 10678681"/>
              <a:gd name="connsiteY117" fmla="*/ 1130148 h 1353297"/>
              <a:gd name="connsiteX118" fmla="*/ 2659096 w 10678681"/>
              <a:gd name="connsiteY118" fmla="*/ 1150294 h 1353297"/>
              <a:gd name="connsiteX119" fmla="*/ 2567088 w 10678681"/>
              <a:gd name="connsiteY119" fmla="*/ 1181781 h 1353297"/>
              <a:gd name="connsiteX120" fmla="*/ 2454501 w 10678681"/>
              <a:gd name="connsiteY120" fmla="*/ 1155455 h 1353297"/>
              <a:gd name="connsiteX121" fmla="*/ 2385161 w 10678681"/>
              <a:gd name="connsiteY121" fmla="*/ 1161312 h 1353297"/>
              <a:gd name="connsiteX122" fmla="*/ 2273361 w 10678681"/>
              <a:gd name="connsiteY122" fmla="*/ 1134090 h 1353297"/>
              <a:gd name="connsiteX123" fmla="*/ 2132003 w 10678681"/>
              <a:gd name="connsiteY123" fmla="*/ 1139225 h 1353297"/>
              <a:gd name="connsiteX124" fmla="*/ 2041224 w 10678681"/>
              <a:gd name="connsiteY124" fmla="*/ 1147536 h 1353297"/>
              <a:gd name="connsiteX125" fmla="*/ 2010157 w 10678681"/>
              <a:gd name="connsiteY125" fmla="*/ 1152767 h 1353297"/>
              <a:gd name="connsiteX126" fmla="*/ 1901837 w 10678681"/>
              <a:gd name="connsiteY126" fmla="*/ 1221762 h 1353297"/>
              <a:gd name="connsiteX127" fmla="*/ 1836762 w 10678681"/>
              <a:gd name="connsiteY127" fmla="*/ 1237387 h 1353297"/>
              <a:gd name="connsiteX128" fmla="*/ 1735877 w 10678681"/>
              <a:gd name="connsiteY128" fmla="*/ 1246527 h 1353297"/>
              <a:gd name="connsiteX129" fmla="*/ 1705069 w 10678681"/>
              <a:gd name="connsiteY129" fmla="*/ 1251989 h 1353297"/>
              <a:gd name="connsiteX130" fmla="*/ 1307888 w 10678681"/>
              <a:gd name="connsiteY130" fmla="*/ 1283156 h 1353297"/>
              <a:gd name="connsiteX131" fmla="*/ 1220734 w 10678681"/>
              <a:gd name="connsiteY131" fmla="*/ 1257811 h 1353297"/>
              <a:gd name="connsiteX132" fmla="*/ 1021737 w 10678681"/>
              <a:gd name="connsiteY132" fmla="*/ 1238739 h 1353297"/>
              <a:gd name="connsiteX133" fmla="*/ 959820 w 10678681"/>
              <a:gd name="connsiteY133" fmla="*/ 1275863 h 1353297"/>
              <a:gd name="connsiteX134" fmla="*/ 929137 w 10678681"/>
              <a:gd name="connsiteY134" fmla="*/ 1273957 h 1353297"/>
              <a:gd name="connsiteX135" fmla="*/ 878849 w 10678681"/>
              <a:gd name="connsiteY135" fmla="*/ 1266740 h 1353297"/>
              <a:gd name="connsiteX136" fmla="*/ 800667 w 10678681"/>
              <a:gd name="connsiteY136" fmla="*/ 1282041 h 1353297"/>
              <a:gd name="connsiteX137" fmla="*/ 644906 w 10678681"/>
              <a:gd name="connsiteY137" fmla="*/ 1273685 h 1353297"/>
              <a:gd name="connsiteX138" fmla="*/ 379869 w 10678681"/>
              <a:gd name="connsiteY138" fmla="*/ 1339165 h 1353297"/>
              <a:gd name="connsiteX139" fmla="*/ 137696 w 10678681"/>
              <a:gd name="connsiteY139" fmla="*/ 1319217 h 1353297"/>
              <a:gd name="connsiteX140" fmla="*/ 54250 w 10678681"/>
              <a:gd name="connsiteY140" fmla="*/ 1315838 h 1353297"/>
              <a:gd name="connsiteX141" fmla="*/ 28042 w 10678681"/>
              <a:gd name="connsiteY141" fmla="*/ 1297822 h 1353297"/>
              <a:gd name="connsiteX142" fmla="*/ 0 w 10678681"/>
              <a:gd name="connsiteY142" fmla="*/ 1294612 h 1353297"/>
              <a:gd name="connsiteX143" fmla="*/ 0 w 10678681"/>
              <a:gd name="connsiteY143" fmla="*/ 0 h 1353297"/>
              <a:gd name="connsiteX0" fmla="*/ 0 w 10678681"/>
              <a:gd name="connsiteY0" fmla="*/ 0 h 1353297"/>
              <a:gd name="connsiteX1" fmla="*/ 10678681 w 10678681"/>
              <a:gd name="connsiteY1" fmla="*/ 0 h 1353297"/>
              <a:gd name="connsiteX2" fmla="*/ 10666019 w 10678681"/>
              <a:gd name="connsiteY2" fmla="*/ 7876 h 1353297"/>
              <a:gd name="connsiteX3" fmla="*/ 10632825 w 10678681"/>
              <a:gd name="connsiteY3" fmla="*/ 32153 h 1353297"/>
              <a:gd name="connsiteX4" fmla="*/ 10510605 w 10678681"/>
              <a:gd name="connsiteY4" fmla="*/ 30449 h 1353297"/>
              <a:gd name="connsiteX5" fmla="*/ 10456989 w 10678681"/>
              <a:gd name="connsiteY5" fmla="*/ 979 h 1353297"/>
              <a:gd name="connsiteX6" fmla="*/ 10438642 w 10678681"/>
              <a:gd name="connsiteY6" fmla="*/ 1524 h 1353297"/>
              <a:gd name="connsiteX7" fmla="*/ 10407146 w 10678681"/>
              <a:gd name="connsiteY7" fmla="*/ 43659 h 1353297"/>
              <a:gd name="connsiteX8" fmla="*/ 10357996 w 10678681"/>
              <a:gd name="connsiteY8" fmla="*/ 50836 h 1353297"/>
              <a:gd name="connsiteX9" fmla="*/ 10306667 w 10678681"/>
              <a:gd name="connsiteY9" fmla="*/ 109739 h 1353297"/>
              <a:gd name="connsiteX10" fmla="*/ 10115334 w 10678681"/>
              <a:gd name="connsiteY10" fmla="*/ 155658 h 1353297"/>
              <a:gd name="connsiteX11" fmla="*/ 10068157 w 10678681"/>
              <a:gd name="connsiteY11" fmla="*/ 215673 h 1353297"/>
              <a:gd name="connsiteX12" fmla="*/ 10045431 w 10678681"/>
              <a:gd name="connsiteY12" fmla="*/ 229568 h 1353297"/>
              <a:gd name="connsiteX13" fmla="*/ 10013265 w 10678681"/>
              <a:gd name="connsiteY13" fmla="*/ 284757 h 1353297"/>
              <a:gd name="connsiteX14" fmla="*/ 9862496 w 10678681"/>
              <a:gd name="connsiteY14" fmla="*/ 223033 h 1353297"/>
              <a:gd name="connsiteX15" fmla="*/ 9679638 w 10678681"/>
              <a:gd name="connsiteY15" fmla="*/ 277462 h 1353297"/>
              <a:gd name="connsiteX16" fmla="*/ 9498347 w 10678681"/>
              <a:gd name="connsiteY16" fmla="*/ 244723 h 1353297"/>
              <a:gd name="connsiteX17" fmla="*/ 9399702 w 10678681"/>
              <a:gd name="connsiteY17" fmla="*/ 276316 h 1353297"/>
              <a:gd name="connsiteX18" fmla="*/ 9378439 w 10678681"/>
              <a:gd name="connsiteY18" fmla="*/ 326244 h 1353297"/>
              <a:gd name="connsiteX19" fmla="*/ 9121744 w 10678681"/>
              <a:gd name="connsiteY19" fmla="*/ 365177 h 1353297"/>
              <a:gd name="connsiteX20" fmla="*/ 9061654 w 10678681"/>
              <a:gd name="connsiteY20" fmla="*/ 393730 h 1353297"/>
              <a:gd name="connsiteX21" fmla="*/ 8997577 w 10678681"/>
              <a:gd name="connsiteY21" fmla="*/ 380865 h 1353297"/>
              <a:gd name="connsiteX22" fmla="*/ 8907968 w 10678681"/>
              <a:gd name="connsiteY22" fmla="*/ 447345 h 1353297"/>
              <a:gd name="connsiteX23" fmla="*/ 8764163 w 10678681"/>
              <a:gd name="connsiteY23" fmla="*/ 471000 h 1353297"/>
              <a:gd name="connsiteX24" fmla="*/ 8680155 w 10678681"/>
              <a:gd name="connsiteY24" fmla="*/ 492404 h 1353297"/>
              <a:gd name="connsiteX25" fmla="*/ 8651436 w 10678681"/>
              <a:gd name="connsiteY25" fmla="*/ 511923 h 1353297"/>
              <a:gd name="connsiteX26" fmla="*/ 8609185 w 10678681"/>
              <a:gd name="connsiteY26" fmla="*/ 531525 h 1353297"/>
              <a:gd name="connsiteX27" fmla="*/ 8537091 w 10678681"/>
              <a:gd name="connsiteY27" fmla="*/ 574933 h 1353297"/>
              <a:gd name="connsiteX28" fmla="*/ 8435931 w 10678681"/>
              <a:gd name="connsiteY28" fmla="*/ 617926 h 1353297"/>
              <a:gd name="connsiteX29" fmla="*/ 8348623 w 10678681"/>
              <a:gd name="connsiteY29" fmla="*/ 600607 h 1353297"/>
              <a:gd name="connsiteX30" fmla="*/ 8344233 w 10678681"/>
              <a:gd name="connsiteY30" fmla="*/ 610922 h 1353297"/>
              <a:gd name="connsiteX31" fmla="*/ 8290622 w 10678681"/>
              <a:gd name="connsiteY31" fmla="*/ 622687 h 1353297"/>
              <a:gd name="connsiteX32" fmla="*/ 8086698 w 10678681"/>
              <a:gd name="connsiteY32" fmla="*/ 605185 h 1353297"/>
              <a:gd name="connsiteX33" fmla="*/ 7982378 w 10678681"/>
              <a:gd name="connsiteY33" fmla="*/ 629799 h 1353297"/>
              <a:gd name="connsiteX34" fmla="*/ 7947952 w 10678681"/>
              <a:gd name="connsiteY34" fmla="*/ 648003 h 1353297"/>
              <a:gd name="connsiteX35" fmla="*/ 7890112 w 10678681"/>
              <a:gd name="connsiteY35" fmla="*/ 677915 h 1353297"/>
              <a:gd name="connsiteX36" fmla="*/ 7853284 w 10678681"/>
              <a:gd name="connsiteY36" fmla="*/ 723588 h 1353297"/>
              <a:gd name="connsiteX37" fmla="*/ 7802383 w 10678681"/>
              <a:gd name="connsiteY37" fmla="*/ 739359 h 1353297"/>
              <a:gd name="connsiteX38" fmla="*/ 7730518 w 10678681"/>
              <a:gd name="connsiteY38" fmla="*/ 739526 h 1353297"/>
              <a:gd name="connsiteX39" fmla="*/ 7652907 w 10678681"/>
              <a:gd name="connsiteY39" fmla="*/ 783273 h 1353297"/>
              <a:gd name="connsiteX40" fmla="*/ 7606008 w 10678681"/>
              <a:gd name="connsiteY40" fmla="*/ 800717 h 1353297"/>
              <a:gd name="connsiteX41" fmla="*/ 7480223 w 10678681"/>
              <a:gd name="connsiteY41" fmla="*/ 856821 h 1353297"/>
              <a:gd name="connsiteX42" fmla="*/ 7356005 w 10678681"/>
              <a:gd name="connsiteY42" fmla="*/ 919462 h 1353297"/>
              <a:gd name="connsiteX43" fmla="*/ 7305396 w 10678681"/>
              <a:gd name="connsiteY43" fmla="*/ 986228 h 1353297"/>
              <a:gd name="connsiteX44" fmla="*/ 7266251 w 10678681"/>
              <a:gd name="connsiteY44" fmla="*/ 967864 h 1353297"/>
              <a:gd name="connsiteX45" fmla="*/ 7269396 w 10678681"/>
              <a:gd name="connsiteY45" fmla="*/ 989282 h 1353297"/>
              <a:gd name="connsiteX46" fmla="*/ 7258094 w 10678681"/>
              <a:gd name="connsiteY46" fmla="*/ 990679 h 1353297"/>
              <a:gd name="connsiteX47" fmla="*/ 7257893 w 10678681"/>
              <a:gd name="connsiteY47" fmla="*/ 991204 h 1353297"/>
              <a:gd name="connsiteX48" fmla="*/ 7247153 w 10678681"/>
              <a:gd name="connsiteY48" fmla="*/ 991550 h 1353297"/>
              <a:gd name="connsiteX49" fmla="*/ 7193612 w 10678681"/>
              <a:gd name="connsiteY49" fmla="*/ 987042 h 1353297"/>
              <a:gd name="connsiteX50" fmla="*/ 7132632 w 10678681"/>
              <a:gd name="connsiteY50" fmla="*/ 1042036 h 1353297"/>
              <a:gd name="connsiteX51" fmla="*/ 7105610 w 10678681"/>
              <a:gd name="connsiteY51" fmla="*/ 1053537 h 1353297"/>
              <a:gd name="connsiteX52" fmla="*/ 7069148 w 10678681"/>
              <a:gd name="connsiteY52" fmla="*/ 1047163 h 1353297"/>
              <a:gd name="connsiteX53" fmla="*/ 7039634 w 10678681"/>
              <a:gd name="connsiteY53" fmla="*/ 1059971 h 1353297"/>
              <a:gd name="connsiteX54" fmla="*/ 7033445 w 10678681"/>
              <a:gd name="connsiteY54" fmla="*/ 1063314 h 1353297"/>
              <a:gd name="connsiteX55" fmla="*/ 6999157 w 10678681"/>
              <a:gd name="connsiteY55" fmla="*/ 1055282 h 1353297"/>
              <a:gd name="connsiteX56" fmla="*/ 6981874 w 10678681"/>
              <a:gd name="connsiteY56" fmla="*/ 1053827 h 1353297"/>
              <a:gd name="connsiteX57" fmla="*/ 6976102 w 10678681"/>
              <a:gd name="connsiteY57" fmla="*/ 1047854 h 1353297"/>
              <a:gd name="connsiteX58" fmla="*/ 6951040 w 10678681"/>
              <a:gd name="connsiteY58" fmla="*/ 1048531 h 1353297"/>
              <a:gd name="connsiteX59" fmla="*/ 6948497 w 10678681"/>
              <a:gd name="connsiteY59" fmla="*/ 1050706 h 1353297"/>
              <a:gd name="connsiteX60" fmla="*/ 6926582 w 10678681"/>
              <a:gd name="connsiteY60" fmla="*/ 1043462 h 1353297"/>
              <a:gd name="connsiteX61" fmla="*/ 6833743 w 10678681"/>
              <a:gd name="connsiteY61" fmla="*/ 1027960 h 1353297"/>
              <a:gd name="connsiteX62" fmla="*/ 6687090 w 10678681"/>
              <a:gd name="connsiteY62" fmla="*/ 1063250 h 1353297"/>
              <a:gd name="connsiteX63" fmla="*/ 6437450 w 10678681"/>
              <a:gd name="connsiteY63" fmla="*/ 1101075 h 1353297"/>
              <a:gd name="connsiteX64" fmla="*/ 6327795 w 10678681"/>
              <a:gd name="connsiteY64" fmla="*/ 1088142 h 1353297"/>
              <a:gd name="connsiteX65" fmla="*/ 6136549 w 10678681"/>
              <a:gd name="connsiteY65" fmla="*/ 1100268 h 1353297"/>
              <a:gd name="connsiteX66" fmla="*/ 6004655 w 10678681"/>
              <a:gd name="connsiteY66" fmla="*/ 1114946 h 1353297"/>
              <a:gd name="connsiteX67" fmla="*/ 5936643 w 10678681"/>
              <a:gd name="connsiteY67" fmla="*/ 1095428 h 1353297"/>
              <a:gd name="connsiteX68" fmla="*/ 5912484 w 10678681"/>
              <a:gd name="connsiteY68" fmla="*/ 1112624 h 1353297"/>
              <a:gd name="connsiteX69" fmla="*/ 5908387 w 10678681"/>
              <a:gd name="connsiteY69" fmla="*/ 1116018 h 1353297"/>
              <a:gd name="connsiteX70" fmla="*/ 5890495 w 10678681"/>
              <a:gd name="connsiteY70" fmla="*/ 1120268 h 1353297"/>
              <a:gd name="connsiteX71" fmla="*/ 5887318 w 10678681"/>
              <a:gd name="connsiteY71" fmla="*/ 1133134 h 1353297"/>
              <a:gd name="connsiteX72" fmla="*/ 5861726 w 10678681"/>
              <a:gd name="connsiteY72" fmla="*/ 1147891 h 1353297"/>
              <a:gd name="connsiteX73" fmla="*/ 5805823 w 10678681"/>
              <a:gd name="connsiteY73" fmla="*/ 1152457 h 1353297"/>
              <a:gd name="connsiteX74" fmla="*/ 5689841 w 10678681"/>
              <a:gd name="connsiteY74" fmla="*/ 1176232 h 1353297"/>
              <a:gd name="connsiteX75" fmla="*/ 5605119 w 10678681"/>
              <a:gd name="connsiteY75" fmla="*/ 1190202 h 1353297"/>
              <a:gd name="connsiteX76" fmla="*/ 5488513 w 10678681"/>
              <a:gd name="connsiteY76" fmla="*/ 1205367 h 1353297"/>
              <a:gd name="connsiteX77" fmla="*/ 5402905 w 10678681"/>
              <a:gd name="connsiteY77" fmla="*/ 1241191 h 1353297"/>
              <a:gd name="connsiteX78" fmla="*/ 5285593 w 10678681"/>
              <a:gd name="connsiteY78" fmla="*/ 1273569 h 1353297"/>
              <a:gd name="connsiteX79" fmla="*/ 5192893 w 10678681"/>
              <a:gd name="connsiteY79" fmla="*/ 1247188 h 1353297"/>
              <a:gd name="connsiteX80" fmla="*/ 5186475 w 10678681"/>
              <a:gd name="connsiteY80" fmla="*/ 1257028 h 1353297"/>
              <a:gd name="connsiteX81" fmla="*/ 5126038 w 10678681"/>
              <a:gd name="connsiteY81" fmla="*/ 1263189 h 1353297"/>
              <a:gd name="connsiteX82" fmla="*/ 4894688 w 10678681"/>
              <a:gd name="connsiteY82" fmla="*/ 1247184 h 1353297"/>
              <a:gd name="connsiteX83" fmla="*/ 4788036 w 10678681"/>
              <a:gd name="connsiteY83" fmla="*/ 1238182 h 1353297"/>
              <a:gd name="connsiteX84" fmla="*/ 4747555 w 10678681"/>
              <a:gd name="connsiteY84" fmla="*/ 1252768 h 1353297"/>
              <a:gd name="connsiteX85" fmla="*/ 4679644 w 10678681"/>
              <a:gd name="connsiteY85" fmla="*/ 1276603 h 1353297"/>
              <a:gd name="connsiteX86" fmla="*/ 4632222 w 10678681"/>
              <a:gd name="connsiteY86" fmla="*/ 1318360 h 1353297"/>
              <a:gd name="connsiteX87" fmla="*/ 4617358 w 10678681"/>
              <a:gd name="connsiteY87" fmla="*/ 1327690 h 1353297"/>
              <a:gd name="connsiteX88" fmla="*/ 4589102 w 10678681"/>
              <a:gd name="connsiteY88" fmla="*/ 1321223 h 1353297"/>
              <a:gd name="connsiteX89" fmla="*/ 4578184 w 10678681"/>
              <a:gd name="connsiteY89" fmla="*/ 1326745 h 1353297"/>
              <a:gd name="connsiteX90" fmla="*/ 4574270 w 10678681"/>
              <a:gd name="connsiteY90" fmla="*/ 1325878 h 1353297"/>
              <a:gd name="connsiteX91" fmla="*/ 4564919 w 10678681"/>
              <a:gd name="connsiteY91" fmla="*/ 1325507 h 1353297"/>
              <a:gd name="connsiteX92" fmla="*/ 4566586 w 10678681"/>
              <a:gd name="connsiteY92" fmla="*/ 1316963 h 1353297"/>
              <a:gd name="connsiteX93" fmla="*/ 4556303 w 10678681"/>
              <a:gd name="connsiteY93" fmla="*/ 1300262 h 1353297"/>
              <a:gd name="connsiteX94" fmla="*/ 4502358 w 10678681"/>
              <a:gd name="connsiteY94" fmla="*/ 1302558 h 1353297"/>
              <a:gd name="connsiteX95" fmla="*/ 4498919 w 10678681"/>
              <a:gd name="connsiteY95" fmla="*/ 1312115 h 1353297"/>
              <a:gd name="connsiteX96" fmla="*/ 4492075 w 10678681"/>
              <a:gd name="connsiteY96" fmla="*/ 1313357 h 1353297"/>
              <a:gd name="connsiteX97" fmla="*/ 4487466 w 10678681"/>
              <a:gd name="connsiteY97" fmla="*/ 1304102 h 1353297"/>
              <a:gd name="connsiteX98" fmla="*/ 4398292 w 10678681"/>
              <a:gd name="connsiteY98" fmla="*/ 1278410 h 1353297"/>
              <a:gd name="connsiteX99" fmla="*/ 4306088 w 10678681"/>
              <a:gd name="connsiteY99" fmla="*/ 1282512 h 1353297"/>
              <a:gd name="connsiteX100" fmla="*/ 4188995 w 10678681"/>
              <a:gd name="connsiteY100" fmla="*/ 1296718 h 1353297"/>
              <a:gd name="connsiteX101" fmla="*/ 4136582 w 10678681"/>
              <a:gd name="connsiteY101" fmla="*/ 1287687 h 1353297"/>
              <a:gd name="connsiteX102" fmla="*/ 4064614 w 10678681"/>
              <a:gd name="connsiteY102" fmla="*/ 1296118 h 1353297"/>
              <a:gd name="connsiteX103" fmla="*/ 3906561 w 10678681"/>
              <a:gd name="connsiteY103" fmla="*/ 1352435 h 1353297"/>
              <a:gd name="connsiteX104" fmla="*/ 3787890 w 10678681"/>
              <a:gd name="connsiteY104" fmla="*/ 1352442 h 1353297"/>
              <a:gd name="connsiteX105" fmla="*/ 3745993 w 10678681"/>
              <a:gd name="connsiteY105" fmla="*/ 1342630 h 1353297"/>
              <a:gd name="connsiteX106" fmla="*/ 3675785 w 10678681"/>
              <a:gd name="connsiteY106" fmla="*/ 1326802 h 1353297"/>
              <a:gd name="connsiteX107" fmla="*/ 3623856 w 10678681"/>
              <a:gd name="connsiteY107" fmla="*/ 1290804 h 1353297"/>
              <a:gd name="connsiteX108" fmla="*/ 3564933 w 10678681"/>
              <a:gd name="connsiteY108" fmla="*/ 1287147 h 1353297"/>
              <a:gd name="connsiteX109" fmla="*/ 3550537 w 10678681"/>
              <a:gd name="connsiteY109" fmla="*/ 1317552 h 1353297"/>
              <a:gd name="connsiteX110" fmla="*/ 3487736 w 10678681"/>
              <a:gd name="connsiteY110" fmla="*/ 1303493 h 1353297"/>
              <a:gd name="connsiteX111" fmla="*/ 3392548 w 10678681"/>
              <a:gd name="connsiteY111" fmla="*/ 1278741 h 1353297"/>
              <a:gd name="connsiteX112" fmla="*/ 3337466 w 10678681"/>
              <a:gd name="connsiteY112" fmla="*/ 1272537 h 1353297"/>
              <a:gd name="connsiteX113" fmla="*/ 3187206 w 10678681"/>
              <a:gd name="connsiteY113" fmla="*/ 1246821 h 1353297"/>
              <a:gd name="connsiteX114" fmla="*/ 3036856 w 10678681"/>
              <a:gd name="connsiteY114" fmla="*/ 1214383 h 1353297"/>
              <a:gd name="connsiteX115" fmla="*/ 2824973 w 10678681"/>
              <a:gd name="connsiteY115" fmla="*/ 1134864 h 1353297"/>
              <a:gd name="connsiteX116" fmla="*/ 2804398 w 10678681"/>
              <a:gd name="connsiteY116" fmla="*/ 1125556 h 1353297"/>
              <a:gd name="connsiteX117" fmla="*/ 2775396 w 10678681"/>
              <a:gd name="connsiteY117" fmla="*/ 1130148 h 1353297"/>
              <a:gd name="connsiteX118" fmla="*/ 2659096 w 10678681"/>
              <a:gd name="connsiteY118" fmla="*/ 1150294 h 1353297"/>
              <a:gd name="connsiteX119" fmla="*/ 2567088 w 10678681"/>
              <a:gd name="connsiteY119" fmla="*/ 1181781 h 1353297"/>
              <a:gd name="connsiteX120" fmla="*/ 2454501 w 10678681"/>
              <a:gd name="connsiteY120" fmla="*/ 1155455 h 1353297"/>
              <a:gd name="connsiteX121" fmla="*/ 2385161 w 10678681"/>
              <a:gd name="connsiteY121" fmla="*/ 1161312 h 1353297"/>
              <a:gd name="connsiteX122" fmla="*/ 2273361 w 10678681"/>
              <a:gd name="connsiteY122" fmla="*/ 1134090 h 1353297"/>
              <a:gd name="connsiteX123" fmla="*/ 2132003 w 10678681"/>
              <a:gd name="connsiteY123" fmla="*/ 1139225 h 1353297"/>
              <a:gd name="connsiteX124" fmla="*/ 2041224 w 10678681"/>
              <a:gd name="connsiteY124" fmla="*/ 1147536 h 1353297"/>
              <a:gd name="connsiteX125" fmla="*/ 2010157 w 10678681"/>
              <a:gd name="connsiteY125" fmla="*/ 1152767 h 1353297"/>
              <a:gd name="connsiteX126" fmla="*/ 1836762 w 10678681"/>
              <a:gd name="connsiteY126" fmla="*/ 1237387 h 1353297"/>
              <a:gd name="connsiteX127" fmla="*/ 1735877 w 10678681"/>
              <a:gd name="connsiteY127" fmla="*/ 1246527 h 1353297"/>
              <a:gd name="connsiteX128" fmla="*/ 1705069 w 10678681"/>
              <a:gd name="connsiteY128" fmla="*/ 1251989 h 1353297"/>
              <a:gd name="connsiteX129" fmla="*/ 1307888 w 10678681"/>
              <a:gd name="connsiteY129" fmla="*/ 1283156 h 1353297"/>
              <a:gd name="connsiteX130" fmla="*/ 1220734 w 10678681"/>
              <a:gd name="connsiteY130" fmla="*/ 1257811 h 1353297"/>
              <a:gd name="connsiteX131" fmla="*/ 1021737 w 10678681"/>
              <a:gd name="connsiteY131" fmla="*/ 1238739 h 1353297"/>
              <a:gd name="connsiteX132" fmla="*/ 959820 w 10678681"/>
              <a:gd name="connsiteY132" fmla="*/ 1275863 h 1353297"/>
              <a:gd name="connsiteX133" fmla="*/ 929137 w 10678681"/>
              <a:gd name="connsiteY133" fmla="*/ 1273957 h 1353297"/>
              <a:gd name="connsiteX134" fmla="*/ 878849 w 10678681"/>
              <a:gd name="connsiteY134" fmla="*/ 1266740 h 1353297"/>
              <a:gd name="connsiteX135" fmla="*/ 800667 w 10678681"/>
              <a:gd name="connsiteY135" fmla="*/ 1282041 h 1353297"/>
              <a:gd name="connsiteX136" fmla="*/ 644906 w 10678681"/>
              <a:gd name="connsiteY136" fmla="*/ 1273685 h 1353297"/>
              <a:gd name="connsiteX137" fmla="*/ 379869 w 10678681"/>
              <a:gd name="connsiteY137" fmla="*/ 1339165 h 1353297"/>
              <a:gd name="connsiteX138" fmla="*/ 137696 w 10678681"/>
              <a:gd name="connsiteY138" fmla="*/ 1319217 h 1353297"/>
              <a:gd name="connsiteX139" fmla="*/ 54250 w 10678681"/>
              <a:gd name="connsiteY139" fmla="*/ 1315838 h 1353297"/>
              <a:gd name="connsiteX140" fmla="*/ 28042 w 10678681"/>
              <a:gd name="connsiteY140" fmla="*/ 1297822 h 1353297"/>
              <a:gd name="connsiteX141" fmla="*/ 0 w 10678681"/>
              <a:gd name="connsiteY141" fmla="*/ 1294612 h 1353297"/>
              <a:gd name="connsiteX142" fmla="*/ 0 w 10678681"/>
              <a:gd name="connsiteY142" fmla="*/ 0 h 1353297"/>
              <a:gd name="connsiteX0" fmla="*/ 0 w 10678681"/>
              <a:gd name="connsiteY0" fmla="*/ 0 h 1353297"/>
              <a:gd name="connsiteX1" fmla="*/ 10678681 w 10678681"/>
              <a:gd name="connsiteY1" fmla="*/ 0 h 1353297"/>
              <a:gd name="connsiteX2" fmla="*/ 10666019 w 10678681"/>
              <a:gd name="connsiteY2" fmla="*/ 7876 h 1353297"/>
              <a:gd name="connsiteX3" fmla="*/ 10632825 w 10678681"/>
              <a:gd name="connsiteY3" fmla="*/ 32153 h 1353297"/>
              <a:gd name="connsiteX4" fmla="*/ 10510605 w 10678681"/>
              <a:gd name="connsiteY4" fmla="*/ 30449 h 1353297"/>
              <a:gd name="connsiteX5" fmla="*/ 10456989 w 10678681"/>
              <a:gd name="connsiteY5" fmla="*/ 979 h 1353297"/>
              <a:gd name="connsiteX6" fmla="*/ 10438642 w 10678681"/>
              <a:gd name="connsiteY6" fmla="*/ 1524 h 1353297"/>
              <a:gd name="connsiteX7" fmla="*/ 10407146 w 10678681"/>
              <a:gd name="connsiteY7" fmla="*/ 43659 h 1353297"/>
              <a:gd name="connsiteX8" fmla="*/ 10357996 w 10678681"/>
              <a:gd name="connsiteY8" fmla="*/ 50836 h 1353297"/>
              <a:gd name="connsiteX9" fmla="*/ 10306667 w 10678681"/>
              <a:gd name="connsiteY9" fmla="*/ 109739 h 1353297"/>
              <a:gd name="connsiteX10" fmla="*/ 10115334 w 10678681"/>
              <a:gd name="connsiteY10" fmla="*/ 155658 h 1353297"/>
              <a:gd name="connsiteX11" fmla="*/ 10068157 w 10678681"/>
              <a:gd name="connsiteY11" fmla="*/ 215673 h 1353297"/>
              <a:gd name="connsiteX12" fmla="*/ 10045431 w 10678681"/>
              <a:gd name="connsiteY12" fmla="*/ 229568 h 1353297"/>
              <a:gd name="connsiteX13" fmla="*/ 10013265 w 10678681"/>
              <a:gd name="connsiteY13" fmla="*/ 284757 h 1353297"/>
              <a:gd name="connsiteX14" fmla="*/ 9862496 w 10678681"/>
              <a:gd name="connsiteY14" fmla="*/ 223033 h 1353297"/>
              <a:gd name="connsiteX15" fmla="*/ 9679638 w 10678681"/>
              <a:gd name="connsiteY15" fmla="*/ 277462 h 1353297"/>
              <a:gd name="connsiteX16" fmla="*/ 9498347 w 10678681"/>
              <a:gd name="connsiteY16" fmla="*/ 244723 h 1353297"/>
              <a:gd name="connsiteX17" fmla="*/ 9399702 w 10678681"/>
              <a:gd name="connsiteY17" fmla="*/ 276316 h 1353297"/>
              <a:gd name="connsiteX18" fmla="*/ 9378439 w 10678681"/>
              <a:gd name="connsiteY18" fmla="*/ 326244 h 1353297"/>
              <a:gd name="connsiteX19" fmla="*/ 9121744 w 10678681"/>
              <a:gd name="connsiteY19" fmla="*/ 365177 h 1353297"/>
              <a:gd name="connsiteX20" fmla="*/ 9061654 w 10678681"/>
              <a:gd name="connsiteY20" fmla="*/ 393730 h 1353297"/>
              <a:gd name="connsiteX21" fmla="*/ 8997577 w 10678681"/>
              <a:gd name="connsiteY21" fmla="*/ 380865 h 1353297"/>
              <a:gd name="connsiteX22" fmla="*/ 8907968 w 10678681"/>
              <a:gd name="connsiteY22" fmla="*/ 447345 h 1353297"/>
              <a:gd name="connsiteX23" fmla="*/ 8764163 w 10678681"/>
              <a:gd name="connsiteY23" fmla="*/ 471000 h 1353297"/>
              <a:gd name="connsiteX24" fmla="*/ 8680155 w 10678681"/>
              <a:gd name="connsiteY24" fmla="*/ 492404 h 1353297"/>
              <a:gd name="connsiteX25" fmla="*/ 8651436 w 10678681"/>
              <a:gd name="connsiteY25" fmla="*/ 511923 h 1353297"/>
              <a:gd name="connsiteX26" fmla="*/ 8609185 w 10678681"/>
              <a:gd name="connsiteY26" fmla="*/ 531525 h 1353297"/>
              <a:gd name="connsiteX27" fmla="*/ 8537091 w 10678681"/>
              <a:gd name="connsiteY27" fmla="*/ 574933 h 1353297"/>
              <a:gd name="connsiteX28" fmla="*/ 8435931 w 10678681"/>
              <a:gd name="connsiteY28" fmla="*/ 617926 h 1353297"/>
              <a:gd name="connsiteX29" fmla="*/ 8348623 w 10678681"/>
              <a:gd name="connsiteY29" fmla="*/ 600607 h 1353297"/>
              <a:gd name="connsiteX30" fmla="*/ 8344233 w 10678681"/>
              <a:gd name="connsiteY30" fmla="*/ 610922 h 1353297"/>
              <a:gd name="connsiteX31" fmla="*/ 8290622 w 10678681"/>
              <a:gd name="connsiteY31" fmla="*/ 622687 h 1353297"/>
              <a:gd name="connsiteX32" fmla="*/ 8086698 w 10678681"/>
              <a:gd name="connsiteY32" fmla="*/ 605185 h 1353297"/>
              <a:gd name="connsiteX33" fmla="*/ 7982378 w 10678681"/>
              <a:gd name="connsiteY33" fmla="*/ 629799 h 1353297"/>
              <a:gd name="connsiteX34" fmla="*/ 7947952 w 10678681"/>
              <a:gd name="connsiteY34" fmla="*/ 648003 h 1353297"/>
              <a:gd name="connsiteX35" fmla="*/ 7890112 w 10678681"/>
              <a:gd name="connsiteY35" fmla="*/ 677915 h 1353297"/>
              <a:gd name="connsiteX36" fmla="*/ 7853284 w 10678681"/>
              <a:gd name="connsiteY36" fmla="*/ 723588 h 1353297"/>
              <a:gd name="connsiteX37" fmla="*/ 7802383 w 10678681"/>
              <a:gd name="connsiteY37" fmla="*/ 739359 h 1353297"/>
              <a:gd name="connsiteX38" fmla="*/ 7730518 w 10678681"/>
              <a:gd name="connsiteY38" fmla="*/ 739526 h 1353297"/>
              <a:gd name="connsiteX39" fmla="*/ 7652907 w 10678681"/>
              <a:gd name="connsiteY39" fmla="*/ 783273 h 1353297"/>
              <a:gd name="connsiteX40" fmla="*/ 7606008 w 10678681"/>
              <a:gd name="connsiteY40" fmla="*/ 800717 h 1353297"/>
              <a:gd name="connsiteX41" fmla="*/ 7480223 w 10678681"/>
              <a:gd name="connsiteY41" fmla="*/ 856821 h 1353297"/>
              <a:gd name="connsiteX42" fmla="*/ 7356005 w 10678681"/>
              <a:gd name="connsiteY42" fmla="*/ 919462 h 1353297"/>
              <a:gd name="connsiteX43" fmla="*/ 7305396 w 10678681"/>
              <a:gd name="connsiteY43" fmla="*/ 986228 h 1353297"/>
              <a:gd name="connsiteX44" fmla="*/ 7266251 w 10678681"/>
              <a:gd name="connsiteY44" fmla="*/ 967864 h 1353297"/>
              <a:gd name="connsiteX45" fmla="*/ 7269396 w 10678681"/>
              <a:gd name="connsiteY45" fmla="*/ 989282 h 1353297"/>
              <a:gd name="connsiteX46" fmla="*/ 7258094 w 10678681"/>
              <a:gd name="connsiteY46" fmla="*/ 990679 h 1353297"/>
              <a:gd name="connsiteX47" fmla="*/ 7257893 w 10678681"/>
              <a:gd name="connsiteY47" fmla="*/ 991204 h 1353297"/>
              <a:gd name="connsiteX48" fmla="*/ 7247153 w 10678681"/>
              <a:gd name="connsiteY48" fmla="*/ 991550 h 1353297"/>
              <a:gd name="connsiteX49" fmla="*/ 7193612 w 10678681"/>
              <a:gd name="connsiteY49" fmla="*/ 987042 h 1353297"/>
              <a:gd name="connsiteX50" fmla="*/ 7132632 w 10678681"/>
              <a:gd name="connsiteY50" fmla="*/ 1042036 h 1353297"/>
              <a:gd name="connsiteX51" fmla="*/ 7105610 w 10678681"/>
              <a:gd name="connsiteY51" fmla="*/ 1053537 h 1353297"/>
              <a:gd name="connsiteX52" fmla="*/ 7069148 w 10678681"/>
              <a:gd name="connsiteY52" fmla="*/ 1047163 h 1353297"/>
              <a:gd name="connsiteX53" fmla="*/ 7039634 w 10678681"/>
              <a:gd name="connsiteY53" fmla="*/ 1059971 h 1353297"/>
              <a:gd name="connsiteX54" fmla="*/ 7033445 w 10678681"/>
              <a:gd name="connsiteY54" fmla="*/ 1063314 h 1353297"/>
              <a:gd name="connsiteX55" fmla="*/ 6999157 w 10678681"/>
              <a:gd name="connsiteY55" fmla="*/ 1055282 h 1353297"/>
              <a:gd name="connsiteX56" fmla="*/ 6981874 w 10678681"/>
              <a:gd name="connsiteY56" fmla="*/ 1053827 h 1353297"/>
              <a:gd name="connsiteX57" fmla="*/ 6976102 w 10678681"/>
              <a:gd name="connsiteY57" fmla="*/ 1047854 h 1353297"/>
              <a:gd name="connsiteX58" fmla="*/ 6951040 w 10678681"/>
              <a:gd name="connsiteY58" fmla="*/ 1048531 h 1353297"/>
              <a:gd name="connsiteX59" fmla="*/ 6948497 w 10678681"/>
              <a:gd name="connsiteY59" fmla="*/ 1050706 h 1353297"/>
              <a:gd name="connsiteX60" fmla="*/ 6926582 w 10678681"/>
              <a:gd name="connsiteY60" fmla="*/ 1043462 h 1353297"/>
              <a:gd name="connsiteX61" fmla="*/ 6833743 w 10678681"/>
              <a:gd name="connsiteY61" fmla="*/ 1027960 h 1353297"/>
              <a:gd name="connsiteX62" fmla="*/ 6687090 w 10678681"/>
              <a:gd name="connsiteY62" fmla="*/ 1063250 h 1353297"/>
              <a:gd name="connsiteX63" fmla="*/ 6437450 w 10678681"/>
              <a:gd name="connsiteY63" fmla="*/ 1101075 h 1353297"/>
              <a:gd name="connsiteX64" fmla="*/ 6327795 w 10678681"/>
              <a:gd name="connsiteY64" fmla="*/ 1088142 h 1353297"/>
              <a:gd name="connsiteX65" fmla="*/ 6136549 w 10678681"/>
              <a:gd name="connsiteY65" fmla="*/ 1100268 h 1353297"/>
              <a:gd name="connsiteX66" fmla="*/ 6004655 w 10678681"/>
              <a:gd name="connsiteY66" fmla="*/ 1114946 h 1353297"/>
              <a:gd name="connsiteX67" fmla="*/ 5936643 w 10678681"/>
              <a:gd name="connsiteY67" fmla="*/ 1095428 h 1353297"/>
              <a:gd name="connsiteX68" fmla="*/ 5912484 w 10678681"/>
              <a:gd name="connsiteY68" fmla="*/ 1112624 h 1353297"/>
              <a:gd name="connsiteX69" fmla="*/ 5908387 w 10678681"/>
              <a:gd name="connsiteY69" fmla="*/ 1116018 h 1353297"/>
              <a:gd name="connsiteX70" fmla="*/ 5890495 w 10678681"/>
              <a:gd name="connsiteY70" fmla="*/ 1120268 h 1353297"/>
              <a:gd name="connsiteX71" fmla="*/ 5887318 w 10678681"/>
              <a:gd name="connsiteY71" fmla="*/ 1133134 h 1353297"/>
              <a:gd name="connsiteX72" fmla="*/ 5861726 w 10678681"/>
              <a:gd name="connsiteY72" fmla="*/ 1147891 h 1353297"/>
              <a:gd name="connsiteX73" fmla="*/ 5805823 w 10678681"/>
              <a:gd name="connsiteY73" fmla="*/ 1152457 h 1353297"/>
              <a:gd name="connsiteX74" fmla="*/ 5689841 w 10678681"/>
              <a:gd name="connsiteY74" fmla="*/ 1176232 h 1353297"/>
              <a:gd name="connsiteX75" fmla="*/ 5605119 w 10678681"/>
              <a:gd name="connsiteY75" fmla="*/ 1190202 h 1353297"/>
              <a:gd name="connsiteX76" fmla="*/ 5488513 w 10678681"/>
              <a:gd name="connsiteY76" fmla="*/ 1205367 h 1353297"/>
              <a:gd name="connsiteX77" fmla="*/ 5402905 w 10678681"/>
              <a:gd name="connsiteY77" fmla="*/ 1241191 h 1353297"/>
              <a:gd name="connsiteX78" fmla="*/ 5285593 w 10678681"/>
              <a:gd name="connsiteY78" fmla="*/ 1273569 h 1353297"/>
              <a:gd name="connsiteX79" fmla="*/ 5192893 w 10678681"/>
              <a:gd name="connsiteY79" fmla="*/ 1247188 h 1353297"/>
              <a:gd name="connsiteX80" fmla="*/ 5186475 w 10678681"/>
              <a:gd name="connsiteY80" fmla="*/ 1257028 h 1353297"/>
              <a:gd name="connsiteX81" fmla="*/ 5126038 w 10678681"/>
              <a:gd name="connsiteY81" fmla="*/ 1263189 h 1353297"/>
              <a:gd name="connsiteX82" fmla="*/ 4894688 w 10678681"/>
              <a:gd name="connsiteY82" fmla="*/ 1247184 h 1353297"/>
              <a:gd name="connsiteX83" fmla="*/ 4788036 w 10678681"/>
              <a:gd name="connsiteY83" fmla="*/ 1238182 h 1353297"/>
              <a:gd name="connsiteX84" fmla="*/ 4747555 w 10678681"/>
              <a:gd name="connsiteY84" fmla="*/ 1252768 h 1353297"/>
              <a:gd name="connsiteX85" fmla="*/ 4679644 w 10678681"/>
              <a:gd name="connsiteY85" fmla="*/ 1276603 h 1353297"/>
              <a:gd name="connsiteX86" fmla="*/ 4632222 w 10678681"/>
              <a:gd name="connsiteY86" fmla="*/ 1318360 h 1353297"/>
              <a:gd name="connsiteX87" fmla="*/ 4617358 w 10678681"/>
              <a:gd name="connsiteY87" fmla="*/ 1327690 h 1353297"/>
              <a:gd name="connsiteX88" fmla="*/ 4589102 w 10678681"/>
              <a:gd name="connsiteY88" fmla="*/ 1321223 h 1353297"/>
              <a:gd name="connsiteX89" fmla="*/ 4578184 w 10678681"/>
              <a:gd name="connsiteY89" fmla="*/ 1326745 h 1353297"/>
              <a:gd name="connsiteX90" fmla="*/ 4574270 w 10678681"/>
              <a:gd name="connsiteY90" fmla="*/ 1325878 h 1353297"/>
              <a:gd name="connsiteX91" fmla="*/ 4564919 w 10678681"/>
              <a:gd name="connsiteY91" fmla="*/ 1325507 h 1353297"/>
              <a:gd name="connsiteX92" fmla="*/ 4566586 w 10678681"/>
              <a:gd name="connsiteY92" fmla="*/ 1316963 h 1353297"/>
              <a:gd name="connsiteX93" fmla="*/ 4556303 w 10678681"/>
              <a:gd name="connsiteY93" fmla="*/ 1300262 h 1353297"/>
              <a:gd name="connsiteX94" fmla="*/ 4502358 w 10678681"/>
              <a:gd name="connsiteY94" fmla="*/ 1302558 h 1353297"/>
              <a:gd name="connsiteX95" fmla="*/ 4498919 w 10678681"/>
              <a:gd name="connsiteY95" fmla="*/ 1312115 h 1353297"/>
              <a:gd name="connsiteX96" fmla="*/ 4492075 w 10678681"/>
              <a:gd name="connsiteY96" fmla="*/ 1313357 h 1353297"/>
              <a:gd name="connsiteX97" fmla="*/ 4487466 w 10678681"/>
              <a:gd name="connsiteY97" fmla="*/ 1304102 h 1353297"/>
              <a:gd name="connsiteX98" fmla="*/ 4398292 w 10678681"/>
              <a:gd name="connsiteY98" fmla="*/ 1278410 h 1353297"/>
              <a:gd name="connsiteX99" fmla="*/ 4306088 w 10678681"/>
              <a:gd name="connsiteY99" fmla="*/ 1282512 h 1353297"/>
              <a:gd name="connsiteX100" fmla="*/ 4188995 w 10678681"/>
              <a:gd name="connsiteY100" fmla="*/ 1296718 h 1353297"/>
              <a:gd name="connsiteX101" fmla="*/ 4136582 w 10678681"/>
              <a:gd name="connsiteY101" fmla="*/ 1287687 h 1353297"/>
              <a:gd name="connsiteX102" fmla="*/ 4064614 w 10678681"/>
              <a:gd name="connsiteY102" fmla="*/ 1296118 h 1353297"/>
              <a:gd name="connsiteX103" fmla="*/ 3906561 w 10678681"/>
              <a:gd name="connsiteY103" fmla="*/ 1352435 h 1353297"/>
              <a:gd name="connsiteX104" fmla="*/ 3787890 w 10678681"/>
              <a:gd name="connsiteY104" fmla="*/ 1352442 h 1353297"/>
              <a:gd name="connsiteX105" fmla="*/ 3745993 w 10678681"/>
              <a:gd name="connsiteY105" fmla="*/ 1342630 h 1353297"/>
              <a:gd name="connsiteX106" fmla="*/ 3675785 w 10678681"/>
              <a:gd name="connsiteY106" fmla="*/ 1326802 h 1353297"/>
              <a:gd name="connsiteX107" fmla="*/ 3623856 w 10678681"/>
              <a:gd name="connsiteY107" fmla="*/ 1290804 h 1353297"/>
              <a:gd name="connsiteX108" fmla="*/ 3564933 w 10678681"/>
              <a:gd name="connsiteY108" fmla="*/ 1287147 h 1353297"/>
              <a:gd name="connsiteX109" fmla="*/ 3550537 w 10678681"/>
              <a:gd name="connsiteY109" fmla="*/ 1317552 h 1353297"/>
              <a:gd name="connsiteX110" fmla="*/ 3487736 w 10678681"/>
              <a:gd name="connsiteY110" fmla="*/ 1303493 h 1353297"/>
              <a:gd name="connsiteX111" fmla="*/ 3392548 w 10678681"/>
              <a:gd name="connsiteY111" fmla="*/ 1278741 h 1353297"/>
              <a:gd name="connsiteX112" fmla="*/ 3337466 w 10678681"/>
              <a:gd name="connsiteY112" fmla="*/ 1272537 h 1353297"/>
              <a:gd name="connsiteX113" fmla="*/ 3187206 w 10678681"/>
              <a:gd name="connsiteY113" fmla="*/ 1246821 h 1353297"/>
              <a:gd name="connsiteX114" fmla="*/ 3036856 w 10678681"/>
              <a:gd name="connsiteY114" fmla="*/ 1214383 h 1353297"/>
              <a:gd name="connsiteX115" fmla="*/ 2824973 w 10678681"/>
              <a:gd name="connsiteY115" fmla="*/ 1134864 h 1353297"/>
              <a:gd name="connsiteX116" fmla="*/ 2804398 w 10678681"/>
              <a:gd name="connsiteY116" fmla="*/ 1125556 h 1353297"/>
              <a:gd name="connsiteX117" fmla="*/ 2775396 w 10678681"/>
              <a:gd name="connsiteY117" fmla="*/ 1130148 h 1353297"/>
              <a:gd name="connsiteX118" fmla="*/ 2659096 w 10678681"/>
              <a:gd name="connsiteY118" fmla="*/ 1150294 h 1353297"/>
              <a:gd name="connsiteX119" fmla="*/ 2567088 w 10678681"/>
              <a:gd name="connsiteY119" fmla="*/ 1181781 h 1353297"/>
              <a:gd name="connsiteX120" fmla="*/ 2454501 w 10678681"/>
              <a:gd name="connsiteY120" fmla="*/ 1155455 h 1353297"/>
              <a:gd name="connsiteX121" fmla="*/ 2385161 w 10678681"/>
              <a:gd name="connsiteY121" fmla="*/ 1161312 h 1353297"/>
              <a:gd name="connsiteX122" fmla="*/ 2273361 w 10678681"/>
              <a:gd name="connsiteY122" fmla="*/ 1134090 h 1353297"/>
              <a:gd name="connsiteX123" fmla="*/ 2132003 w 10678681"/>
              <a:gd name="connsiteY123" fmla="*/ 1139225 h 1353297"/>
              <a:gd name="connsiteX124" fmla="*/ 2041224 w 10678681"/>
              <a:gd name="connsiteY124" fmla="*/ 1147536 h 1353297"/>
              <a:gd name="connsiteX125" fmla="*/ 2010157 w 10678681"/>
              <a:gd name="connsiteY125" fmla="*/ 1152767 h 1353297"/>
              <a:gd name="connsiteX126" fmla="*/ 1859213 w 10678681"/>
              <a:gd name="connsiteY126" fmla="*/ 1199540 h 1353297"/>
              <a:gd name="connsiteX127" fmla="*/ 1735877 w 10678681"/>
              <a:gd name="connsiteY127" fmla="*/ 1246527 h 1353297"/>
              <a:gd name="connsiteX128" fmla="*/ 1705069 w 10678681"/>
              <a:gd name="connsiteY128" fmla="*/ 1251989 h 1353297"/>
              <a:gd name="connsiteX129" fmla="*/ 1307888 w 10678681"/>
              <a:gd name="connsiteY129" fmla="*/ 1283156 h 1353297"/>
              <a:gd name="connsiteX130" fmla="*/ 1220734 w 10678681"/>
              <a:gd name="connsiteY130" fmla="*/ 1257811 h 1353297"/>
              <a:gd name="connsiteX131" fmla="*/ 1021737 w 10678681"/>
              <a:gd name="connsiteY131" fmla="*/ 1238739 h 1353297"/>
              <a:gd name="connsiteX132" fmla="*/ 959820 w 10678681"/>
              <a:gd name="connsiteY132" fmla="*/ 1275863 h 1353297"/>
              <a:gd name="connsiteX133" fmla="*/ 929137 w 10678681"/>
              <a:gd name="connsiteY133" fmla="*/ 1273957 h 1353297"/>
              <a:gd name="connsiteX134" fmla="*/ 878849 w 10678681"/>
              <a:gd name="connsiteY134" fmla="*/ 1266740 h 1353297"/>
              <a:gd name="connsiteX135" fmla="*/ 800667 w 10678681"/>
              <a:gd name="connsiteY135" fmla="*/ 1282041 h 1353297"/>
              <a:gd name="connsiteX136" fmla="*/ 644906 w 10678681"/>
              <a:gd name="connsiteY136" fmla="*/ 1273685 h 1353297"/>
              <a:gd name="connsiteX137" fmla="*/ 379869 w 10678681"/>
              <a:gd name="connsiteY137" fmla="*/ 1339165 h 1353297"/>
              <a:gd name="connsiteX138" fmla="*/ 137696 w 10678681"/>
              <a:gd name="connsiteY138" fmla="*/ 1319217 h 1353297"/>
              <a:gd name="connsiteX139" fmla="*/ 54250 w 10678681"/>
              <a:gd name="connsiteY139" fmla="*/ 1315838 h 1353297"/>
              <a:gd name="connsiteX140" fmla="*/ 28042 w 10678681"/>
              <a:gd name="connsiteY140" fmla="*/ 1297822 h 1353297"/>
              <a:gd name="connsiteX141" fmla="*/ 0 w 10678681"/>
              <a:gd name="connsiteY141" fmla="*/ 1294612 h 1353297"/>
              <a:gd name="connsiteX142" fmla="*/ 0 w 10678681"/>
              <a:gd name="connsiteY142" fmla="*/ 0 h 1353297"/>
              <a:gd name="connsiteX0" fmla="*/ 0 w 10678681"/>
              <a:gd name="connsiteY0" fmla="*/ 0 h 1353297"/>
              <a:gd name="connsiteX1" fmla="*/ 10678681 w 10678681"/>
              <a:gd name="connsiteY1" fmla="*/ 0 h 1353297"/>
              <a:gd name="connsiteX2" fmla="*/ 10666019 w 10678681"/>
              <a:gd name="connsiteY2" fmla="*/ 7876 h 1353297"/>
              <a:gd name="connsiteX3" fmla="*/ 10632825 w 10678681"/>
              <a:gd name="connsiteY3" fmla="*/ 32153 h 1353297"/>
              <a:gd name="connsiteX4" fmla="*/ 10510605 w 10678681"/>
              <a:gd name="connsiteY4" fmla="*/ 30449 h 1353297"/>
              <a:gd name="connsiteX5" fmla="*/ 10456989 w 10678681"/>
              <a:gd name="connsiteY5" fmla="*/ 979 h 1353297"/>
              <a:gd name="connsiteX6" fmla="*/ 10438642 w 10678681"/>
              <a:gd name="connsiteY6" fmla="*/ 1524 h 1353297"/>
              <a:gd name="connsiteX7" fmla="*/ 10407146 w 10678681"/>
              <a:gd name="connsiteY7" fmla="*/ 43659 h 1353297"/>
              <a:gd name="connsiteX8" fmla="*/ 10357996 w 10678681"/>
              <a:gd name="connsiteY8" fmla="*/ 50836 h 1353297"/>
              <a:gd name="connsiteX9" fmla="*/ 10306667 w 10678681"/>
              <a:gd name="connsiteY9" fmla="*/ 109739 h 1353297"/>
              <a:gd name="connsiteX10" fmla="*/ 10115334 w 10678681"/>
              <a:gd name="connsiteY10" fmla="*/ 155658 h 1353297"/>
              <a:gd name="connsiteX11" fmla="*/ 10068157 w 10678681"/>
              <a:gd name="connsiteY11" fmla="*/ 215673 h 1353297"/>
              <a:gd name="connsiteX12" fmla="*/ 10045431 w 10678681"/>
              <a:gd name="connsiteY12" fmla="*/ 229568 h 1353297"/>
              <a:gd name="connsiteX13" fmla="*/ 10013265 w 10678681"/>
              <a:gd name="connsiteY13" fmla="*/ 284757 h 1353297"/>
              <a:gd name="connsiteX14" fmla="*/ 9862496 w 10678681"/>
              <a:gd name="connsiteY14" fmla="*/ 223033 h 1353297"/>
              <a:gd name="connsiteX15" fmla="*/ 9679638 w 10678681"/>
              <a:gd name="connsiteY15" fmla="*/ 277462 h 1353297"/>
              <a:gd name="connsiteX16" fmla="*/ 9498347 w 10678681"/>
              <a:gd name="connsiteY16" fmla="*/ 244723 h 1353297"/>
              <a:gd name="connsiteX17" fmla="*/ 9399702 w 10678681"/>
              <a:gd name="connsiteY17" fmla="*/ 276316 h 1353297"/>
              <a:gd name="connsiteX18" fmla="*/ 9378439 w 10678681"/>
              <a:gd name="connsiteY18" fmla="*/ 326244 h 1353297"/>
              <a:gd name="connsiteX19" fmla="*/ 9121744 w 10678681"/>
              <a:gd name="connsiteY19" fmla="*/ 365177 h 1353297"/>
              <a:gd name="connsiteX20" fmla="*/ 9061654 w 10678681"/>
              <a:gd name="connsiteY20" fmla="*/ 393730 h 1353297"/>
              <a:gd name="connsiteX21" fmla="*/ 8997577 w 10678681"/>
              <a:gd name="connsiteY21" fmla="*/ 380865 h 1353297"/>
              <a:gd name="connsiteX22" fmla="*/ 8907968 w 10678681"/>
              <a:gd name="connsiteY22" fmla="*/ 447345 h 1353297"/>
              <a:gd name="connsiteX23" fmla="*/ 8764163 w 10678681"/>
              <a:gd name="connsiteY23" fmla="*/ 471000 h 1353297"/>
              <a:gd name="connsiteX24" fmla="*/ 8680155 w 10678681"/>
              <a:gd name="connsiteY24" fmla="*/ 492404 h 1353297"/>
              <a:gd name="connsiteX25" fmla="*/ 8651436 w 10678681"/>
              <a:gd name="connsiteY25" fmla="*/ 511923 h 1353297"/>
              <a:gd name="connsiteX26" fmla="*/ 8609185 w 10678681"/>
              <a:gd name="connsiteY26" fmla="*/ 531525 h 1353297"/>
              <a:gd name="connsiteX27" fmla="*/ 8537091 w 10678681"/>
              <a:gd name="connsiteY27" fmla="*/ 574933 h 1353297"/>
              <a:gd name="connsiteX28" fmla="*/ 8435931 w 10678681"/>
              <a:gd name="connsiteY28" fmla="*/ 617926 h 1353297"/>
              <a:gd name="connsiteX29" fmla="*/ 8348623 w 10678681"/>
              <a:gd name="connsiteY29" fmla="*/ 600607 h 1353297"/>
              <a:gd name="connsiteX30" fmla="*/ 8344233 w 10678681"/>
              <a:gd name="connsiteY30" fmla="*/ 610922 h 1353297"/>
              <a:gd name="connsiteX31" fmla="*/ 8290622 w 10678681"/>
              <a:gd name="connsiteY31" fmla="*/ 622687 h 1353297"/>
              <a:gd name="connsiteX32" fmla="*/ 8086698 w 10678681"/>
              <a:gd name="connsiteY32" fmla="*/ 605185 h 1353297"/>
              <a:gd name="connsiteX33" fmla="*/ 7982378 w 10678681"/>
              <a:gd name="connsiteY33" fmla="*/ 629799 h 1353297"/>
              <a:gd name="connsiteX34" fmla="*/ 7947952 w 10678681"/>
              <a:gd name="connsiteY34" fmla="*/ 648003 h 1353297"/>
              <a:gd name="connsiteX35" fmla="*/ 7890112 w 10678681"/>
              <a:gd name="connsiteY35" fmla="*/ 677915 h 1353297"/>
              <a:gd name="connsiteX36" fmla="*/ 7853284 w 10678681"/>
              <a:gd name="connsiteY36" fmla="*/ 723588 h 1353297"/>
              <a:gd name="connsiteX37" fmla="*/ 7802383 w 10678681"/>
              <a:gd name="connsiteY37" fmla="*/ 739359 h 1353297"/>
              <a:gd name="connsiteX38" fmla="*/ 7730518 w 10678681"/>
              <a:gd name="connsiteY38" fmla="*/ 739526 h 1353297"/>
              <a:gd name="connsiteX39" fmla="*/ 7652907 w 10678681"/>
              <a:gd name="connsiteY39" fmla="*/ 783273 h 1353297"/>
              <a:gd name="connsiteX40" fmla="*/ 7606008 w 10678681"/>
              <a:gd name="connsiteY40" fmla="*/ 800717 h 1353297"/>
              <a:gd name="connsiteX41" fmla="*/ 7480223 w 10678681"/>
              <a:gd name="connsiteY41" fmla="*/ 856821 h 1353297"/>
              <a:gd name="connsiteX42" fmla="*/ 7356005 w 10678681"/>
              <a:gd name="connsiteY42" fmla="*/ 919462 h 1353297"/>
              <a:gd name="connsiteX43" fmla="*/ 7305396 w 10678681"/>
              <a:gd name="connsiteY43" fmla="*/ 986228 h 1353297"/>
              <a:gd name="connsiteX44" fmla="*/ 7266251 w 10678681"/>
              <a:gd name="connsiteY44" fmla="*/ 967864 h 1353297"/>
              <a:gd name="connsiteX45" fmla="*/ 7269396 w 10678681"/>
              <a:gd name="connsiteY45" fmla="*/ 989282 h 1353297"/>
              <a:gd name="connsiteX46" fmla="*/ 7258094 w 10678681"/>
              <a:gd name="connsiteY46" fmla="*/ 990679 h 1353297"/>
              <a:gd name="connsiteX47" fmla="*/ 7257893 w 10678681"/>
              <a:gd name="connsiteY47" fmla="*/ 991204 h 1353297"/>
              <a:gd name="connsiteX48" fmla="*/ 7247153 w 10678681"/>
              <a:gd name="connsiteY48" fmla="*/ 991550 h 1353297"/>
              <a:gd name="connsiteX49" fmla="*/ 7193612 w 10678681"/>
              <a:gd name="connsiteY49" fmla="*/ 987042 h 1353297"/>
              <a:gd name="connsiteX50" fmla="*/ 7132632 w 10678681"/>
              <a:gd name="connsiteY50" fmla="*/ 1042036 h 1353297"/>
              <a:gd name="connsiteX51" fmla="*/ 7105610 w 10678681"/>
              <a:gd name="connsiteY51" fmla="*/ 1053537 h 1353297"/>
              <a:gd name="connsiteX52" fmla="*/ 7069148 w 10678681"/>
              <a:gd name="connsiteY52" fmla="*/ 1047163 h 1353297"/>
              <a:gd name="connsiteX53" fmla="*/ 7039634 w 10678681"/>
              <a:gd name="connsiteY53" fmla="*/ 1059971 h 1353297"/>
              <a:gd name="connsiteX54" fmla="*/ 7033445 w 10678681"/>
              <a:gd name="connsiteY54" fmla="*/ 1063314 h 1353297"/>
              <a:gd name="connsiteX55" fmla="*/ 6999157 w 10678681"/>
              <a:gd name="connsiteY55" fmla="*/ 1055282 h 1353297"/>
              <a:gd name="connsiteX56" fmla="*/ 6981874 w 10678681"/>
              <a:gd name="connsiteY56" fmla="*/ 1053827 h 1353297"/>
              <a:gd name="connsiteX57" fmla="*/ 6976102 w 10678681"/>
              <a:gd name="connsiteY57" fmla="*/ 1047854 h 1353297"/>
              <a:gd name="connsiteX58" fmla="*/ 6951040 w 10678681"/>
              <a:gd name="connsiteY58" fmla="*/ 1048531 h 1353297"/>
              <a:gd name="connsiteX59" fmla="*/ 6948497 w 10678681"/>
              <a:gd name="connsiteY59" fmla="*/ 1050706 h 1353297"/>
              <a:gd name="connsiteX60" fmla="*/ 6926582 w 10678681"/>
              <a:gd name="connsiteY60" fmla="*/ 1043462 h 1353297"/>
              <a:gd name="connsiteX61" fmla="*/ 6833743 w 10678681"/>
              <a:gd name="connsiteY61" fmla="*/ 1027960 h 1353297"/>
              <a:gd name="connsiteX62" fmla="*/ 6687090 w 10678681"/>
              <a:gd name="connsiteY62" fmla="*/ 1063250 h 1353297"/>
              <a:gd name="connsiteX63" fmla="*/ 6437450 w 10678681"/>
              <a:gd name="connsiteY63" fmla="*/ 1101075 h 1353297"/>
              <a:gd name="connsiteX64" fmla="*/ 6327795 w 10678681"/>
              <a:gd name="connsiteY64" fmla="*/ 1088142 h 1353297"/>
              <a:gd name="connsiteX65" fmla="*/ 6136549 w 10678681"/>
              <a:gd name="connsiteY65" fmla="*/ 1100268 h 1353297"/>
              <a:gd name="connsiteX66" fmla="*/ 6004655 w 10678681"/>
              <a:gd name="connsiteY66" fmla="*/ 1114946 h 1353297"/>
              <a:gd name="connsiteX67" fmla="*/ 5936643 w 10678681"/>
              <a:gd name="connsiteY67" fmla="*/ 1095428 h 1353297"/>
              <a:gd name="connsiteX68" fmla="*/ 5912484 w 10678681"/>
              <a:gd name="connsiteY68" fmla="*/ 1112624 h 1353297"/>
              <a:gd name="connsiteX69" fmla="*/ 5908387 w 10678681"/>
              <a:gd name="connsiteY69" fmla="*/ 1116018 h 1353297"/>
              <a:gd name="connsiteX70" fmla="*/ 5890495 w 10678681"/>
              <a:gd name="connsiteY70" fmla="*/ 1120268 h 1353297"/>
              <a:gd name="connsiteX71" fmla="*/ 5887318 w 10678681"/>
              <a:gd name="connsiteY71" fmla="*/ 1133134 h 1353297"/>
              <a:gd name="connsiteX72" fmla="*/ 5861726 w 10678681"/>
              <a:gd name="connsiteY72" fmla="*/ 1147891 h 1353297"/>
              <a:gd name="connsiteX73" fmla="*/ 5805823 w 10678681"/>
              <a:gd name="connsiteY73" fmla="*/ 1152457 h 1353297"/>
              <a:gd name="connsiteX74" fmla="*/ 5689841 w 10678681"/>
              <a:gd name="connsiteY74" fmla="*/ 1176232 h 1353297"/>
              <a:gd name="connsiteX75" fmla="*/ 5605119 w 10678681"/>
              <a:gd name="connsiteY75" fmla="*/ 1190202 h 1353297"/>
              <a:gd name="connsiteX76" fmla="*/ 5488513 w 10678681"/>
              <a:gd name="connsiteY76" fmla="*/ 1205367 h 1353297"/>
              <a:gd name="connsiteX77" fmla="*/ 5402905 w 10678681"/>
              <a:gd name="connsiteY77" fmla="*/ 1241191 h 1353297"/>
              <a:gd name="connsiteX78" fmla="*/ 5285593 w 10678681"/>
              <a:gd name="connsiteY78" fmla="*/ 1273569 h 1353297"/>
              <a:gd name="connsiteX79" fmla="*/ 5192893 w 10678681"/>
              <a:gd name="connsiteY79" fmla="*/ 1247188 h 1353297"/>
              <a:gd name="connsiteX80" fmla="*/ 5186475 w 10678681"/>
              <a:gd name="connsiteY80" fmla="*/ 1257028 h 1353297"/>
              <a:gd name="connsiteX81" fmla="*/ 5126038 w 10678681"/>
              <a:gd name="connsiteY81" fmla="*/ 1263189 h 1353297"/>
              <a:gd name="connsiteX82" fmla="*/ 4894688 w 10678681"/>
              <a:gd name="connsiteY82" fmla="*/ 1247184 h 1353297"/>
              <a:gd name="connsiteX83" fmla="*/ 4788036 w 10678681"/>
              <a:gd name="connsiteY83" fmla="*/ 1238182 h 1353297"/>
              <a:gd name="connsiteX84" fmla="*/ 4747555 w 10678681"/>
              <a:gd name="connsiteY84" fmla="*/ 1252768 h 1353297"/>
              <a:gd name="connsiteX85" fmla="*/ 4679644 w 10678681"/>
              <a:gd name="connsiteY85" fmla="*/ 1276603 h 1353297"/>
              <a:gd name="connsiteX86" fmla="*/ 4632222 w 10678681"/>
              <a:gd name="connsiteY86" fmla="*/ 1318360 h 1353297"/>
              <a:gd name="connsiteX87" fmla="*/ 4617358 w 10678681"/>
              <a:gd name="connsiteY87" fmla="*/ 1327690 h 1353297"/>
              <a:gd name="connsiteX88" fmla="*/ 4589102 w 10678681"/>
              <a:gd name="connsiteY88" fmla="*/ 1321223 h 1353297"/>
              <a:gd name="connsiteX89" fmla="*/ 4578184 w 10678681"/>
              <a:gd name="connsiteY89" fmla="*/ 1326745 h 1353297"/>
              <a:gd name="connsiteX90" fmla="*/ 4574270 w 10678681"/>
              <a:gd name="connsiteY90" fmla="*/ 1325878 h 1353297"/>
              <a:gd name="connsiteX91" fmla="*/ 4564919 w 10678681"/>
              <a:gd name="connsiteY91" fmla="*/ 1325507 h 1353297"/>
              <a:gd name="connsiteX92" fmla="*/ 4566586 w 10678681"/>
              <a:gd name="connsiteY92" fmla="*/ 1316963 h 1353297"/>
              <a:gd name="connsiteX93" fmla="*/ 4556303 w 10678681"/>
              <a:gd name="connsiteY93" fmla="*/ 1300262 h 1353297"/>
              <a:gd name="connsiteX94" fmla="*/ 4502358 w 10678681"/>
              <a:gd name="connsiteY94" fmla="*/ 1302558 h 1353297"/>
              <a:gd name="connsiteX95" fmla="*/ 4498919 w 10678681"/>
              <a:gd name="connsiteY95" fmla="*/ 1312115 h 1353297"/>
              <a:gd name="connsiteX96" fmla="*/ 4492075 w 10678681"/>
              <a:gd name="connsiteY96" fmla="*/ 1313357 h 1353297"/>
              <a:gd name="connsiteX97" fmla="*/ 4487466 w 10678681"/>
              <a:gd name="connsiteY97" fmla="*/ 1304102 h 1353297"/>
              <a:gd name="connsiteX98" fmla="*/ 4398292 w 10678681"/>
              <a:gd name="connsiteY98" fmla="*/ 1278410 h 1353297"/>
              <a:gd name="connsiteX99" fmla="*/ 4306088 w 10678681"/>
              <a:gd name="connsiteY99" fmla="*/ 1282512 h 1353297"/>
              <a:gd name="connsiteX100" fmla="*/ 4188995 w 10678681"/>
              <a:gd name="connsiteY100" fmla="*/ 1296718 h 1353297"/>
              <a:gd name="connsiteX101" fmla="*/ 4136582 w 10678681"/>
              <a:gd name="connsiteY101" fmla="*/ 1287687 h 1353297"/>
              <a:gd name="connsiteX102" fmla="*/ 4064614 w 10678681"/>
              <a:gd name="connsiteY102" fmla="*/ 1296118 h 1353297"/>
              <a:gd name="connsiteX103" fmla="*/ 3906561 w 10678681"/>
              <a:gd name="connsiteY103" fmla="*/ 1352435 h 1353297"/>
              <a:gd name="connsiteX104" fmla="*/ 3787890 w 10678681"/>
              <a:gd name="connsiteY104" fmla="*/ 1352442 h 1353297"/>
              <a:gd name="connsiteX105" fmla="*/ 3745993 w 10678681"/>
              <a:gd name="connsiteY105" fmla="*/ 1342630 h 1353297"/>
              <a:gd name="connsiteX106" fmla="*/ 3675785 w 10678681"/>
              <a:gd name="connsiteY106" fmla="*/ 1326802 h 1353297"/>
              <a:gd name="connsiteX107" fmla="*/ 3623856 w 10678681"/>
              <a:gd name="connsiteY107" fmla="*/ 1290804 h 1353297"/>
              <a:gd name="connsiteX108" fmla="*/ 3564933 w 10678681"/>
              <a:gd name="connsiteY108" fmla="*/ 1287147 h 1353297"/>
              <a:gd name="connsiteX109" fmla="*/ 3550537 w 10678681"/>
              <a:gd name="connsiteY109" fmla="*/ 1317552 h 1353297"/>
              <a:gd name="connsiteX110" fmla="*/ 3487736 w 10678681"/>
              <a:gd name="connsiteY110" fmla="*/ 1303493 h 1353297"/>
              <a:gd name="connsiteX111" fmla="*/ 3392548 w 10678681"/>
              <a:gd name="connsiteY111" fmla="*/ 1278741 h 1353297"/>
              <a:gd name="connsiteX112" fmla="*/ 3337466 w 10678681"/>
              <a:gd name="connsiteY112" fmla="*/ 1272537 h 1353297"/>
              <a:gd name="connsiteX113" fmla="*/ 3187206 w 10678681"/>
              <a:gd name="connsiteY113" fmla="*/ 1246821 h 1353297"/>
              <a:gd name="connsiteX114" fmla="*/ 3036856 w 10678681"/>
              <a:gd name="connsiteY114" fmla="*/ 1214383 h 1353297"/>
              <a:gd name="connsiteX115" fmla="*/ 2824973 w 10678681"/>
              <a:gd name="connsiteY115" fmla="*/ 1134864 h 1353297"/>
              <a:gd name="connsiteX116" fmla="*/ 2804398 w 10678681"/>
              <a:gd name="connsiteY116" fmla="*/ 1125556 h 1353297"/>
              <a:gd name="connsiteX117" fmla="*/ 2736109 w 10678681"/>
              <a:gd name="connsiteY117" fmla="*/ 1137717 h 1353297"/>
              <a:gd name="connsiteX118" fmla="*/ 2659096 w 10678681"/>
              <a:gd name="connsiteY118" fmla="*/ 1150294 h 1353297"/>
              <a:gd name="connsiteX119" fmla="*/ 2567088 w 10678681"/>
              <a:gd name="connsiteY119" fmla="*/ 1181781 h 1353297"/>
              <a:gd name="connsiteX120" fmla="*/ 2454501 w 10678681"/>
              <a:gd name="connsiteY120" fmla="*/ 1155455 h 1353297"/>
              <a:gd name="connsiteX121" fmla="*/ 2385161 w 10678681"/>
              <a:gd name="connsiteY121" fmla="*/ 1161312 h 1353297"/>
              <a:gd name="connsiteX122" fmla="*/ 2273361 w 10678681"/>
              <a:gd name="connsiteY122" fmla="*/ 1134090 h 1353297"/>
              <a:gd name="connsiteX123" fmla="*/ 2132003 w 10678681"/>
              <a:gd name="connsiteY123" fmla="*/ 1139225 h 1353297"/>
              <a:gd name="connsiteX124" fmla="*/ 2041224 w 10678681"/>
              <a:gd name="connsiteY124" fmla="*/ 1147536 h 1353297"/>
              <a:gd name="connsiteX125" fmla="*/ 2010157 w 10678681"/>
              <a:gd name="connsiteY125" fmla="*/ 1152767 h 1353297"/>
              <a:gd name="connsiteX126" fmla="*/ 1859213 w 10678681"/>
              <a:gd name="connsiteY126" fmla="*/ 1199540 h 1353297"/>
              <a:gd name="connsiteX127" fmla="*/ 1735877 w 10678681"/>
              <a:gd name="connsiteY127" fmla="*/ 1246527 h 1353297"/>
              <a:gd name="connsiteX128" fmla="*/ 1705069 w 10678681"/>
              <a:gd name="connsiteY128" fmla="*/ 1251989 h 1353297"/>
              <a:gd name="connsiteX129" fmla="*/ 1307888 w 10678681"/>
              <a:gd name="connsiteY129" fmla="*/ 1283156 h 1353297"/>
              <a:gd name="connsiteX130" fmla="*/ 1220734 w 10678681"/>
              <a:gd name="connsiteY130" fmla="*/ 1257811 h 1353297"/>
              <a:gd name="connsiteX131" fmla="*/ 1021737 w 10678681"/>
              <a:gd name="connsiteY131" fmla="*/ 1238739 h 1353297"/>
              <a:gd name="connsiteX132" fmla="*/ 959820 w 10678681"/>
              <a:gd name="connsiteY132" fmla="*/ 1275863 h 1353297"/>
              <a:gd name="connsiteX133" fmla="*/ 929137 w 10678681"/>
              <a:gd name="connsiteY133" fmla="*/ 1273957 h 1353297"/>
              <a:gd name="connsiteX134" fmla="*/ 878849 w 10678681"/>
              <a:gd name="connsiteY134" fmla="*/ 1266740 h 1353297"/>
              <a:gd name="connsiteX135" fmla="*/ 800667 w 10678681"/>
              <a:gd name="connsiteY135" fmla="*/ 1282041 h 1353297"/>
              <a:gd name="connsiteX136" fmla="*/ 644906 w 10678681"/>
              <a:gd name="connsiteY136" fmla="*/ 1273685 h 1353297"/>
              <a:gd name="connsiteX137" fmla="*/ 379869 w 10678681"/>
              <a:gd name="connsiteY137" fmla="*/ 1339165 h 1353297"/>
              <a:gd name="connsiteX138" fmla="*/ 137696 w 10678681"/>
              <a:gd name="connsiteY138" fmla="*/ 1319217 h 1353297"/>
              <a:gd name="connsiteX139" fmla="*/ 54250 w 10678681"/>
              <a:gd name="connsiteY139" fmla="*/ 1315838 h 1353297"/>
              <a:gd name="connsiteX140" fmla="*/ 28042 w 10678681"/>
              <a:gd name="connsiteY140" fmla="*/ 1297822 h 1353297"/>
              <a:gd name="connsiteX141" fmla="*/ 0 w 10678681"/>
              <a:gd name="connsiteY141" fmla="*/ 1294612 h 1353297"/>
              <a:gd name="connsiteX142" fmla="*/ 0 w 10678681"/>
              <a:gd name="connsiteY142" fmla="*/ 0 h 1353297"/>
              <a:gd name="connsiteX0" fmla="*/ 0 w 10678681"/>
              <a:gd name="connsiteY0" fmla="*/ 0 h 1353297"/>
              <a:gd name="connsiteX1" fmla="*/ 10678681 w 10678681"/>
              <a:gd name="connsiteY1" fmla="*/ 0 h 1353297"/>
              <a:gd name="connsiteX2" fmla="*/ 10666019 w 10678681"/>
              <a:gd name="connsiteY2" fmla="*/ 7876 h 1353297"/>
              <a:gd name="connsiteX3" fmla="*/ 10632825 w 10678681"/>
              <a:gd name="connsiteY3" fmla="*/ 32153 h 1353297"/>
              <a:gd name="connsiteX4" fmla="*/ 10510605 w 10678681"/>
              <a:gd name="connsiteY4" fmla="*/ 30449 h 1353297"/>
              <a:gd name="connsiteX5" fmla="*/ 10456989 w 10678681"/>
              <a:gd name="connsiteY5" fmla="*/ 979 h 1353297"/>
              <a:gd name="connsiteX6" fmla="*/ 10438642 w 10678681"/>
              <a:gd name="connsiteY6" fmla="*/ 1524 h 1353297"/>
              <a:gd name="connsiteX7" fmla="*/ 10407146 w 10678681"/>
              <a:gd name="connsiteY7" fmla="*/ 43659 h 1353297"/>
              <a:gd name="connsiteX8" fmla="*/ 10357996 w 10678681"/>
              <a:gd name="connsiteY8" fmla="*/ 50836 h 1353297"/>
              <a:gd name="connsiteX9" fmla="*/ 10306667 w 10678681"/>
              <a:gd name="connsiteY9" fmla="*/ 109739 h 1353297"/>
              <a:gd name="connsiteX10" fmla="*/ 10115334 w 10678681"/>
              <a:gd name="connsiteY10" fmla="*/ 155658 h 1353297"/>
              <a:gd name="connsiteX11" fmla="*/ 10068157 w 10678681"/>
              <a:gd name="connsiteY11" fmla="*/ 215673 h 1353297"/>
              <a:gd name="connsiteX12" fmla="*/ 10045431 w 10678681"/>
              <a:gd name="connsiteY12" fmla="*/ 229568 h 1353297"/>
              <a:gd name="connsiteX13" fmla="*/ 10013265 w 10678681"/>
              <a:gd name="connsiteY13" fmla="*/ 284757 h 1353297"/>
              <a:gd name="connsiteX14" fmla="*/ 9862496 w 10678681"/>
              <a:gd name="connsiteY14" fmla="*/ 223033 h 1353297"/>
              <a:gd name="connsiteX15" fmla="*/ 9679638 w 10678681"/>
              <a:gd name="connsiteY15" fmla="*/ 277462 h 1353297"/>
              <a:gd name="connsiteX16" fmla="*/ 9498347 w 10678681"/>
              <a:gd name="connsiteY16" fmla="*/ 244723 h 1353297"/>
              <a:gd name="connsiteX17" fmla="*/ 9399702 w 10678681"/>
              <a:gd name="connsiteY17" fmla="*/ 276316 h 1353297"/>
              <a:gd name="connsiteX18" fmla="*/ 9378439 w 10678681"/>
              <a:gd name="connsiteY18" fmla="*/ 326244 h 1353297"/>
              <a:gd name="connsiteX19" fmla="*/ 9121744 w 10678681"/>
              <a:gd name="connsiteY19" fmla="*/ 365177 h 1353297"/>
              <a:gd name="connsiteX20" fmla="*/ 9061654 w 10678681"/>
              <a:gd name="connsiteY20" fmla="*/ 393730 h 1353297"/>
              <a:gd name="connsiteX21" fmla="*/ 8997577 w 10678681"/>
              <a:gd name="connsiteY21" fmla="*/ 380865 h 1353297"/>
              <a:gd name="connsiteX22" fmla="*/ 8907968 w 10678681"/>
              <a:gd name="connsiteY22" fmla="*/ 447345 h 1353297"/>
              <a:gd name="connsiteX23" fmla="*/ 8764163 w 10678681"/>
              <a:gd name="connsiteY23" fmla="*/ 471000 h 1353297"/>
              <a:gd name="connsiteX24" fmla="*/ 8680155 w 10678681"/>
              <a:gd name="connsiteY24" fmla="*/ 492404 h 1353297"/>
              <a:gd name="connsiteX25" fmla="*/ 8651436 w 10678681"/>
              <a:gd name="connsiteY25" fmla="*/ 511923 h 1353297"/>
              <a:gd name="connsiteX26" fmla="*/ 8609185 w 10678681"/>
              <a:gd name="connsiteY26" fmla="*/ 531525 h 1353297"/>
              <a:gd name="connsiteX27" fmla="*/ 8537091 w 10678681"/>
              <a:gd name="connsiteY27" fmla="*/ 574933 h 1353297"/>
              <a:gd name="connsiteX28" fmla="*/ 8435931 w 10678681"/>
              <a:gd name="connsiteY28" fmla="*/ 617926 h 1353297"/>
              <a:gd name="connsiteX29" fmla="*/ 8348623 w 10678681"/>
              <a:gd name="connsiteY29" fmla="*/ 600607 h 1353297"/>
              <a:gd name="connsiteX30" fmla="*/ 8344233 w 10678681"/>
              <a:gd name="connsiteY30" fmla="*/ 610922 h 1353297"/>
              <a:gd name="connsiteX31" fmla="*/ 8290622 w 10678681"/>
              <a:gd name="connsiteY31" fmla="*/ 622687 h 1353297"/>
              <a:gd name="connsiteX32" fmla="*/ 8086698 w 10678681"/>
              <a:gd name="connsiteY32" fmla="*/ 605185 h 1353297"/>
              <a:gd name="connsiteX33" fmla="*/ 7982378 w 10678681"/>
              <a:gd name="connsiteY33" fmla="*/ 629799 h 1353297"/>
              <a:gd name="connsiteX34" fmla="*/ 7947952 w 10678681"/>
              <a:gd name="connsiteY34" fmla="*/ 648003 h 1353297"/>
              <a:gd name="connsiteX35" fmla="*/ 7890112 w 10678681"/>
              <a:gd name="connsiteY35" fmla="*/ 677915 h 1353297"/>
              <a:gd name="connsiteX36" fmla="*/ 7853284 w 10678681"/>
              <a:gd name="connsiteY36" fmla="*/ 723588 h 1353297"/>
              <a:gd name="connsiteX37" fmla="*/ 7802383 w 10678681"/>
              <a:gd name="connsiteY37" fmla="*/ 739359 h 1353297"/>
              <a:gd name="connsiteX38" fmla="*/ 7730518 w 10678681"/>
              <a:gd name="connsiteY38" fmla="*/ 739526 h 1353297"/>
              <a:gd name="connsiteX39" fmla="*/ 7652907 w 10678681"/>
              <a:gd name="connsiteY39" fmla="*/ 783273 h 1353297"/>
              <a:gd name="connsiteX40" fmla="*/ 7606008 w 10678681"/>
              <a:gd name="connsiteY40" fmla="*/ 800717 h 1353297"/>
              <a:gd name="connsiteX41" fmla="*/ 7480223 w 10678681"/>
              <a:gd name="connsiteY41" fmla="*/ 856821 h 1353297"/>
              <a:gd name="connsiteX42" fmla="*/ 7356005 w 10678681"/>
              <a:gd name="connsiteY42" fmla="*/ 919462 h 1353297"/>
              <a:gd name="connsiteX43" fmla="*/ 7305396 w 10678681"/>
              <a:gd name="connsiteY43" fmla="*/ 986228 h 1353297"/>
              <a:gd name="connsiteX44" fmla="*/ 7266251 w 10678681"/>
              <a:gd name="connsiteY44" fmla="*/ 967864 h 1353297"/>
              <a:gd name="connsiteX45" fmla="*/ 7269396 w 10678681"/>
              <a:gd name="connsiteY45" fmla="*/ 989282 h 1353297"/>
              <a:gd name="connsiteX46" fmla="*/ 7258094 w 10678681"/>
              <a:gd name="connsiteY46" fmla="*/ 990679 h 1353297"/>
              <a:gd name="connsiteX47" fmla="*/ 7257893 w 10678681"/>
              <a:gd name="connsiteY47" fmla="*/ 991204 h 1353297"/>
              <a:gd name="connsiteX48" fmla="*/ 7247153 w 10678681"/>
              <a:gd name="connsiteY48" fmla="*/ 991550 h 1353297"/>
              <a:gd name="connsiteX49" fmla="*/ 7193612 w 10678681"/>
              <a:gd name="connsiteY49" fmla="*/ 987042 h 1353297"/>
              <a:gd name="connsiteX50" fmla="*/ 7132632 w 10678681"/>
              <a:gd name="connsiteY50" fmla="*/ 1042036 h 1353297"/>
              <a:gd name="connsiteX51" fmla="*/ 7105610 w 10678681"/>
              <a:gd name="connsiteY51" fmla="*/ 1053537 h 1353297"/>
              <a:gd name="connsiteX52" fmla="*/ 7069148 w 10678681"/>
              <a:gd name="connsiteY52" fmla="*/ 1047163 h 1353297"/>
              <a:gd name="connsiteX53" fmla="*/ 7039634 w 10678681"/>
              <a:gd name="connsiteY53" fmla="*/ 1059971 h 1353297"/>
              <a:gd name="connsiteX54" fmla="*/ 7033445 w 10678681"/>
              <a:gd name="connsiteY54" fmla="*/ 1063314 h 1353297"/>
              <a:gd name="connsiteX55" fmla="*/ 6999157 w 10678681"/>
              <a:gd name="connsiteY55" fmla="*/ 1055282 h 1353297"/>
              <a:gd name="connsiteX56" fmla="*/ 6981874 w 10678681"/>
              <a:gd name="connsiteY56" fmla="*/ 1053827 h 1353297"/>
              <a:gd name="connsiteX57" fmla="*/ 6976102 w 10678681"/>
              <a:gd name="connsiteY57" fmla="*/ 1047854 h 1353297"/>
              <a:gd name="connsiteX58" fmla="*/ 6951040 w 10678681"/>
              <a:gd name="connsiteY58" fmla="*/ 1048531 h 1353297"/>
              <a:gd name="connsiteX59" fmla="*/ 6948497 w 10678681"/>
              <a:gd name="connsiteY59" fmla="*/ 1050706 h 1353297"/>
              <a:gd name="connsiteX60" fmla="*/ 6926582 w 10678681"/>
              <a:gd name="connsiteY60" fmla="*/ 1043462 h 1353297"/>
              <a:gd name="connsiteX61" fmla="*/ 6833743 w 10678681"/>
              <a:gd name="connsiteY61" fmla="*/ 1027960 h 1353297"/>
              <a:gd name="connsiteX62" fmla="*/ 6687090 w 10678681"/>
              <a:gd name="connsiteY62" fmla="*/ 1063250 h 1353297"/>
              <a:gd name="connsiteX63" fmla="*/ 6437450 w 10678681"/>
              <a:gd name="connsiteY63" fmla="*/ 1101075 h 1353297"/>
              <a:gd name="connsiteX64" fmla="*/ 6327795 w 10678681"/>
              <a:gd name="connsiteY64" fmla="*/ 1088142 h 1353297"/>
              <a:gd name="connsiteX65" fmla="*/ 6136549 w 10678681"/>
              <a:gd name="connsiteY65" fmla="*/ 1100268 h 1353297"/>
              <a:gd name="connsiteX66" fmla="*/ 6004655 w 10678681"/>
              <a:gd name="connsiteY66" fmla="*/ 1114946 h 1353297"/>
              <a:gd name="connsiteX67" fmla="*/ 5936643 w 10678681"/>
              <a:gd name="connsiteY67" fmla="*/ 1095428 h 1353297"/>
              <a:gd name="connsiteX68" fmla="*/ 5912484 w 10678681"/>
              <a:gd name="connsiteY68" fmla="*/ 1112624 h 1353297"/>
              <a:gd name="connsiteX69" fmla="*/ 5908387 w 10678681"/>
              <a:gd name="connsiteY69" fmla="*/ 1116018 h 1353297"/>
              <a:gd name="connsiteX70" fmla="*/ 5890495 w 10678681"/>
              <a:gd name="connsiteY70" fmla="*/ 1120268 h 1353297"/>
              <a:gd name="connsiteX71" fmla="*/ 5887318 w 10678681"/>
              <a:gd name="connsiteY71" fmla="*/ 1133134 h 1353297"/>
              <a:gd name="connsiteX72" fmla="*/ 5861726 w 10678681"/>
              <a:gd name="connsiteY72" fmla="*/ 1147891 h 1353297"/>
              <a:gd name="connsiteX73" fmla="*/ 5805823 w 10678681"/>
              <a:gd name="connsiteY73" fmla="*/ 1152457 h 1353297"/>
              <a:gd name="connsiteX74" fmla="*/ 5689841 w 10678681"/>
              <a:gd name="connsiteY74" fmla="*/ 1176232 h 1353297"/>
              <a:gd name="connsiteX75" fmla="*/ 5605119 w 10678681"/>
              <a:gd name="connsiteY75" fmla="*/ 1190202 h 1353297"/>
              <a:gd name="connsiteX76" fmla="*/ 5488513 w 10678681"/>
              <a:gd name="connsiteY76" fmla="*/ 1205367 h 1353297"/>
              <a:gd name="connsiteX77" fmla="*/ 5402905 w 10678681"/>
              <a:gd name="connsiteY77" fmla="*/ 1241191 h 1353297"/>
              <a:gd name="connsiteX78" fmla="*/ 5285593 w 10678681"/>
              <a:gd name="connsiteY78" fmla="*/ 1273569 h 1353297"/>
              <a:gd name="connsiteX79" fmla="*/ 5192893 w 10678681"/>
              <a:gd name="connsiteY79" fmla="*/ 1247188 h 1353297"/>
              <a:gd name="connsiteX80" fmla="*/ 5186475 w 10678681"/>
              <a:gd name="connsiteY80" fmla="*/ 1257028 h 1353297"/>
              <a:gd name="connsiteX81" fmla="*/ 5126038 w 10678681"/>
              <a:gd name="connsiteY81" fmla="*/ 1263189 h 1353297"/>
              <a:gd name="connsiteX82" fmla="*/ 4894688 w 10678681"/>
              <a:gd name="connsiteY82" fmla="*/ 1247184 h 1353297"/>
              <a:gd name="connsiteX83" fmla="*/ 4788036 w 10678681"/>
              <a:gd name="connsiteY83" fmla="*/ 1238182 h 1353297"/>
              <a:gd name="connsiteX84" fmla="*/ 4747555 w 10678681"/>
              <a:gd name="connsiteY84" fmla="*/ 1252768 h 1353297"/>
              <a:gd name="connsiteX85" fmla="*/ 4679644 w 10678681"/>
              <a:gd name="connsiteY85" fmla="*/ 1276603 h 1353297"/>
              <a:gd name="connsiteX86" fmla="*/ 4632222 w 10678681"/>
              <a:gd name="connsiteY86" fmla="*/ 1318360 h 1353297"/>
              <a:gd name="connsiteX87" fmla="*/ 4617358 w 10678681"/>
              <a:gd name="connsiteY87" fmla="*/ 1327690 h 1353297"/>
              <a:gd name="connsiteX88" fmla="*/ 4589102 w 10678681"/>
              <a:gd name="connsiteY88" fmla="*/ 1321223 h 1353297"/>
              <a:gd name="connsiteX89" fmla="*/ 4578184 w 10678681"/>
              <a:gd name="connsiteY89" fmla="*/ 1326745 h 1353297"/>
              <a:gd name="connsiteX90" fmla="*/ 4574270 w 10678681"/>
              <a:gd name="connsiteY90" fmla="*/ 1325878 h 1353297"/>
              <a:gd name="connsiteX91" fmla="*/ 4564919 w 10678681"/>
              <a:gd name="connsiteY91" fmla="*/ 1325507 h 1353297"/>
              <a:gd name="connsiteX92" fmla="*/ 4566586 w 10678681"/>
              <a:gd name="connsiteY92" fmla="*/ 1316963 h 1353297"/>
              <a:gd name="connsiteX93" fmla="*/ 4556303 w 10678681"/>
              <a:gd name="connsiteY93" fmla="*/ 1300262 h 1353297"/>
              <a:gd name="connsiteX94" fmla="*/ 4502358 w 10678681"/>
              <a:gd name="connsiteY94" fmla="*/ 1302558 h 1353297"/>
              <a:gd name="connsiteX95" fmla="*/ 4498919 w 10678681"/>
              <a:gd name="connsiteY95" fmla="*/ 1312115 h 1353297"/>
              <a:gd name="connsiteX96" fmla="*/ 4492075 w 10678681"/>
              <a:gd name="connsiteY96" fmla="*/ 1313357 h 1353297"/>
              <a:gd name="connsiteX97" fmla="*/ 4487466 w 10678681"/>
              <a:gd name="connsiteY97" fmla="*/ 1304102 h 1353297"/>
              <a:gd name="connsiteX98" fmla="*/ 4398292 w 10678681"/>
              <a:gd name="connsiteY98" fmla="*/ 1278410 h 1353297"/>
              <a:gd name="connsiteX99" fmla="*/ 4306088 w 10678681"/>
              <a:gd name="connsiteY99" fmla="*/ 1282512 h 1353297"/>
              <a:gd name="connsiteX100" fmla="*/ 4188995 w 10678681"/>
              <a:gd name="connsiteY100" fmla="*/ 1296718 h 1353297"/>
              <a:gd name="connsiteX101" fmla="*/ 4136582 w 10678681"/>
              <a:gd name="connsiteY101" fmla="*/ 1287687 h 1353297"/>
              <a:gd name="connsiteX102" fmla="*/ 4064614 w 10678681"/>
              <a:gd name="connsiteY102" fmla="*/ 1296118 h 1353297"/>
              <a:gd name="connsiteX103" fmla="*/ 3906561 w 10678681"/>
              <a:gd name="connsiteY103" fmla="*/ 1352435 h 1353297"/>
              <a:gd name="connsiteX104" fmla="*/ 3787890 w 10678681"/>
              <a:gd name="connsiteY104" fmla="*/ 1352442 h 1353297"/>
              <a:gd name="connsiteX105" fmla="*/ 3745993 w 10678681"/>
              <a:gd name="connsiteY105" fmla="*/ 1342630 h 1353297"/>
              <a:gd name="connsiteX106" fmla="*/ 3675785 w 10678681"/>
              <a:gd name="connsiteY106" fmla="*/ 1326802 h 1353297"/>
              <a:gd name="connsiteX107" fmla="*/ 3623856 w 10678681"/>
              <a:gd name="connsiteY107" fmla="*/ 1290804 h 1353297"/>
              <a:gd name="connsiteX108" fmla="*/ 3564933 w 10678681"/>
              <a:gd name="connsiteY108" fmla="*/ 1287147 h 1353297"/>
              <a:gd name="connsiteX109" fmla="*/ 3550537 w 10678681"/>
              <a:gd name="connsiteY109" fmla="*/ 1317552 h 1353297"/>
              <a:gd name="connsiteX110" fmla="*/ 3487736 w 10678681"/>
              <a:gd name="connsiteY110" fmla="*/ 1303493 h 1353297"/>
              <a:gd name="connsiteX111" fmla="*/ 3392548 w 10678681"/>
              <a:gd name="connsiteY111" fmla="*/ 1278741 h 1353297"/>
              <a:gd name="connsiteX112" fmla="*/ 3337466 w 10678681"/>
              <a:gd name="connsiteY112" fmla="*/ 1272537 h 1353297"/>
              <a:gd name="connsiteX113" fmla="*/ 3175981 w 10678681"/>
              <a:gd name="connsiteY113" fmla="*/ 1208973 h 1353297"/>
              <a:gd name="connsiteX114" fmla="*/ 3036856 w 10678681"/>
              <a:gd name="connsiteY114" fmla="*/ 1214383 h 1353297"/>
              <a:gd name="connsiteX115" fmla="*/ 2824973 w 10678681"/>
              <a:gd name="connsiteY115" fmla="*/ 1134864 h 1353297"/>
              <a:gd name="connsiteX116" fmla="*/ 2804398 w 10678681"/>
              <a:gd name="connsiteY116" fmla="*/ 1125556 h 1353297"/>
              <a:gd name="connsiteX117" fmla="*/ 2736109 w 10678681"/>
              <a:gd name="connsiteY117" fmla="*/ 1137717 h 1353297"/>
              <a:gd name="connsiteX118" fmla="*/ 2659096 w 10678681"/>
              <a:gd name="connsiteY118" fmla="*/ 1150294 h 1353297"/>
              <a:gd name="connsiteX119" fmla="*/ 2567088 w 10678681"/>
              <a:gd name="connsiteY119" fmla="*/ 1181781 h 1353297"/>
              <a:gd name="connsiteX120" fmla="*/ 2454501 w 10678681"/>
              <a:gd name="connsiteY120" fmla="*/ 1155455 h 1353297"/>
              <a:gd name="connsiteX121" fmla="*/ 2385161 w 10678681"/>
              <a:gd name="connsiteY121" fmla="*/ 1161312 h 1353297"/>
              <a:gd name="connsiteX122" fmla="*/ 2273361 w 10678681"/>
              <a:gd name="connsiteY122" fmla="*/ 1134090 h 1353297"/>
              <a:gd name="connsiteX123" fmla="*/ 2132003 w 10678681"/>
              <a:gd name="connsiteY123" fmla="*/ 1139225 h 1353297"/>
              <a:gd name="connsiteX124" fmla="*/ 2041224 w 10678681"/>
              <a:gd name="connsiteY124" fmla="*/ 1147536 h 1353297"/>
              <a:gd name="connsiteX125" fmla="*/ 2010157 w 10678681"/>
              <a:gd name="connsiteY125" fmla="*/ 1152767 h 1353297"/>
              <a:gd name="connsiteX126" fmla="*/ 1859213 w 10678681"/>
              <a:gd name="connsiteY126" fmla="*/ 1199540 h 1353297"/>
              <a:gd name="connsiteX127" fmla="*/ 1735877 w 10678681"/>
              <a:gd name="connsiteY127" fmla="*/ 1246527 h 1353297"/>
              <a:gd name="connsiteX128" fmla="*/ 1705069 w 10678681"/>
              <a:gd name="connsiteY128" fmla="*/ 1251989 h 1353297"/>
              <a:gd name="connsiteX129" fmla="*/ 1307888 w 10678681"/>
              <a:gd name="connsiteY129" fmla="*/ 1283156 h 1353297"/>
              <a:gd name="connsiteX130" fmla="*/ 1220734 w 10678681"/>
              <a:gd name="connsiteY130" fmla="*/ 1257811 h 1353297"/>
              <a:gd name="connsiteX131" fmla="*/ 1021737 w 10678681"/>
              <a:gd name="connsiteY131" fmla="*/ 1238739 h 1353297"/>
              <a:gd name="connsiteX132" fmla="*/ 959820 w 10678681"/>
              <a:gd name="connsiteY132" fmla="*/ 1275863 h 1353297"/>
              <a:gd name="connsiteX133" fmla="*/ 929137 w 10678681"/>
              <a:gd name="connsiteY133" fmla="*/ 1273957 h 1353297"/>
              <a:gd name="connsiteX134" fmla="*/ 878849 w 10678681"/>
              <a:gd name="connsiteY134" fmla="*/ 1266740 h 1353297"/>
              <a:gd name="connsiteX135" fmla="*/ 800667 w 10678681"/>
              <a:gd name="connsiteY135" fmla="*/ 1282041 h 1353297"/>
              <a:gd name="connsiteX136" fmla="*/ 644906 w 10678681"/>
              <a:gd name="connsiteY136" fmla="*/ 1273685 h 1353297"/>
              <a:gd name="connsiteX137" fmla="*/ 379869 w 10678681"/>
              <a:gd name="connsiteY137" fmla="*/ 1339165 h 1353297"/>
              <a:gd name="connsiteX138" fmla="*/ 137696 w 10678681"/>
              <a:gd name="connsiteY138" fmla="*/ 1319217 h 1353297"/>
              <a:gd name="connsiteX139" fmla="*/ 54250 w 10678681"/>
              <a:gd name="connsiteY139" fmla="*/ 1315838 h 1353297"/>
              <a:gd name="connsiteX140" fmla="*/ 28042 w 10678681"/>
              <a:gd name="connsiteY140" fmla="*/ 1297822 h 1353297"/>
              <a:gd name="connsiteX141" fmla="*/ 0 w 10678681"/>
              <a:gd name="connsiteY141" fmla="*/ 1294612 h 1353297"/>
              <a:gd name="connsiteX142" fmla="*/ 0 w 10678681"/>
              <a:gd name="connsiteY142" fmla="*/ 0 h 1353297"/>
              <a:gd name="connsiteX0" fmla="*/ 0 w 10678681"/>
              <a:gd name="connsiteY0" fmla="*/ 0 h 1352443"/>
              <a:gd name="connsiteX1" fmla="*/ 10678681 w 10678681"/>
              <a:gd name="connsiteY1" fmla="*/ 0 h 1352443"/>
              <a:gd name="connsiteX2" fmla="*/ 10666019 w 10678681"/>
              <a:gd name="connsiteY2" fmla="*/ 7876 h 1352443"/>
              <a:gd name="connsiteX3" fmla="*/ 10632825 w 10678681"/>
              <a:gd name="connsiteY3" fmla="*/ 32153 h 1352443"/>
              <a:gd name="connsiteX4" fmla="*/ 10510605 w 10678681"/>
              <a:gd name="connsiteY4" fmla="*/ 30449 h 1352443"/>
              <a:gd name="connsiteX5" fmla="*/ 10456989 w 10678681"/>
              <a:gd name="connsiteY5" fmla="*/ 979 h 1352443"/>
              <a:gd name="connsiteX6" fmla="*/ 10438642 w 10678681"/>
              <a:gd name="connsiteY6" fmla="*/ 1524 h 1352443"/>
              <a:gd name="connsiteX7" fmla="*/ 10407146 w 10678681"/>
              <a:gd name="connsiteY7" fmla="*/ 43659 h 1352443"/>
              <a:gd name="connsiteX8" fmla="*/ 10357996 w 10678681"/>
              <a:gd name="connsiteY8" fmla="*/ 50836 h 1352443"/>
              <a:gd name="connsiteX9" fmla="*/ 10306667 w 10678681"/>
              <a:gd name="connsiteY9" fmla="*/ 109739 h 1352443"/>
              <a:gd name="connsiteX10" fmla="*/ 10115334 w 10678681"/>
              <a:gd name="connsiteY10" fmla="*/ 155658 h 1352443"/>
              <a:gd name="connsiteX11" fmla="*/ 10068157 w 10678681"/>
              <a:gd name="connsiteY11" fmla="*/ 215673 h 1352443"/>
              <a:gd name="connsiteX12" fmla="*/ 10045431 w 10678681"/>
              <a:gd name="connsiteY12" fmla="*/ 229568 h 1352443"/>
              <a:gd name="connsiteX13" fmla="*/ 10013265 w 10678681"/>
              <a:gd name="connsiteY13" fmla="*/ 284757 h 1352443"/>
              <a:gd name="connsiteX14" fmla="*/ 9862496 w 10678681"/>
              <a:gd name="connsiteY14" fmla="*/ 223033 h 1352443"/>
              <a:gd name="connsiteX15" fmla="*/ 9679638 w 10678681"/>
              <a:gd name="connsiteY15" fmla="*/ 277462 h 1352443"/>
              <a:gd name="connsiteX16" fmla="*/ 9498347 w 10678681"/>
              <a:gd name="connsiteY16" fmla="*/ 244723 h 1352443"/>
              <a:gd name="connsiteX17" fmla="*/ 9399702 w 10678681"/>
              <a:gd name="connsiteY17" fmla="*/ 276316 h 1352443"/>
              <a:gd name="connsiteX18" fmla="*/ 9378439 w 10678681"/>
              <a:gd name="connsiteY18" fmla="*/ 326244 h 1352443"/>
              <a:gd name="connsiteX19" fmla="*/ 9121744 w 10678681"/>
              <a:gd name="connsiteY19" fmla="*/ 365177 h 1352443"/>
              <a:gd name="connsiteX20" fmla="*/ 9061654 w 10678681"/>
              <a:gd name="connsiteY20" fmla="*/ 393730 h 1352443"/>
              <a:gd name="connsiteX21" fmla="*/ 8997577 w 10678681"/>
              <a:gd name="connsiteY21" fmla="*/ 380865 h 1352443"/>
              <a:gd name="connsiteX22" fmla="*/ 8907968 w 10678681"/>
              <a:gd name="connsiteY22" fmla="*/ 447345 h 1352443"/>
              <a:gd name="connsiteX23" fmla="*/ 8764163 w 10678681"/>
              <a:gd name="connsiteY23" fmla="*/ 471000 h 1352443"/>
              <a:gd name="connsiteX24" fmla="*/ 8680155 w 10678681"/>
              <a:gd name="connsiteY24" fmla="*/ 492404 h 1352443"/>
              <a:gd name="connsiteX25" fmla="*/ 8651436 w 10678681"/>
              <a:gd name="connsiteY25" fmla="*/ 511923 h 1352443"/>
              <a:gd name="connsiteX26" fmla="*/ 8609185 w 10678681"/>
              <a:gd name="connsiteY26" fmla="*/ 531525 h 1352443"/>
              <a:gd name="connsiteX27" fmla="*/ 8537091 w 10678681"/>
              <a:gd name="connsiteY27" fmla="*/ 574933 h 1352443"/>
              <a:gd name="connsiteX28" fmla="*/ 8435931 w 10678681"/>
              <a:gd name="connsiteY28" fmla="*/ 617926 h 1352443"/>
              <a:gd name="connsiteX29" fmla="*/ 8348623 w 10678681"/>
              <a:gd name="connsiteY29" fmla="*/ 600607 h 1352443"/>
              <a:gd name="connsiteX30" fmla="*/ 8344233 w 10678681"/>
              <a:gd name="connsiteY30" fmla="*/ 610922 h 1352443"/>
              <a:gd name="connsiteX31" fmla="*/ 8290622 w 10678681"/>
              <a:gd name="connsiteY31" fmla="*/ 622687 h 1352443"/>
              <a:gd name="connsiteX32" fmla="*/ 8086698 w 10678681"/>
              <a:gd name="connsiteY32" fmla="*/ 605185 h 1352443"/>
              <a:gd name="connsiteX33" fmla="*/ 7982378 w 10678681"/>
              <a:gd name="connsiteY33" fmla="*/ 629799 h 1352443"/>
              <a:gd name="connsiteX34" fmla="*/ 7947952 w 10678681"/>
              <a:gd name="connsiteY34" fmla="*/ 648003 h 1352443"/>
              <a:gd name="connsiteX35" fmla="*/ 7890112 w 10678681"/>
              <a:gd name="connsiteY35" fmla="*/ 677915 h 1352443"/>
              <a:gd name="connsiteX36" fmla="*/ 7853284 w 10678681"/>
              <a:gd name="connsiteY36" fmla="*/ 723588 h 1352443"/>
              <a:gd name="connsiteX37" fmla="*/ 7802383 w 10678681"/>
              <a:gd name="connsiteY37" fmla="*/ 739359 h 1352443"/>
              <a:gd name="connsiteX38" fmla="*/ 7730518 w 10678681"/>
              <a:gd name="connsiteY38" fmla="*/ 739526 h 1352443"/>
              <a:gd name="connsiteX39" fmla="*/ 7652907 w 10678681"/>
              <a:gd name="connsiteY39" fmla="*/ 783273 h 1352443"/>
              <a:gd name="connsiteX40" fmla="*/ 7606008 w 10678681"/>
              <a:gd name="connsiteY40" fmla="*/ 800717 h 1352443"/>
              <a:gd name="connsiteX41" fmla="*/ 7480223 w 10678681"/>
              <a:gd name="connsiteY41" fmla="*/ 856821 h 1352443"/>
              <a:gd name="connsiteX42" fmla="*/ 7356005 w 10678681"/>
              <a:gd name="connsiteY42" fmla="*/ 919462 h 1352443"/>
              <a:gd name="connsiteX43" fmla="*/ 7305396 w 10678681"/>
              <a:gd name="connsiteY43" fmla="*/ 986228 h 1352443"/>
              <a:gd name="connsiteX44" fmla="*/ 7266251 w 10678681"/>
              <a:gd name="connsiteY44" fmla="*/ 967864 h 1352443"/>
              <a:gd name="connsiteX45" fmla="*/ 7269396 w 10678681"/>
              <a:gd name="connsiteY45" fmla="*/ 989282 h 1352443"/>
              <a:gd name="connsiteX46" fmla="*/ 7258094 w 10678681"/>
              <a:gd name="connsiteY46" fmla="*/ 990679 h 1352443"/>
              <a:gd name="connsiteX47" fmla="*/ 7257893 w 10678681"/>
              <a:gd name="connsiteY47" fmla="*/ 991204 h 1352443"/>
              <a:gd name="connsiteX48" fmla="*/ 7247153 w 10678681"/>
              <a:gd name="connsiteY48" fmla="*/ 991550 h 1352443"/>
              <a:gd name="connsiteX49" fmla="*/ 7193612 w 10678681"/>
              <a:gd name="connsiteY49" fmla="*/ 987042 h 1352443"/>
              <a:gd name="connsiteX50" fmla="*/ 7132632 w 10678681"/>
              <a:gd name="connsiteY50" fmla="*/ 1042036 h 1352443"/>
              <a:gd name="connsiteX51" fmla="*/ 7105610 w 10678681"/>
              <a:gd name="connsiteY51" fmla="*/ 1053537 h 1352443"/>
              <a:gd name="connsiteX52" fmla="*/ 7069148 w 10678681"/>
              <a:gd name="connsiteY52" fmla="*/ 1047163 h 1352443"/>
              <a:gd name="connsiteX53" fmla="*/ 7039634 w 10678681"/>
              <a:gd name="connsiteY53" fmla="*/ 1059971 h 1352443"/>
              <a:gd name="connsiteX54" fmla="*/ 7033445 w 10678681"/>
              <a:gd name="connsiteY54" fmla="*/ 1063314 h 1352443"/>
              <a:gd name="connsiteX55" fmla="*/ 6999157 w 10678681"/>
              <a:gd name="connsiteY55" fmla="*/ 1055282 h 1352443"/>
              <a:gd name="connsiteX56" fmla="*/ 6981874 w 10678681"/>
              <a:gd name="connsiteY56" fmla="*/ 1053827 h 1352443"/>
              <a:gd name="connsiteX57" fmla="*/ 6976102 w 10678681"/>
              <a:gd name="connsiteY57" fmla="*/ 1047854 h 1352443"/>
              <a:gd name="connsiteX58" fmla="*/ 6951040 w 10678681"/>
              <a:gd name="connsiteY58" fmla="*/ 1048531 h 1352443"/>
              <a:gd name="connsiteX59" fmla="*/ 6948497 w 10678681"/>
              <a:gd name="connsiteY59" fmla="*/ 1050706 h 1352443"/>
              <a:gd name="connsiteX60" fmla="*/ 6926582 w 10678681"/>
              <a:gd name="connsiteY60" fmla="*/ 1043462 h 1352443"/>
              <a:gd name="connsiteX61" fmla="*/ 6833743 w 10678681"/>
              <a:gd name="connsiteY61" fmla="*/ 1027960 h 1352443"/>
              <a:gd name="connsiteX62" fmla="*/ 6687090 w 10678681"/>
              <a:gd name="connsiteY62" fmla="*/ 1063250 h 1352443"/>
              <a:gd name="connsiteX63" fmla="*/ 6437450 w 10678681"/>
              <a:gd name="connsiteY63" fmla="*/ 1101075 h 1352443"/>
              <a:gd name="connsiteX64" fmla="*/ 6327795 w 10678681"/>
              <a:gd name="connsiteY64" fmla="*/ 1088142 h 1352443"/>
              <a:gd name="connsiteX65" fmla="*/ 6136549 w 10678681"/>
              <a:gd name="connsiteY65" fmla="*/ 1100268 h 1352443"/>
              <a:gd name="connsiteX66" fmla="*/ 6004655 w 10678681"/>
              <a:gd name="connsiteY66" fmla="*/ 1114946 h 1352443"/>
              <a:gd name="connsiteX67" fmla="*/ 5936643 w 10678681"/>
              <a:gd name="connsiteY67" fmla="*/ 1095428 h 1352443"/>
              <a:gd name="connsiteX68" fmla="*/ 5912484 w 10678681"/>
              <a:gd name="connsiteY68" fmla="*/ 1112624 h 1352443"/>
              <a:gd name="connsiteX69" fmla="*/ 5908387 w 10678681"/>
              <a:gd name="connsiteY69" fmla="*/ 1116018 h 1352443"/>
              <a:gd name="connsiteX70" fmla="*/ 5890495 w 10678681"/>
              <a:gd name="connsiteY70" fmla="*/ 1120268 h 1352443"/>
              <a:gd name="connsiteX71" fmla="*/ 5887318 w 10678681"/>
              <a:gd name="connsiteY71" fmla="*/ 1133134 h 1352443"/>
              <a:gd name="connsiteX72" fmla="*/ 5861726 w 10678681"/>
              <a:gd name="connsiteY72" fmla="*/ 1147891 h 1352443"/>
              <a:gd name="connsiteX73" fmla="*/ 5805823 w 10678681"/>
              <a:gd name="connsiteY73" fmla="*/ 1152457 h 1352443"/>
              <a:gd name="connsiteX74" fmla="*/ 5689841 w 10678681"/>
              <a:gd name="connsiteY74" fmla="*/ 1176232 h 1352443"/>
              <a:gd name="connsiteX75" fmla="*/ 5605119 w 10678681"/>
              <a:gd name="connsiteY75" fmla="*/ 1190202 h 1352443"/>
              <a:gd name="connsiteX76" fmla="*/ 5488513 w 10678681"/>
              <a:gd name="connsiteY76" fmla="*/ 1205367 h 1352443"/>
              <a:gd name="connsiteX77" fmla="*/ 5402905 w 10678681"/>
              <a:gd name="connsiteY77" fmla="*/ 1241191 h 1352443"/>
              <a:gd name="connsiteX78" fmla="*/ 5285593 w 10678681"/>
              <a:gd name="connsiteY78" fmla="*/ 1273569 h 1352443"/>
              <a:gd name="connsiteX79" fmla="*/ 5192893 w 10678681"/>
              <a:gd name="connsiteY79" fmla="*/ 1247188 h 1352443"/>
              <a:gd name="connsiteX80" fmla="*/ 5186475 w 10678681"/>
              <a:gd name="connsiteY80" fmla="*/ 1257028 h 1352443"/>
              <a:gd name="connsiteX81" fmla="*/ 5126038 w 10678681"/>
              <a:gd name="connsiteY81" fmla="*/ 1263189 h 1352443"/>
              <a:gd name="connsiteX82" fmla="*/ 4894688 w 10678681"/>
              <a:gd name="connsiteY82" fmla="*/ 1247184 h 1352443"/>
              <a:gd name="connsiteX83" fmla="*/ 4788036 w 10678681"/>
              <a:gd name="connsiteY83" fmla="*/ 1238182 h 1352443"/>
              <a:gd name="connsiteX84" fmla="*/ 4747555 w 10678681"/>
              <a:gd name="connsiteY84" fmla="*/ 1252768 h 1352443"/>
              <a:gd name="connsiteX85" fmla="*/ 4679644 w 10678681"/>
              <a:gd name="connsiteY85" fmla="*/ 1276603 h 1352443"/>
              <a:gd name="connsiteX86" fmla="*/ 4632222 w 10678681"/>
              <a:gd name="connsiteY86" fmla="*/ 1318360 h 1352443"/>
              <a:gd name="connsiteX87" fmla="*/ 4617358 w 10678681"/>
              <a:gd name="connsiteY87" fmla="*/ 1327690 h 1352443"/>
              <a:gd name="connsiteX88" fmla="*/ 4589102 w 10678681"/>
              <a:gd name="connsiteY88" fmla="*/ 1321223 h 1352443"/>
              <a:gd name="connsiteX89" fmla="*/ 4578184 w 10678681"/>
              <a:gd name="connsiteY89" fmla="*/ 1326745 h 1352443"/>
              <a:gd name="connsiteX90" fmla="*/ 4574270 w 10678681"/>
              <a:gd name="connsiteY90" fmla="*/ 1325878 h 1352443"/>
              <a:gd name="connsiteX91" fmla="*/ 4564919 w 10678681"/>
              <a:gd name="connsiteY91" fmla="*/ 1325507 h 1352443"/>
              <a:gd name="connsiteX92" fmla="*/ 4566586 w 10678681"/>
              <a:gd name="connsiteY92" fmla="*/ 1316963 h 1352443"/>
              <a:gd name="connsiteX93" fmla="*/ 4556303 w 10678681"/>
              <a:gd name="connsiteY93" fmla="*/ 1300262 h 1352443"/>
              <a:gd name="connsiteX94" fmla="*/ 4502358 w 10678681"/>
              <a:gd name="connsiteY94" fmla="*/ 1302558 h 1352443"/>
              <a:gd name="connsiteX95" fmla="*/ 4498919 w 10678681"/>
              <a:gd name="connsiteY95" fmla="*/ 1312115 h 1352443"/>
              <a:gd name="connsiteX96" fmla="*/ 4492075 w 10678681"/>
              <a:gd name="connsiteY96" fmla="*/ 1313357 h 1352443"/>
              <a:gd name="connsiteX97" fmla="*/ 4487466 w 10678681"/>
              <a:gd name="connsiteY97" fmla="*/ 1304102 h 1352443"/>
              <a:gd name="connsiteX98" fmla="*/ 4398292 w 10678681"/>
              <a:gd name="connsiteY98" fmla="*/ 1278410 h 1352443"/>
              <a:gd name="connsiteX99" fmla="*/ 4306088 w 10678681"/>
              <a:gd name="connsiteY99" fmla="*/ 1282512 h 1352443"/>
              <a:gd name="connsiteX100" fmla="*/ 4188995 w 10678681"/>
              <a:gd name="connsiteY100" fmla="*/ 1296718 h 1352443"/>
              <a:gd name="connsiteX101" fmla="*/ 4136582 w 10678681"/>
              <a:gd name="connsiteY101" fmla="*/ 1287687 h 1352443"/>
              <a:gd name="connsiteX102" fmla="*/ 4064614 w 10678681"/>
              <a:gd name="connsiteY102" fmla="*/ 1296118 h 1352443"/>
              <a:gd name="connsiteX103" fmla="*/ 3900948 w 10678681"/>
              <a:gd name="connsiteY103" fmla="*/ 1322156 h 1352443"/>
              <a:gd name="connsiteX104" fmla="*/ 3787890 w 10678681"/>
              <a:gd name="connsiteY104" fmla="*/ 1352442 h 1352443"/>
              <a:gd name="connsiteX105" fmla="*/ 3745993 w 10678681"/>
              <a:gd name="connsiteY105" fmla="*/ 1342630 h 1352443"/>
              <a:gd name="connsiteX106" fmla="*/ 3675785 w 10678681"/>
              <a:gd name="connsiteY106" fmla="*/ 1326802 h 1352443"/>
              <a:gd name="connsiteX107" fmla="*/ 3623856 w 10678681"/>
              <a:gd name="connsiteY107" fmla="*/ 1290804 h 1352443"/>
              <a:gd name="connsiteX108" fmla="*/ 3564933 w 10678681"/>
              <a:gd name="connsiteY108" fmla="*/ 1287147 h 1352443"/>
              <a:gd name="connsiteX109" fmla="*/ 3550537 w 10678681"/>
              <a:gd name="connsiteY109" fmla="*/ 1317552 h 1352443"/>
              <a:gd name="connsiteX110" fmla="*/ 3487736 w 10678681"/>
              <a:gd name="connsiteY110" fmla="*/ 1303493 h 1352443"/>
              <a:gd name="connsiteX111" fmla="*/ 3392548 w 10678681"/>
              <a:gd name="connsiteY111" fmla="*/ 1278741 h 1352443"/>
              <a:gd name="connsiteX112" fmla="*/ 3337466 w 10678681"/>
              <a:gd name="connsiteY112" fmla="*/ 1272537 h 1352443"/>
              <a:gd name="connsiteX113" fmla="*/ 3175981 w 10678681"/>
              <a:gd name="connsiteY113" fmla="*/ 1208973 h 1352443"/>
              <a:gd name="connsiteX114" fmla="*/ 3036856 w 10678681"/>
              <a:gd name="connsiteY114" fmla="*/ 1214383 h 1352443"/>
              <a:gd name="connsiteX115" fmla="*/ 2824973 w 10678681"/>
              <a:gd name="connsiteY115" fmla="*/ 1134864 h 1352443"/>
              <a:gd name="connsiteX116" fmla="*/ 2804398 w 10678681"/>
              <a:gd name="connsiteY116" fmla="*/ 1125556 h 1352443"/>
              <a:gd name="connsiteX117" fmla="*/ 2736109 w 10678681"/>
              <a:gd name="connsiteY117" fmla="*/ 1137717 h 1352443"/>
              <a:gd name="connsiteX118" fmla="*/ 2659096 w 10678681"/>
              <a:gd name="connsiteY118" fmla="*/ 1150294 h 1352443"/>
              <a:gd name="connsiteX119" fmla="*/ 2567088 w 10678681"/>
              <a:gd name="connsiteY119" fmla="*/ 1181781 h 1352443"/>
              <a:gd name="connsiteX120" fmla="*/ 2454501 w 10678681"/>
              <a:gd name="connsiteY120" fmla="*/ 1155455 h 1352443"/>
              <a:gd name="connsiteX121" fmla="*/ 2385161 w 10678681"/>
              <a:gd name="connsiteY121" fmla="*/ 1161312 h 1352443"/>
              <a:gd name="connsiteX122" fmla="*/ 2273361 w 10678681"/>
              <a:gd name="connsiteY122" fmla="*/ 1134090 h 1352443"/>
              <a:gd name="connsiteX123" fmla="*/ 2132003 w 10678681"/>
              <a:gd name="connsiteY123" fmla="*/ 1139225 h 1352443"/>
              <a:gd name="connsiteX124" fmla="*/ 2041224 w 10678681"/>
              <a:gd name="connsiteY124" fmla="*/ 1147536 h 1352443"/>
              <a:gd name="connsiteX125" fmla="*/ 2010157 w 10678681"/>
              <a:gd name="connsiteY125" fmla="*/ 1152767 h 1352443"/>
              <a:gd name="connsiteX126" fmla="*/ 1859213 w 10678681"/>
              <a:gd name="connsiteY126" fmla="*/ 1199540 h 1352443"/>
              <a:gd name="connsiteX127" fmla="*/ 1735877 w 10678681"/>
              <a:gd name="connsiteY127" fmla="*/ 1246527 h 1352443"/>
              <a:gd name="connsiteX128" fmla="*/ 1705069 w 10678681"/>
              <a:gd name="connsiteY128" fmla="*/ 1251989 h 1352443"/>
              <a:gd name="connsiteX129" fmla="*/ 1307888 w 10678681"/>
              <a:gd name="connsiteY129" fmla="*/ 1283156 h 1352443"/>
              <a:gd name="connsiteX130" fmla="*/ 1220734 w 10678681"/>
              <a:gd name="connsiteY130" fmla="*/ 1257811 h 1352443"/>
              <a:gd name="connsiteX131" fmla="*/ 1021737 w 10678681"/>
              <a:gd name="connsiteY131" fmla="*/ 1238739 h 1352443"/>
              <a:gd name="connsiteX132" fmla="*/ 959820 w 10678681"/>
              <a:gd name="connsiteY132" fmla="*/ 1275863 h 1352443"/>
              <a:gd name="connsiteX133" fmla="*/ 929137 w 10678681"/>
              <a:gd name="connsiteY133" fmla="*/ 1273957 h 1352443"/>
              <a:gd name="connsiteX134" fmla="*/ 878849 w 10678681"/>
              <a:gd name="connsiteY134" fmla="*/ 1266740 h 1352443"/>
              <a:gd name="connsiteX135" fmla="*/ 800667 w 10678681"/>
              <a:gd name="connsiteY135" fmla="*/ 1282041 h 1352443"/>
              <a:gd name="connsiteX136" fmla="*/ 644906 w 10678681"/>
              <a:gd name="connsiteY136" fmla="*/ 1273685 h 1352443"/>
              <a:gd name="connsiteX137" fmla="*/ 379869 w 10678681"/>
              <a:gd name="connsiteY137" fmla="*/ 1339165 h 1352443"/>
              <a:gd name="connsiteX138" fmla="*/ 137696 w 10678681"/>
              <a:gd name="connsiteY138" fmla="*/ 1319217 h 1352443"/>
              <a:gd name="connsiteX139" fmla="*/ 54250 w 10678681"/>
              <a:gd name="connsiteY139" fmla="*/ 1315838 h 1352443"/>
              <a:gd name="connsiteX140" fmla="*/ 28042 w 10678681"/>
              <a:gd name="connsiteY140" fmla="*/ 1297822 h 1352443"/>
              <a:gd name="connsiteX141" fmla="*/ 0 w 10678681"/>
              <a:gd name="connsiteY141" fmla="*/ 1294612 h 1352443"/>
              <a:gd name="connsiteX142" fmla="*/ 0 w 10678681"/>
              <a:gd name="connsiteY142" fmla="*/ 0 h 1352443"/>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0605 w 10678681"/>
              <a:gd name="connsiteY4" fmla="*/ 30449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57996 w 10678681"/>
              <a:gd name="connsiteY8" fmla="*/ 50836 h 1342734"/>
              <a:gd name="connsiteX9" fmla="*/ 10306667 w 10678681"/>
              <a:gd name="connsiteY9" fmla="*/ 10973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10013265 w 10678681"/>
              <a:gd name="connsiteY13" fmla="*/ 284757 h 1342734"/>
              <a:gd name="connsiteX14" fmla="*/ 9862496 w 10678681"/>
              <a:gd name="connsiteY14" fmla="*/ 223033 h 1342734"/>
              <a:gd name="connsiteX15" fmla="*/ 9679638 w 10678681"/>
              <a:gd name="connsiteY15" fmla="*/ 277462 h 1342734"/>
              <a:gd name="connsiteX16" fmla="*/ 9498347 w 10678681"/>
              <a:gd name="connsiteY16" fmla="*/ 244723 h 1342734"/>
              <a:gd name="connsiteX17" fmla="*/ 9399702 w 10678681"/>
              <a:gd name="connsiteY17" fmla="*/ 276316 h 1342734"/>
              <a:gd name="connsiteX18" fmla="*/ 9378439 w 10678681"/>
              <a:gd name="connsiteY18" fmla="*/ 326244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0605 w 10678681"/>
              <a:gd name="connsiteY4" fmla="*/ 30449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57996 w 10678681"/>
              <a:gd name="connsiteY8" fmla="*/ 50836 h 1342734"/>
              <a:gd name="connsiteX9" fmla="*/ 10306667 w 10678681"/>
              <a:gd name="connsiteY9" fmla="*/ 10973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10013265 w 10678681"/>
              <a:gd name="connsiteY13" fmla="*/ 284757 h 1342734"/>
              <a:gd name="connsiteX14" fmla="*/ 9862496 w 10678681"/>
              <a:gd name="connsiteY14" fmla="*/ 223033 h 1342734"/>
              <a:gd name="connsiteX15" fmla="*/ 9679638 w 10678681"/>
              <a:gd name="connsiteY15" fmla="*/ 277462 h 1342734"/>
              <a:gd name="connsiteX16" fmla="*/ 9498347 w 10678681"/>
              <a:gd name="connsiteY16" fmla="*/ 244723 h 1342734"/>
              <a:gd name="connsiteX17" fmla="*/ 9399702 w 10678681"/>
              <a:gd name="connsiteY17" fmla="*/ 276316 h 1342734"/>
              <a:gd name="connsiteX18" fmla="*/ 9378439 w 10678681"/>
              <a:gd name="connsiteY18" fmla="*/ 326244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0605 w 10678681"/>
              <a:gd name="connsiteY4" fmla="*/ 30449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57996 w 10678681"/>
              <a:gd name="connsiteY8" fmla="*/ 50836 h 1342734"/>
              <a:gd name="connsiteX9" fmla="*/ 10306667 w 10678681"/>
              <a:gd name="connsiteY9" fmla="*/ 10973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10013265 w 10678681"/>
              <a:gd name="connsiteY13" fmla="*/ 284757 h 1342734"/>
              <a:gd name="connsiteX14" fmla="*/ 9862496 w 10678681"/>
              <a:gd name="connsiteY14" fmla="*/ 223033 h 1342734"/>
              <a:gd name="connsiteX15" fmla="*/ 9679638 w 10678681"/>
              <a:gd name="connsiteY15" fmla="*/ 277462 h 1342734"/>
              <a:gd name="connsiteX16" fmla="*/ 9498347 w 10678681"/>
              <a:gd name="connsiteY16" fmla="*/ 244723 h 1342734"/>
              <a:gd name="connsiteX17" fmla="*/ 9399702 w 10678681"/>
              <a:gd name="connsiteY17" fmla="*/ 276316 h 1342734"/>
              <a:gd name="connsiteX18" fmla="*/ 9378439 w 10678681"/>
              <a:gd name="connsiteY18" fmla="*/ 326244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0605 w 10678681"/>
              <a:gd name="connsiteY4" fmla="*/ 30449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57996 w 10678681"/>
              <a:gd name="connsiteY8" fmla="*/ 50836 h 1342734"/>
              <a:gd name="connsiteX9" fmla="*/ 10306667 w 10678681"/>
              <a:gd name="connsiteY9" fmla="*/ 10973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10013265 w 10678681"/>
              <a:gd name="connsiteY13" fmla="*/ 284757 h 1342734"/>
              <a:gd name="connsiteX14" fmla="*/ 9862496 w 10678681"/>
              <a:gd name="connsiteY14" fmla="*/ 223033 h 1342734"/>
              <a:gd name="connsiteX15" fmla="*/ 9679638 w 10678681"/>
              <a:gd name="connsiteY15" fmla="*/ 277462 h 1342734"/>
              <a:gd name="connsiteX16" fmla="*/ 9498347 w 10678681"/>
              <a:gd name="connsiteY16" fmla="*/ 244723 h 1342734"/>
              <a:gd name="connsiteX17" fmla="*/ 9399702 w 10678681"/>
              <a:gd name="connsiteY17" fmla="*/ 276316 h 1342734"/>
              <a:gd name="connsiteX18" fmla="*/ 9378439 w 10678681"/>
              <a:gd name="connsiteY18" fmla="*/ 326244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0605 w 10678681"/>
              <a:gd name="connsiteY4" fmla="*/ 30449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57996 w 10678681"/>
              <a:gd name="connsiteY8" fmla="*/ 50836 h 1342734"/>
              <a:gd name="connsiteX9" fmla="*/ 10306667 w 10678681"/>
              <a:gd name="connsiteY9" fmla="*/ 10973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10013265 w 10678681"/>
              <a:gd name="connsiteY13" fmla="*/ 284757 h 1342734"/>
              <a:gd name="connsiteX14" fmla="*/ 9862496 w 10678681"/>
              <a:gd name="connsiteY14" fmla="*/ 223033 h 1342734"/>
              <a:gd name="connsiteX15" fmla="*/ 9679638 w 10678681"/>
              <a:gd name="connsiteY15" fmla="*/ 277462 h 1342734"/>
              <a:gd name="connsiteX16" fmla="*/ 9498347 w 10678681"/>
              <a:gd name="connsiteY16" fmla="*/ 244723 h 1342734"/>
              <a:gd name="connsiteX17" fmla="*/ 9399702 w 10678681"/>
              <a:gd name="connsiteY17" fmla="*/ 276316 h 1342734"/>
              <a:gd name="connsiteX18" fmla="*/ 9378439 w 10678681"/>
              <a:gd name="connsiteY18" fmla="*/ 326244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0605 w 10678681"/>
              <a:gd name="connsiteY4" fmla="*/ 30449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57996 w 10678681"/>
              <a:gd name="connsiteY8" fmla="*/ 50836 h 1342734"/>
              <a:gd name="connsiteX9" fmla="*/ 10306667 w 10678681"/>
              <a:gd name="connsiteY9" fmla="*/ 10973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10013265 w 10678681"/>
              <a:gd name="connsiteY13" fmla="*/ 284757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99702 w 10678681"/>
              <a:gd name="connsiteY17" fmla="*/ 276316 h 1342734"/>
              <a:gd name="connsiteX18" fmla="*/ 9378439 w 10678681"/>
              <a:gd name="connsiteY18" fmla="*/ 326244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0605 w 10678681"/>
              <a:gd name="connsiteY4" fmla="*/ 30449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57996 w 10678681"/>
              <a:gd name="connsiteY8" fmla="*/ 50836 h 1342734"/>
              <a:gd name="connsiteX9" fmla="*/ 10306667 w 10678681"/>
              <a:gd name="connsiteY9" fmla="*/ 10973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99702 w 10678681"/>
              <a:gd name="connsiteY17" fmla="*/ 276316 h 1342734"/>
              <a:gd name="connsiteX18" fmla="*/ 9378439 w 10678681"/>
              <a:gd name="connsiteY18" fmla="*/ 326244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0605 w 10678681"/>
              <a:gd name="connsiteY4" fmla="*/ 30449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57996 w 10678681"/>
              <a:gd name="connsiteY8" fmla="*/ 50836 h 1342734"/>
              <a:gd name="connsiteX9" fmla="*/ 10306667 w 10678681"/>
              <a:gd name="connsiteY9" fmla="*/ 10973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99702 w 10678681"/>
              <a:gd name="connsiteY17" fmla="*/ 276316 h 1342734"/>
              <a:gd name="connsiteX18" fmla="*/ 9378439 w 10678681"/>
              <a:gd name="connsiteY18" fmla="*/ 326244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0605 w 10678681"/>
              <a:gd name="connsiteY4" fmla="*/ 30449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57996 w 10678681"/>
              <a:gd name="connsiteY8" fmla="*/ 50836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99702 w 10678681"/>
              <a:gd name="connsiteY17" fmla="*/ 276316 h 1342734"/>
              <a:gd name="connsiteX18" fmla="*/ 9378439 w 10678681"/>
              <a:gd name="connsiteY18" fmla="*/ 326244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0605 w 10678681"/>
              <a:gd name="connsiteY4" fmla="*/ 30449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99702 w 10678681"/>
              <a:gd name="connsiteY17" fmla="*/ 276316 h 1342734"/>
              <a:gd name="connsiteX18" fmla="*/ 9378439 w 10678681"/>
              <a:gd name="connsiteY18" fmla="*/ 326244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99702 w 10678681"/>
              <a:gd name="connsiteY17" fmla="*/ 276316 h 1342734"/>
              <a:gd name="connsiteX18" fmla="*/ 9378439 w 10678681"/>
              <a:gd name="connsiteY18" fmla="*/ 326244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99702 w 10678681"/>
              <a:gd name="connsiteY17" fmla="*/ 276316 h 1342734"/>
              <a:gd name="connsiteX18" fmla="*/ 9378439 w 10678681"/>
              <a:gd name="connsiteY18" fmla="*/ 326244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99702 w 10678681"/>
              <a:gd name="connsiteY17" fmla="*/ 276316 h 1342734"/>
              <a:gd name="connsiteX18" fmla="*/ 9322314 w 10678681"/>
              <a:gd name="connsiteY18" fmla="*/ 333814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99702 w 10678681"/>
              <a:gd name="connsiteY17" fmla="*/ 276316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99702 w 10678681"/>
              <a:gd name="connsiteY17" fmla="*/ 276316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7450 w 10678681"/>
              <a:gd name="connsiteY63" fmla="*/ 1101075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1838 w 10678681"/>
              <a:gd name="connsiteY63" fmla="*/ 1063226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1838 w 10678681"/>
              <a:gd name="connsiteY63" fmla="*/ 1063226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69396 w 10678681"/>
              <a:gd name="connsiteY45" fmla="*/ 989282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1838 w 10678681"/>
              <a:gd name="connsiteY63" fmla="*/ 1063226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285593 w 10678681"/>
              <a:gd name="connsiteY77" fmla="*/ 1273569 h 1342734"/>
              <a:gd name="connsiteX78" fmla="*/ 5192893 w 10678681"/>
              <a:gd name="connsiteY78" fmla="*/ 1247188 h 1342734"/>
              <a:gd name="connsiteX79" fmla="*/ 5186475 w 10678681"/>
              <a:gd name="connsiteY79" fmla="*/ 1257028 h 1342734"/>
              <a:gd name="connsiteX80" fmla="*/ 5126038 w 10678681"/>
              <a:gd name="connsiteY80" fmla="*/ 1263189 h 1342734"/>
              <a:gd name="connsiteX81" fmla="*/ 4894688 w 10678681"/>
              <a:gd name="connsiteY81" fmla="*/ 1247184 h 1342734"/>
              <a:gd name="connsiteX82" fmla="*/ 4788036 w 10678681"/>
              <a:gd name="connsiteY82" fmla="*/ 1238182 h 1342734"/>
              <a:gd name="connsiteX83" fmla="*/ 4747555 w 10678681"/>
              <a:gd name="connsiteY83" fmla="*/ 1252768 h 1342734"/>
              <a:gd name="connsiteX84" fmla="*/ 4679644 w 10678681"/>
              <a:gd name="connsiteY84" fmla="*/ 1276603 h 1342734"/>
              <a:gd name="connsiteX85" fmla="*/ 4632222 w 10678681"/>
              <a:gd name="connsiteY85" fmla="*/ 1318360 h 1342734"/>
              <a:gd name="connsiteX86" fmla="*/ 4617358 w 10678681"/>
              <a:gd name="connsiteY86" fmla="*/ 1327690 h 1342734"/>
              <a:gd name="connsiteX87" fmla="*/ 4589102 w 10678681"/>
              <a:gd name="connsiteY87" fmla="*/ 1321223 h 1342734"/>
              <a:gd name="connsiteX88" fmla="*/ 4578184 w 10678681"/>
              <a:gd name="connsiteY88" fmla="*/ 1326745 h 1342734"/>
              <a:gd name="connsiteX89" fmla="*/ 4574270 w 10678681"/>
              <a:gd name="connsiteY89" fmla="*/ 1325878 h 1342734"/>
              <a:gd name="connsiteX90" fmla="*/ 4564919 w 10678681"/>
              <a:gd name="connsiteY90" fmla="*/ 1325507 h 1342734"/>
              <a:gd name="connsiteX91" fmla="*/ 4566586 w 10678681"/>
              <a:gd name="connsiteY91" fmla="*/ 1316963 h 1342734"/>
              <a:gd name="connsiteX92" fmla="*/ 4556303 w 10678681"/>
              <a:gd name="connsiteY92" fmla="*/ 1300262 h 1342734"/>
              <a:gd name="connsiteX93" fmla="*/ 4502358 w 10678681"/>
              <a:gd name="connsiteY93" fmla="*/ 1302558 h 1342734"/>
              <a:gd name="connsiteX94" fmla="*/ 4498919 w 10678681"/>
              <a:gd name="connsiteY94" fmla="*/ 1312115 h 1342734"/>
              <a:gd name="connsiteX95" fmla="*/ 4492075 w 10678681"/>
              <a:gd name="connsiteY95" fmla="*/ 1313357 h 1342734"/>
              <a:gd name="connsiteX96" fmla="*/ 4487466 w 10678681"/>
              <a:gd name="connsiteY96" fmla="*/ 1304102 h 1342734"/>
              <a:gd name="connsiteX97" fmla="*/ 4398292 w 10678681"/>
              <a:gd name="connsiteY97" fmla="*/ 1278410 h 1342734"/>
              <a:gd name="connsiteX98" fmla="*/ 4306088 w 10678681"/>
              <a:gd name="connsiteY98" fmla="*/ 1282512 h 1342734"/>
              <a:gd name="connsiteX99" fmla="*/ 4188995 w 10678681"/>
              <a:gd name="connsiteY99" fmla="*/ 1296718 h 1342734"/>
              <a:gd name="connsiteX100" fmla="*/ 4136582 w 10678681"/>
              <a:gd name="connsiteY100" fmla="*/ 1287687 h 1342734"/>
              <a:gd name="connsiteX101" fmla="*/ 4064614 w 10678681"/>
              <a:gd name="connsiteY101" fmla="*/ 1296118 h 1342734"/>
              <a:gd name="connsiteX102" fmla="*/ 3900948 w 10678681"/>
              <a:gd name="connsiteY102" fmla="*/ 1322156 h 1342734"/>
              <a:gd name="connsiteX103" fmla="*/ 3787890 w 10678681"/>
              <a:gd name="connsiteY103" fmla="*/ 1322164 h 1342734"/>
              <a:gd name="connsiteX104" fmla="*/ 3745993 w 10678681"/>
              <a:gd name="connsiteY104" fmla="*/ 1342630 h 1342734"/>
              <a:gd name="connsiteX105" fmla="*/ 3675785 w 10678681"/>
              <a:gd name="connsiteY105" fmla="*/ 1326802 h 1342734"/>
              <a:gd name="connsiteX106" fmla="*/ 3623856 w 10678681"/>
              <a:gd name="connsiteY106" fmla="*/ 1290804 h 1342734"/>
              <a:gd name="connsiteX107" fmla="*/ 3564933 w 10678681"/>
              <a:gd name="connsiteY107" fmla="*/ 1287147 h 1342734"/>
              <a:gd name="connsiteX108" fmla="*/ 3550537 w 10678681"/>
              <a:gd name="connsiteY108" fmla="*/ 1317552 h 1342734"/>
              <a:gd name="connsiteX109" fmla="*/ 3487736 w 10678681"/>
              <a:gd name="connsiteY109" fmla="*/ 1303493 h 1342734"/>
              <a:gd name="connsiteX110" fmla="*/ 3392548 w 10678681"/>
              <a:gd name="connsiteY110" fmla="*/ 1278741 h 1342734"/>
              <a:gd name="connsiteX111" fmla="*/ 3337466 w 10678681"/>
              <a:gd name="connsiteY111" fmla="*/ 1272537 h 1342734"/>
              <a:gd name="connsiteX112" fmla="*/ 3175981 w 10678681"/>
              <a:gd name="connsiteY112" fmla="*/ 1208973 h 1342734"/>
              <a:gd name="connsiteX113" fmla="*/ 3036856 w 10678681"/>
              <a:gd name="connsiteY113" fmla="*/ 1214383 h 1342734"/>
              <a:gd name="connsiteX114" fmla="*/ 2824973 w 10678681"/>
              <a:gd name="connsiteY114" fmla="*/ 1134864 h 1342734"/>
              <a:gd name="connsiteX115" fmla="*/ 2804398 w 10678681"/>
              <a:gd name="connsiteY115" fmla="*/ 1125556 h 1342734"/>
              <a:gd name="connsiteX116" fmla="*/ 2736109 w 10678681"/>
              <a:gd name="connsiteY116" fmla="*/ 1137717 h 1342734"/>
              <a:gd name="connsiteX117" fmla="*/ 2659096 w 10678681"/>
              <a:gd name="connsiteY117" fmla="*/ 1150294 h 1342734"/>
              <a:gd name="connsiteX118" fmla="*/ 2567088 w 10678681"/>
              <a:gd name="connsiteY118" fmla="*/ 1181781 h 1342734"/>
              <a:gd name="connsiteX119" fmla="*/ 2454501 w 10678681"/>
              <a:gd name="connsiteY119" fmla="*/ 1155455 h 1342734"/>
              <a:gd name="connsiteX120" fmla="*/ 2385161 w 10678681"/>
              <a:gd name="connsiteY120" fmla="*/ 1161312 h 1342734"/>
              <a:gd name="connsiteX121" fmla="*/ 2273361 w 10678681"/>
              <a:gd name="connsiteY121" fmla="*/ 1134090 h 1342734"/>
              <a:gd name="connsiteX122" fmla="*/ 2132003 w 10678681"/>
              <a:gd name="connsiteY122" fmla="*/ 1139225 h 1342734"/>
              <a:gd name="connsiteX123" fmla="*/ 2041224 w 10678681"/>
              <a:gd name="connsiteY123" fmla="*/ 1147536 h 1342734"/>
              <a:gd name="connsiteX124" fmla="*/ 2010157 w 10678681"/>
              <a:gd name="connsiteY124" fmla="*/ 1152767 h 1342734"/>
              <a:gd name="connsiteX125" fmla="*/ 1859213 w 10678681"/>
              <a:gd name="connsiteY125" fmla="*/ 1199540 h 1342734"/>
              <a:gd name="connsiteX126" fmla="*/ 1735877 w 10678681"/>
              <a:gd name="connsiteY126" fmla="*/ 1246527 h 1342734"/>
              <a:gd name="connsiteX127" fmla="*/ 1705069 w 10678681"/>
              <a:gd name="connsiteY127" fmla="*/ 1251989 h 1342734"/>
              <a:gd name="connsiteX128" fmla="*/ 1307888 w 10678681"/>
              <a:gd name="connsiteY128" fmla="*/ 1283156 h 1342734"/>
              <a:gd name="connsiteX129" fmla="*/ 1220734 w 10678681"/>
              <a:gd name="connsiteY129" fmla="*/ 1257811 h 1342734"/>
              <a:gd name="connsiteX130" fmla="*/ 1021737 w 10678681"/>
              <a:gd name="connsiteY130" fmla="*/ 1238739 h 1342734"/>
              <a:gd name="connsiteX131" fmla="*/ 959820 w 10678681"/>
              <a:gd name="connsiteY131" fmla="*/ 1275863 h 1342734"/>
              <a:gd name="connsiteX132" fmla="*/ 929137 w 10678681"/>
              <a:gd name="connsiteY132" fmla="*/ 1273957 h 1342734"/>
              <a:gd name="connsiteX133" fmla="*/ 878849 w 10678681"/>
              <a:gd name="connsiteY133" fmla="*/ 1266740 h 1342734"/>
              <a:gd name="connsiteX134" fmla="*/ 800667 w 10678681"/>
              <a:gd name="connsiteY134" fmla="*/ 1282041 h 1342734"/>
              <a:gd name="connsiteX135" fmla="*/ 644906 w 10678681"/>
              <a:gd name="connsiteY135" fmla="*/ 1273685 h 1342734"/>
              <a:gd name="connsiteX136" fmla="*/ 379869 w 10678681"/>
              <a:gd name="connsiteY136" fmla="*/ 1339165 h 1342734"/>
              <a:gd name="connsiteX137" fmla="*/ 137696 w 10678681"/>
              <a:gd name="connsiteY137" fmla="*/ 1319217 h 1342734"/>
              <a:gd name="connsiteX138" fmla="*/ 54250 w 10678681"/>
              <a:gd name="connsiteY138" fmla="*/ 1315838 h 1342734"/>
              <a:gd name="connsiteX139" fmla="*/ 28042 w 10678681"/>
              <a:gd name="connsiteY139" fmla="*/ 1297822 h 1342734"/>
              <a:gd name="connsiteX140" fmla="*/ 0 w 10678681"/>
              <a:gd name="connsiteY140" fmla="*/ 1294612 h 1342734"/>
              <a:gd name="connsiteX141" fmla="*/ 0 w 10678681"/>
              <a:gd name="connsiteY141"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290622 w 10678681"/>
              <a:gd name="connsiteY31" fmla="*/ 622687 h 1342734"/>
              <a:gd name="connsiteX32" fmla="*/ 8086698 w 10678681"/>
              <a:gd name="connsiteY32" fmla="*/ 605185 h 1342734"/>
              <a:gd name="connsiteX33" fmla="*/ 7982378 w 10678681"/>
              <a:gd name="connsiteY33" fmla="*/ 629799 h 1342734"/>
              <a:gd name="connsiteX34" fmla="*/ 7947952 w 10678681"/>
              <a:gd name="connsiteY34" fmla="*/ 648003 h 1342734"/>
              <a:gd name="connsiteX35" fmla="*/ 7890112 w 10678681"/>
              <a:gd name="connsiteY35" fmla="*/ 677915 h 1342734"/>
              <a:gd name="connsiteX36" fmla="*/ 7853284 w 10678681"/>
              <a:gd name="connsiteY36" fmla="*/ 723588 h 1342734"/>
              <a:gd name="connsiteX37" fmla="*/ 7802383 w 10678681"/>
              <a:gd name="connsiteY37" fmla="*/ 739359 h 1342734"/>
              <a:gd name="connsiteX38" fmla="*/ 7730518 w 10678681"/>
              <a:gd name="connsiteY38" fmla="*/ 739526 h 1342734"/>
              <a:gd name="connsiteX39" fmla="*/ 7720084 w 10678681"/>
              <a:gd name="connsiteY39" fmla="*/ 760750 h 1342734"/>
              <a:gd name="connsiteX40" fmla="*/ 7652907 w 10678681"/>
              <a:gd name="connsiteY40" fmla="*/ 783273 h 1342734"/>
              <a:gd name="connsiteX41" fmla="*/ 7606008 w 10678681"/>
              <a:gd name="connsiteY41" fmla="*/ 800717 h 1342734"/>
              <a:gd name="connsiteX42" fmla="*/ 7480223 w 10678681"/>
              <a:gd name="connsiteY42" fmla="*/ 856821 h 1342734"/>
              <a:gd name="connsiteX43" fmla="*/ 7356005 w 10678681"/>
              <a:gd name="connsiteY43" fmla="*/ 919462 h 1342734"/>
              <a:gd name="connsiteX44" fmla="*/ 7305396 w 10678681"/>
              <a:gd name="connsiteY44" fmla="*/ 986228 h 1342734"/>
              <a:gd name="connsiteX45" fmla="*/ 7266251 w 10678681"/>
              <a:gd name="connsiteY45" fmla="*/ 967864 h 1342734"/>
              <a:gd name="connsiteX46" fmla="*/ 7258094 w 10678681"/>
              <a:gd name="connsiteY46" fmla="*/ 990679 h 1342734"/>
              <a:gd name="connsiteX47" fmla="*/ 7257893 w 10678681"/>
              <a:gd name="connsiteY47" fmla="*/ 991204 h 1342734"/>
              <a:gd name="connsiteX48" fmla="*/ 7247153 w 10678681"/>
              <a:gd name="connsiteY48" fmla="*/ 991550 h 1342734"/>
              <a:gd name="connsiteX49" fmla="*/ 7193612 w 10678681"/>
              <a:gd name="connsiteY49" fmla="*/ 987042 h 1342734"/>
              <a:gd name="connsiteX50" fmla="*/ 7132632 w 10678681"/>
              <a:gd name="connsiteY50" fmla="*/ 1042036 h 1342734"/>
              <a:gd name="connsiteX51" fmla="*/ 7105610 w 10678681"/>
              <a:gd name="connsiteY51" fmla="*/ 1053537 h 1342734"/>
              <a:gd name="connsiteX52" fmla="*/ 7069148 w 10678681"/>
              <a:gd name="connsiteY52" fmla="*/ 1047163 h 1342734"/>
              <a:gd name="connsiteX53" fmla="*/ 7039634 w 10678681"/>
              <a:gd name="connsiteY53" fmla="*/ 1059971 h 1342734"/>
              <a:gd name="connsiteX54" fmla="*/ 7033445 w 10678681"/>
              <a:gd name="connsiteY54" fmla="*/ 1063314 h 1342734"/>
              <a:gd name="connsiteX55" fmla="*/ 6999157 w 10678681"/>
              <a:gd name="connsiteY55" fmla="*/ 1055282 h 1342734"/>
              <a:gd name="connsiteX56" fmla="*/ 6981874 w 10678681"/>
              <a:gd name="connsiteY56" fmla="*/ 1053827 h 1342734"/>
              <a:gd name="connsiteX57" fmla="*/ 6976102 w 10678681"/>
              <a:gd name="connsiteY57" fmla="*/ 1047854 h 1342734"/>
              <a:gd name="connsiteX58" fmla="*/ 6951040 w 10678681"/>
              <a:gd name="connsiteY58" fmla="*/ 1048531 h 1342734"/>
              <a:gd name="connsiteX59" fmla="*/ 6948497 w 10678681"/>
              <a:gd name="connsiteY59" fmla="*/ 1050706 h 1342734"/>
              <a:gd name="connsiteX60" fmla="*/ 6926582 w 10678681"/>
              <a:gd name="connsiteY60" fmla="*/ 1043462 h 1342734"/>
              <a:gd name="connsiteX61" fmla="*/ 6833743 w 10678681"/>
              <a:gd name="connsiteY61" fmla="*/ 1027960 h 1342734"/>
              <a:gd name="connsiteX62" fmla="*/ 6687090 w 10678681"/>
              <a:gd name="connsiteY62" fmla="*/ 1063250 h 1342734"/>
              <a:gd name="connsiteX63" fmla="*/ 6431838 w 10678681"/>
              <a:gd name="connsiteY63" fmla="*/ 1063226 h 1342734"/>
              <a:gd name="connsiteX64" fmla="*/ 6327795 w 10678681"/>
              <a:gd name="connsiteY64" fmla="*/ 1088142 h 1342734"/>
              <a:gd name="connsiteX65" fmla="*/ 6136549 w 10678681"/>
              <a:gd name="connsiteY65" fmla="*/ 1100268 h 1342734"/>
              <a:gd name="connsiteX66" fmla="*/ 6004655 w 10678681"/>
              <a:gd name="connsiteY66" fmla="*/ 1114946 h 1342734"/>
              <a:gd name="connsiteX67" fmla="*/ 5936643 w 10678681"/>
              <a:gd name="connsiteY67" fmla="*/ 1095428 h 1342734"/>
              <a:gd name="connsiteX68" fmla="*/ 5912484 w 10678681"/>
              <a:gd name="connsiteY68" fmla="*/ 1112624 h 1342734"/>
              <a:gd name="connsiteX69" fmla="*/ 5908387 w 10678681"/>
              <a:gd name="connsiteY69" fmla="*/ 1116018 h 1342734"/>
              <a:gd name="connsiteX70" fmla="*/ 5890495 w 10678681"/>
              <a:gd name="connsiteY70" fmla="*/ 1120268 h 1342734"/>
              <a:gd name="connsiteX71" fmla="*/ 5887318 w 10678681"/>
              <a:gd name="connsiteY71" fmla="*/ 1133134 h 1342734"/>
              <a:gd name="connsiteX72" fmla="*/ 5861726 w 10678681"/>
              <a:gd name="connsiteY72" fmla="*/ 1147891 h 1342734"/>
              <a:gd name="connsiteX73" fmla="*/ 5805823 w 10678681"/>
              <a:gd name="connsiteY73" fmla="*/ 1152457 h 1342734"/>
              <a:gd name="connsiteX74" fmla="*/ 5689841 w 10678681"/>
              <a:gd name="connsiteY74" fmla="*/ 1176232 h 1342734"/>
              <a:gd name="connsiteX75" fmla="*/ 5605119 w 10678681"/>
              <a:gd name="connsiteY75" fmla="*/ 1190202 h 1342734"/>
              <a:gd name="connsiteX76" fmla="*/ 5488513 w 10678681"/>
              <a:gd name="connsiteY76" fmla="*/ 1205367 h 1342734"/>
              <a:gd name="connsiteX77" fmla="*/ 5402905 w 10678681"/>
              <a:gd name="connsiteY77" fmla="*/ 1241191 h 1342734"/>
              <a:gd name="connsiteX78" fmla="*/ 5285593 w 10678681"/>
              <a:gd name="connsiteY78" fmla="*/ 1273569 h 1342734"/>
              <a:gd name="connsiteX79" fmla="*/ 5192893 w 10678681"/>
              <a:gd name="connsiteY79" fmla="*/ 1247188 h 1342734"/>
              <a:gd name="connsiteX80" fmla="*/ 5186475 w 10678681"/>
              <a:gd name="connsiteY80" fmla="*/ 1257028 h 1342734"/>
              <a:gd name="connsiteX81" fmla="*/ 5126038 w 10678681"/>
              <a:gd name="connsiteY81" fmla="*/ 1263189 h 1342734"/>
              <a:gd name="connsiteX82" fmla="*/ 4894688 w 10678681"/>
              <a:gd name="connsiteY82" fmla="*/ 1247184 h 1342734"/>
              <a:gd name="connsiteX83" fmla="*/ 4788036 w 10678681"/>
              <a:gd name="connsiteY83" fmla="*/ 1238182 h 1342734"/>
              <a:gd name="connsiteX84" fmla="*/ 4747555 w 10678681"/>
              <a:gd name="connsiteY84" fmla="*/ 1252768 h 1342734"/>
              <a:gd name="connsiteX85" fmla="*/ 4679644 w 10678681"/>
              <a:gd name="connsiteY85" fmla="*/ 1276603 h 1342734"/>
              <a:gd name="connsiteX86" fmla="*/ 4632222 w 10678681"/>
              <a:gd name="connsiteY86" fmla="*/ 1318360 h 1342734"/>
              <a:gd name="connsiteX87" fmla="*/ 4617358 w 10678681"/>
              <a:gd name="connsiteY87" fmla="*/ 1327690 h 1342734"/>
              <a:gd name="connsiteX88" fmla="*/ 4589102 w 10678681"/>
              <a:gd name="connsiteY88" fmla="*/ 1321223 h 1342734"/>
              <a:gd name="connsiteX89" fmla="*/ 4578184 w 10678681"/>
              <a:gd name="connsiteY89" fmla="*/ 1326745 h 1342734"/>
              <a:gd name="connsiteX90" fmla="*/ 4574270 w 10678681"/>
              <a:gd name="connsiteY90" fmla="*/ 1325878 h 1342734"/>
              <a:gd name="connsiteX91" fmla="*/ 4564919 w 10678681"/>
              <a:gd name="connsiteY91" fmla="*/ 1325507 h 1342734"/>
              <a:gd name="connsiteX92" fmla="*/ 4566586 w 10678681"/>
              <a:gd name="connsiteY92" fmla="*/ 1316963 h 1342734"/>
              <a:gd name="connsiteX93" fmla="*/ 4556303 w 10678681"/>
              <a:gd name="connsiteY93" fmla="*/ 1300262 h 1342734"/>
              <a:gd name="connsiteX94" fmla="*/ 4502358 w 10678681"/>
              <a:gd name="connsiteY94" fmla="*/ 1302558 h 1342734"/>
              <a:gd name="connsiteX95" fmla="*/ 4498919 w 10678681"/>
              <a:gd name="connsiteY95" fmla="*/ 1312115 h 1342734"/>
              <a:gd name="connsiteX96" fmla="*/ 4492075 w 10678681"/>
              <a:gd name="connsiteY96" fmla="*/ 1313357 h 1342734"/>
              <a:gd name="connsiteX97" fmla="*/ 4487466 w 10678681"/>
              <a:gd name="connsiteY97" fmla="*/ 1304102 h 1342734"/>
              <a:gd name="connsiteX98" fmla="*/ 4398292 w 10678681"/>
              <a:gd name="connsiteY98" fmla="*/ 1278410 h 1342734"/>
              <a:gd name="connsiteX99" fmla="*/ 4306088 w 10678681"/>
              <a:gd name="connsiteY99" fmla="*/ 1282512 h 1342734"/>
              <a:gd name="connsiteX100" fmla="*/ 4188995 w 10678681"/>
              <a:gd name="connsiteY100" fmla="*/ 1296718 h 1342734"/>
              <a:gd name="connsiteX101" fmla="*/ 4136582 w 10678681"/>
              <a:gd name="connsiteY101" fmla="*/ 1287687 h 1342734"/>
              <a:gd name="connsiteX102" fmla="*/ 4064614 w 10678681"/>
              <a:gd name="connsiteY102" fmla="*/ 1296118 h 1342734"/>
              <a:gd name="connsiteX103" fmla="*/ 3900948 w 10678681"/>
              <a:gd name="connsiteY103" fmla="*/ 1322156 h 1342734"/>
              <a:gd name="connsiteX104" fmla="*/ 3787890 w 10678681"/>
              <a:gd name="connsiteY104" fmla="*/ 1322164 h 1342734"/>
              <a:gd name="connsiteX105" fmla="*/ 3745993 w 10678681"/>
              <a:gd name="connsiteY105" fmla="*/ 1342630 h 1342734"/>
              <a:gd name="connsiteX106" fmla="*/ 3675785 w 10678681"/>
              <a:gd name="connsiteY106" fmla="*/ 1326802 h 1342734"/>
              <a:gd name="connsiteX107" fmla="*/ 3623856 w 10678681"/>
              <a:gd name="connsiteY107" fmla="*/ 1290804 h 1342734"/>
              <a:gd name="connsiteX108" fmla="*/ 3564933 w 10678681"/>
              <a:gd name="connsiteY108" fmla="*/ 1287147 h 1342734"/>
              <a:gd name="connsiteX109" fmla="*/ 3550537 w 10678681"/>
              <a:gd name="connsiteY109" fmla="*/ 1317552 h 1342734"/>
              <a:gd name="connsiteX110" fmla="*/ 3487736 w 10678681"/>
              <a:gd name="connsiteY110" fmla="*/ 1303493 h 1342734"/>
              <a:gd name="connsiteX111" fmla="*/ 3392548 w 10678681"/>
              <a:gd name="connsiteY111" fmla="*/ 1278741 h 1342734"/>
              <a:gd name="connsiteX112" fmla="*/ 3337466 w 10678681"/>
              <a:gd name="connsiteY112" fmla="*/ 1272537 h 1342734"/>
              <a:gd name="connsiteX113" fmla="*/ 3175981 w 10678681"/>
              <a:gd name="connsiteY113" fmla="*/ 1208973 h 1342734"/>
              <a:gd name="connsiteX114" fmla="*/ 3036856 w 10678681"/>
              <a:gd name="connsiteY114" fmla="*/ 1214383 h 1342734"/>
              <a:gd name="connsiteX115" fmla="*/ 2824973 w 10678681"/>
              <a:gd name="connsiteY115" fmla="*/ 1134864 h 1342734"/>
              <a:gd name="connsiteX116" fmla="*/ 2804398 w 10678681"/>
              <a:gd name="connsiteY116" fmla="*/ 1125556 h 1342734"/>
              <a:gd name="connsiteX117" fmla="*/ 2736109 w 10678681"/>
              <a:gd name="connsiteY117" fmla="*/ 1137717 h 1342734"/>
              <a:gd name="connsiteX118" fmla="*/ 2659096 w 10678681"/>
              <a:gd name="connsiteY118" fmla="*/ 1150294 h 1342734"/>
              <a:gd name="connsiteX119" fmla="*/ 2567088 w 10678681"/>
              <a:gd name="connsiteY119" fmla="*/ 1181781 h 1342734"/>
              <a:gd name="connsiteX120" fmla="*/ 2454501 w 10678681"/>
              <a:gd name="connsiteY120" fmla="*/ 1155455 h 1342734"/>
              <a:gd name="connsiteX121" fmla="*/ 2385161 w 10678681"/>
              <a:gd name="connsiteY121" fmla="*/ 1161312 h 1342734"/>
              <a:gd name="connsiteX122" fmla="*/ 2273361 w 10678681"/>
              <a:gd name="connsiteY122" fmla="*/ 1134090 h 1342734"/>
              <a:gd name="connsiteX123" fmla="*/ 2132003 w 10678681"/>
              <a:gd name="connsiteY123" fmla="*/ 1139225 h 1342734"/>
              <a:gd name="connsiteX124" fmla="*/ 2041224 w 10678681"/>
              <a:gd name="connsiteY124" fmla="*/ 1147536 h 1342734"/>
              <a:gd name="connsiteX125" fmla="*/ 2010157 w 10678681"/>
              <a:gd name="connsiteY125" fmla="*/ 1152767 h 1342734"/>
              <a:gd name="connsiteX126" fmla="*/ 1859213 w 10678681"/>
              <a:gd name="connsiteY126" fmla="*/ 1199540 h 1342734"/>
              <a:gd name="connsiteX127" fmla="*/ 1735877 w 10678681"/>
              <a:gd name="connsiteY127" fmla="*/ 1246527 h 1342734"/>
              <a:gd name="connsiteX128" fmla="*/ 1705069 w 10678681"/>
              <a:gd name="connsiteY128" fmla="*/ 1251989 h 1342734"/>
              <a:gd name="connsiteX129" fmla="*/ 1307888 w 10678681"/>
              <a:gd name="connsiteY129" fmla="*/ 1283156 h 1342734"/>
              <a:gd name="connsiteX130" fmla="*/ 1220734 w 10678681"/>
              <a:gd name="connsiteY130" fmla="*/ 1257811 h 1342734"/>
              <a:gd name="connsiteX131" fmla="*/ 1021737 w 10678681"/>
              <a:gd name="connsiteY131" fmla="*/ 1238739 h 1342734"/>
              <a:gd name="connsiteX132" fmla="*/ 959820 w 10678681"/>
              <a:gd name="connsiteY132" fmla="*/ 1275863 h 1342734"/>
              <a:gd name="connsiteX133" fmla="*/ 929137 w 10678681"/>
              <a:gd name="connsiteY133" fmla="*/ 1273957 h 1342734"/>
              <a:gd name="connsiteX134" fmla="*/ 878849 w 10678681"/>
              <a:gd name="connsiteY134" fmla="*/ 1266740 h 1342734"/>
              <a:gd name="connsiteX135" fmla="*/ 800667 w 10678681"/>
              <a:gd name="connsiteY135" fmla="*/ 1282041 h 1342734"/>
              <a:gd name="connsiteX136" fmla="*/ 644906 w 10678681"/>
              <a:gd name="connsiteY136" fmla="*/ 1273685 h 1342734"/>
              <a:gd name="connsiteX137" fmla="*/ 379869 w 10678681"/>
              <a:gd name="connsiteY137" fmla="*/ 1339165 h 1342734"/>
              <a:gd name="connsiteX138" fmla="*/ 137696 w 10678681"/>
              <a:gd name="connsiteY138" fmla="*/ 1319217 h 1342734"/>
              <a:gd name="connsiteX139" fmla="*/ 54250 w 10678681"/>
              <a:gd name="connsiteY139" fmla="*/ 1315838 h 1342734"/>
              <a:gd name="connsiteX140" fmla="*/ 28042 w 10678681"/>
              <a:gd name="connsiteY140" fmla="*/ 1297822 h 1342734"/>
              <a:gd name="connsiteX141" fmla="*/ 0 w 10678681"/>
              <a:gd name="connsiteY141" fmla="*/ 1294612 h 1342734"/>
              <a:gd name="connsiteX142" fmla="*/ 0 w 10678681"/>
              <a:gd name="connsiteY142"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344233 w 10678681"/>
              <a:gd name="connsiteY30" fmla="*/ 610922 h 1342734"/>
              <a:gd name="connsiteX31" fmla="*/ 8086698 w 10678681"/>
              <a:gd name="connsiteY31" fmla="*/ 605185 h 1342734"/>
              <a:gd name="connsiteX32" fmla="*/ 7982378 w 10678681"/>
              <a:gd name="connsiteY32" fmla="*/ 629799 h 1342734"/>
              <a:gd name="connsiteX33" fmla="*/ 7947952 w 10678681"/>
              <a:gd name="connsiteY33" fmla="*/ 648003 h 1342734"/>
              <a:gd name="connsiteX34" fmla="*/ 7890112 w 10678681"/>
              <a:gd name="connsiteY34" fmla="*/ 677915 h 1342734"/>
              <a:gd name="connsiteX35" fmla="*/ 7853284 w 10678681"/>
              <a:gd name="connsiteY35" fmla="*/ 723588 h 1342734"/>
              <a:gd name="connsiteX36" fmla="*/ 7802383 w 10678681"/>
              <a:gd name="connsiteY36" fmla="*/ 739359 h 1342734"/>
              <a:gd name="connsiteX37" fmla="*/ 7730518 w 10678681"/>
              <a:gd name="connsiteY37" fmla="*/ 739526 h 1342734"/>
              <a:gd name="connsiteX38" fmla="*/ 7720084 w 10678681"/>
              <a:gd name="connsiteY38" fmla="*/ 760750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285593 w 10678681"/>
              <a:gd name="connsiteY77" fmla="*/ 1273569 h 1342734"/>
              <a:gd name="connsiteX78" fmla="*/ 5192893 w 10678681"/>
              <a:gd name="connsiteY78" fmla="*/ 1247188 h 1342734"/>
              <a:gd name="connsiteX79" fmla="*/ 5186475 w 10678681"/>
              <a:gd name="connsiteY79" fmla="*/ 1257028 h 1342734"/>
              <a:gd name="connsiteX80" fmla="*/ 5126038 w 10678681"/>
              <a:gd name="connsiteY80" fmla="*/ 1263189 h 1342734"/>
              <a:gd name="connsiteX81" fmla="*/ 4894688 w 10678681"/>
              <a:gd name="connsiteY81" fmla="*/ 1247184 h 1342734"/>
              <a:gd name="connsiteX82" fmla="*/ 4788036 w 10678681"/>
              <a:gd name="connsiteY82" fmla="*/ 1238182 h 1342734"/>
              <a:gd name="connsiteX83" fmla="*/ 4747555 w 10678681"/>
              <a:gd name="connsiteY83" fmla="*/ 1252768 h 1342734"/>
              <a:gd name="connsiteX84" fmla="*/ 4679644 w 10678681"/>
              <a:gd name="connsiteY84" fmla="*/ 1276603 h 1342734"/>
              <a:gd name="connsiteX85" fmla="*/ 4632222 w 10678681"/>
              <a:gd name="connsiteY85" fmla="*/ 1318360 h 1342734"/>
              <a:gd name="connsiteX86" fmla="*/ 4617358 w 10678681"/>
              <a:gd name="connsiteY86" fmla="*/ 1327690 h 1342734"/>
              <a:gd name="connsiteX87" fmla="*/ 4589102 w 10678681"/>
              <a:gd name="connsiteY87" fmla="*/ 1321223 h 1342734"/>
              <a:gd name="connsiteX88" fmla="*/ 4578184 w 10678681"/>
              <a:gd name="connsiteY88" fmla="*/ 1326745 h 1342734"/>
              <a:gd name="connsiteX89" fmla="*/ 4574270 w 10678681"/>
              <a:gd name="connsiteY89" fmla="*/ 1325878 h 1342734"/>
              <a:gd name="connsiteX90" fmla="*/ 4564919 w 10678681"/>
              <a:gd name="connsiteY90" fmla="*/ 1325507 h 1342734"/>
              <a:gd name="connsiteX91" fmla="*/ 4566586 w 10678681"/>
              <a:gd name="connsiteY91" fmla="*/ 1316963 h 1342734"/>
              <a:gd name="connsiteX92" fmla="*/ 4556303 w 10678681"/>
              <a:gd name="connsiteY92" fmla="*/ 1300262 h 1342734"/>
              <a:gd name="connsiteX93" fmla="*/ 4502358 w 10678681"/>
              <a:gd name="connsiteY93" fmla="*/ 1302558 h 1342734"/>
              <a:gd name="connsiteX94" fmla="*/ 4498919 w 10678681"/>
              <a:gd name="connsiteY94" fmla="*/ 1312115 h 1342734"/>
              <a:gd name="connsiteX95" fmla="*/ 4492075 w 10678681"/>
              <a:gd name="connsiteY95" fmla="*/ 1313357 h 1342734"/>
              <a:gd name="connsiteX96" fmla="*/ 4487466 w 10678681"/>
              <a:gd name="connsiteY96" fmla="*/ 1304102 h 1342734"/>
              <a:gd name="connsiteX97" fmla="*/ 4398292 w 10678681"/>
              <a:gd name="connsiteY97" fmla="*/ 1278410 h 1342734"/>
              <a:gd name="connsiteX98" fmla="*/ 4306088 w 10678681"/>
              <a:gd name="connsiteY98" fmla="*/ 1282512 h 1342734"/>
              <a:gd name="connsiteX99" fmla="*/ 4188995 w 10678681"/>
              <a:gd name="connsiteY99" fmla="*/ 1296718 h 1342734"/>
              <a:gd name="connsiteX100" fmla="*/ 4136582 w 10678681"/>
              <a:gd name="connsiteY100" fmla="*/ 1287687 h 1342734"/>
              <a:gd name="connsiteX101" fmla="*/ 4064614 w 10678681"/>
              <a:gd name="connsiteY101" fmla="*/ 1296118 h 1342734"/>
              <a:gd name="connsiteX102" fmla="*/ 3900948 w 10678681"/>
              <a:gd name="connsiteY102" fmla="*/ 1322156 h 1342734"/>
              <a:gd name="connsiteX103" fmla="*/ 3787890 w 10678681"/>
              <a:gd name="connsiteY103" fmla="*/ 1322164 h 1342734"/>
              <a:gd name="connsiteX104" fmla="*/ 3745993 w 10678681"/>
              <a:gd name="connsiteY104" fmla="*/ 1342630 h 1342734"/>
              <a:gd name="connsiteX105" fmla="*/ 3675785 w 10678681"/>
              <a:gd name="connsiteY105" fmla="*/ 1326802 h 1342734"/>
              <a:gd name="connsiteX106" fmla="*/ 3623856 w 10678681"/>
              <a:gd name="connsiteY106" fmla="*/ 1290804 h 1342734"/>
              <a:gd name="connsiteX107" fmla="*/ 3564933 w 10678681"/>
              <a:gd name="connsiteY107" fmla="*/ 1287147 h 1342734"/>
              <a:gd name="connsiteX108" fmla="*/ 3550537 w 10678681"/>
              <a:gd name="connsiteY108" fmla="*/ 1317552 h 1342734"/>
              <a:gd name="connsiteX109" fmla="*/ 3487736 w 10678681"/>
              <a:gd name="connsiteY109" fmla="*/ 1303493 h 1342734"/>
              <a:gd name="connsiteX110" fmla="*/ 3392548 w 10678681"/>
              <a:gd name="connsiteY110" fmla="*/ 1278741 h 1342734"/>
              <a:gd name="connsiteX111" fmla="*/ 3337466 w 10678681"/>
              <a:gd name="connsiteY111" fmla="*/ 1272537 h 1342734"/>
              <a:gd name="connsiteX112" fmla="*/ 3175981 w 10678681"/>
              <a:gd name="connsiteY112" fmla="*/ 1208973 h 1342734"/>
              <a:gd name="connsiteX113" fmla="*/ 3036856 w 10678681"/>
              <a:gd name="connsiteY113" fmla="*/ 1214383 h 1342734"/>
              <a:gd name="connsiteX114" fmla="*/ 2824973 w 10678681"/>
              <a:gd name="connsiteY114" fmla="*/ 1134864 h 1342734"/>
              <a:gd name="connsiteX115" fmla="*/ 2804398 w 10678681"/>
              <a:gd name="connsiteY115" fmla="*/ 1125556 h 1342734"/>
              <a:gd name="connsiteX116" fmla="*/ 2736109 w 10678681"/>
              <a:gd name="connsiteY116" fmla="*/ 1137717 h 1342734"/>
              <a:gd name="connsiteX117" fmla="*/ 2659096 w 10678681"/>
              <a:gd name="connsiteY117" fmla="*/ 1150294 h 1342734"/>
              <a:gd name="connsiteX118" fmla="*/ 2567088 w 10678681"/>
              <a:gd name="connsiteY118" fmla="*/ 1181781 h 1342734"/>
              <a:gd name="connsiteX119" fmla="*/ 2454501 w 10678681"/>
              <a:gd name="connsiteY119" fmla="*/ 1155455 h 1342734"/>
              <a:gd name="connsiteX120" fmla="*/ 2385161 w 10678681"/>
              <a:gd name="connsiteY120" fmla="*/ 1161312 h 1342734"/>
              <a:gd name="connsiteX121" fmla="*/ 2273361 w 10678681"/>
              <a:gd name="connsiteY121" fmla="*/ 1134090 h 1342734"/>
              <a:gd name="connsiteX122" fmla="*/ 2132003 w 10678681"/>
              <a:gd name="connsiteY122" fmla="*/ 1139225 h 1342734"/>
              <a:gd name="connsiteX123" fmla="*/ 2041224 w 10678681"/>
              <a:gd name="connsiteY123" fmla="*/ 1147536 h 1342734"/>
              <a:gd name="connsiteX124" fmla="*/ 2010157 w 10678681"/>
              <a:gd name="connsiteY124" fmla="*/ 1152767 h 1342734"/>
              <a:gd name="connsiteX125" fmla="*/ 1859213 w 10678681"/>
              <a:gd name="connsiteY125" fmla="*/ 1199540 h 1342734"/>
              <a:gd name="connsiteX126" fmla="*/ 1735877 w 10678681"/>
              <a:gd name="connsiteY126" fmla="*/ 1246527 h 1342734"/>
              <a:gd name="connsiteX127" fmla="*/ 1705069 w 10678681"/>
              <a:gd name="connsiteY127" fmla="*/ 1251989 h 1342734"/>
              <a:gd name="connsiteX128" fmla="*/ 1307888 w 10678681"/>
              <a:gd name="connsiteY128" fmla="*/ 1283156 h 1342734"/>
              <a:gd name="connsiteX129" fmla="*/ 1220734 w 10678681"/>
              <a:gd name="connsiteY129" fmla="*/ 1257811 h 1342734"/>
              <a:gd name="connsiteX130" fmla="*/ 1021737 w 10678681"/>
              <a:gd name="connsiteY130" fmla="*/ 1238739 h 1342734"/>
              <a:gd name="connsiteX131" fmla="*/ 959820 w 10678681"/>
              <a:gd name="connsiteY131" fmla="*/ 1275863 h 1342734"/>
              <a:gd name="connsiteX132" fmla="*/ 929137 w 10678681"/>
              <a:gd name="connsiteY132" fmla="*/ 1273957 h 1342734"/>
              <a:gd name="connsiteX133" fmla="*/ 878849 w 10678681"/>
              <a:gd name="connsiteY133" fmla="*/ 1266740 h 1342734"/>
              <a:gd name="connsiteX134" fmla="*/ 800667 w 10678681"/>
              <a:gd name="connsiteY134" fmla="*/ 1282041 h 1342734"/>
              <a:gd name="connsiteX135" fmla="*/ 644906 w 10678681"/>
              <a:gd name="connsiteY135" fmla="*/ 1273685 h 1342734"/>
              <a:gd name="connsiteX136" fmla="*/ 379869 w 10678681"/>
              <a:gd name="connsiteY136" fmla="*/ 1339165 h 1342734"/>
              <a:gd name="connsiteX137" fmla="*/ 137696 w 10678681"/>
              <a:gd name="connsiteY137" fmla="*/ 1319217 h 1342734"/>
              <a:gd name="connsiteX138" fmla="*/ 54250 w 10678681"/>
              <a:gd name="connsiteY138" fmla="*/ 1315838 h 1342734"/>
              <a:gd name="connsiteX139" fmla="*/ 28042 w 10678681"/>
              <a:gd name="connsiteY139" fmla="*/ 1297822 h 1342734"/>
              <a:gd name="connsiteX140" fmla="*/ 0 w 10678681"/>
              <a:gd name="connsiteY140" fmla="*/ 1294612 h 1342734"/>
              <a:gd name="connsiteX141" fmla="*/ 0 w 10678681"/>
              <a:gd name="connsiteY141"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54478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276883 w 10678681"/>
              <a:gd name="connsiteY30" fmla="*/ 588214 h 1342734"/>
              <a:gd name="connsiteX31" fmla="*/ 8086698 w 10678681"/>
              <a:gd name="connsiteY31" fmla="*/ 605185 h 1342734"/>
              <a:gd name="connsiteX32" fmla="*/ 7982378 w 10678681"/>
              <a:gd name="connsiteY32" fmla="*/ 629799 h 1342734"/>
              <a:gd name="connsiteX33" fmla="*/ 7947952 w 10678681"/>
              <a:gd name="connsiteY33" fmla="*/ 648003 h 1342734"/>
              <a:gd name="connsiteX34" fmla="*/ 7890112 w 10678681"/>
              <a:gd name="connsiteY34" fmla="*/ 677915 h 1342734"/>
              <a:gd name="connsiteX35" fmla="*/ 7853284 w 10678681"/>
              <a:gd name="connsiteY35" fmla="*/ 723588 h 1342734"/>
              <a:gd name="connsiteX36" fmla="*/ 7802383 w 10678681"/>
              <a:gd name="connsiteY36" fmla="*/ 739359 h 1342734"/>
              <a:gd name="connsiteX37" fmla="*/ 7730518 w 10678681"/>
              <a:gd name="connsiteY37" fmla="*/ 739526 h 1342734"/>
              <a:gd name="connsiteX38" fmla="*/ 7720084 w 10678681"/>
              <a:gd name="connsiteY38" fmla="*/ 760750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285593 w 10678681"/>
              <a:gd name="connsiteY77" fmla="*/ 1273569 h 1342734"/>
              <a:gd name="connsiteX78" fmla="*/ 5192893 w 10678681"/>
              <a:gd name="connsiteY78" fmla="*/ 1247188 h 1342734"/>
              <a:gd name="connsiteX79" fmla="*/ 5186475 w 10678681"/>
              <a:gd name="connsiteY79" fmla="*/ 1257028 h 1342734"/>
              <a:gd name="connsiteX80" fmla="*/ 5126038 w 10678681"/>
              <a:gd name="connsiteY80" fmla="*/ 1263189 h 1342734"/>
              <a:gd name="connsiteX81" fmla="*/ 4894688 w 10678681"/>
              <a:gd name="connsiteY81" fmla="*/ 1247184 h 1342734"/>
              <a:gd name="connsiteX82" fmla="*/ 4788036 w 10678681"/>
              <a:gd name="connsiteY82" fmla="*/ 1238182 h 1342734"/>
              <a:gd name="connsiteX83" fmla="*/ 4747555 w 10678681"/>
              <a:gd name="connsiteY83" fmla="*/ 1252768 h 1342734"/>
              <a:gd name="connsiteX84" fmla="*/ 4679644 w 10678681"/>
              <a:gd name="connsiteY84" fmla="*/ 1276603 h 1342734"/>
              <a:gd name="connsiteX85" fmla="*/ 4632222 w 10678681"/>
              <a:gd name="connsiteY85" fmla="*/ 1318360 h 1342734"/>
              <a:gd name="connsiteX86" fmla="*/ 4617358 w 10678681"/>
              <a:gd name="connsiteY86" fmla="*/ 1327690 h 1342734"/>
              <a:gd name="connsiteX87" fmla="*/ 4589102 w 10678681"/>
              <a:gd name="connsiteY87" fmla="*/ 1321223 h 1342734"/>
              <a:gd name="connsiteX88" fmla="*/ 4578184 w 10678681"/>
              <a:gd name="connsiteY88" fmla="*/ 1326745 h 1342734"/>
              <a:gd name="connsiteX89" fmla="*/ 4574270 w 10678681"/>
              <a:gd name="connsiteY89" fmla="*/ 1325878 h 1342734"/>
              <a:gd name="connsiteX90" fmla="*/ 4564919 w 10678681"/>
              <a:gd name="connsiteY90" fmla="*/ 1325507 h 1342734"/>
              <a:gd name="connsiteX91" fmla="*/ 4566586 w 10678681"/>
              <a:gd name="connsiteY91" fmla="*/ 1316963 h 1342734"/>
              <a:gd name="connsiteX92" fmla="*/ 4556303 w 10678681"/>
              <a:gd name="connsiteY92" fmla="*/ 1300262 h 1342734"/>
              <a:gd name="connsiteX93" fmla="*/ 4502358 w 10678681"/>
              <a:gd name="connsiteY93" fmla="*/ 1302558 h 1342734"/>
              <a:gd name="connsiteX94" fmla="*/ 4498919 w 10678681"/>
              <a:gd name="connsiteY94" fmla="*/ 1312115 h 1342734"/>
              <a:gd name="connsiteX95" fmla="*/ 4492075 w 10678681"/>
              <a:gd name="connsiteY95" fmla="*/ 1313357 h 1342734"/>
              <a:gd name="connsiteX96" fmla="*/ 4487466 w 10678681"/>
              <a:gd name="connsiteY96" fmla="*/ 1304102 h 1342734"/>
              <a:gd name="connsiteX97" fmla="*/ 4398292 w 10678681"/>
              <a:gd name="connsiteY97" fmla="*/ 1278410 h 1342734"/>
              <a:gd name="connsiteX98" fmla="*/ 4306088 w 10678681"/>
              <a:gd name="connsiteY98" fmla="*/ 1282512 h 1342734"/>
              <a:gd name="connsiteX99" fmla="*/ 4188995 w 10678681"/>
              <a:gd name="connsiteY99" fmla="*/ 1296718 h 1342734"/>
              <a:gd name="connsiteX100" fmla="*/ 4136582 w 10678681"/>
              <a:gd name="connsiteY100" fmla="*/ 1287687 h 1342734"/>
              <a:gd name="connsiteX101" fmla="*/ 4064614 w 10678681"/>
              <a:gd name="connsiteY101" fmla="*/ 1296118 h 1342734"/>
              <a:gd name="connsiteX102" fmla="*/ 3900948 w 10678681"/>
              <a:gd name="connsiteY102" fmla="*/ 1322156 h 1342734"/>
              <a:gd name="connsiteX103" fmla="*/ 3787890 w 10678681"/>
              <a:gd name="connsiteY103" fmla="*/ 1322164 h 1342734"/>
              <a:gd name="connsiteX104" fmla="*/ 3745993 w 10678681"/>
              <a:gd name="connsiteY104" fmla="*/ 1342630 h 1342734"/>
              <a:gd name="connsiteX105" fmla="*/ 3675785 w 10678681"/>
              <a:gd name="connsiteY105" fmla="*/ 1326802 h 1342734"/>
              <a:gd name="connsiteX106" fmla="*/ 3623856 w 10678681"/>
              <a:gd name="connsiteY106" fmla="*/ 1290804 h 1342734"/>
              <a:gd name="connsiteX107" fmla="*/ 3564933 w 10678681"/>
              <a:gd name="connsiteY107" fmla="*/ 1287147 h 1342734"/>
              <a:gd name="connsiteX108" fmla="*/ 3550537 w 10678681"/>
              <a:gd name="connsiteY108" fmla="*/ 1317552 h 1342734"/>
              <a:gd name="connsiteX109" fmla="*/ 3487736 w 10678681"/>
              <a:gd name="connsiteY109" fmla="*/ 1303493 h 1342734"/>
              <a:gd name="connsiteX110" fmla="*/ 3392548 w 10678681"/>
              <a:gd name="connsiteY110" fmla="*/ 1278741 h 1342734"/>
              <a:gd name="connsiteX111" fmla="*/ 3337466 w 10678681"/>
              <a:gd name="connsiteY111" fmla="*/ 1272537 h 1342734"/>
              <a:gd name="connsiteX112" fmla="*/ 3175981 w 10678681"/>
              <a:gd name="connsiteY112" fmla="*/ 1208973 h 1342734"/>
              <a:gd name="connsiteX113" fmla="*/ 3036856 w 10678681"/>
              <a:gd name="connsiteY113" fmla="*/ 1214383 h 1342734"/>
              <a:gd name="connsiteX114" fmla="*/ 2824973 w 10678681"/>
              <a:gd name="connsiteY114" fmla="*/ 1134864 h 1342734"/>
              <a:gd name="connsiteX115" fmla="*/ 2804398 w 10678681"/>
              <a:gd name="connsiteY115" fmla="*/ 1125556 h 1342734"/>
              <a:gd name="connsiteX116" fmla="*/ 2736109 w 10678681"/>
              <a:gd name="connsiteY116" fmla="*/ 1137717 h 1342734"/>
              <a:gd name="connsiteX117" fmla="*/ 2659096 w 10678681"/>
              <a:gd name="connsiteY117" fmla="*/ 1150294 h 1342734"/>
              <a:gd name="connsiteX118" fmla="*/ 2567088 w 10678681"/>
              <a:gd name="connsiteY118" fmla="*/ 1181781 h 1342734"/>
              <a:gd name="connsiteX119" fmla="*/ 2454501 w 10678681"/>
              <a:gd name="connsiteY119" fmla="*/ 1155455 h 1342734"/>
              <a:gd name="connsiteX120" fmla="*/ 2385161 w 10678681"/>
              <a:gd name="connsiteY120" fmla="*/ 1161312 h 1342734"/>
              <a:gd name="connsiteX121" fmla="*/ 2273361 w 10678681"/>
              <a:gd name="connsiteY121" fmla="*/ 1134090 h 1342734"/>
              <a:gd name="connsiteX122" fmla="*/ 2132003 w 10678681"/>
              <a:gd name="connsiteY122" fmla="*/ 1139225 h 1342734"/>
              <a:gd name="connsiteX123" fmla="*/ 2041224 w 10678681"/>
              <a:gd name="connsiteY123" fmla="*/ 1147536 h 1342734"/>
              <a:gd name="connsiteX124" fmla="*/ 2010157 w 10678681"/>
              <a:gd name="connsiteY124" fmla="*/ 1152767 h 1342734"/>
              <a:gd name="connsiteX125" fmla="*/ 1859213 w 10678681"/>
              <a:gd name="connsiteY125" fmla="*/ 1199540 h 1342734"/>
              <a:gd name="connsiteX126" fmla="*/ 1735877 w 10678681"/>
              <a:gd name="connsiteY126" fmla="*/ 1246527 h 1342734"/>
              <a:gd name="connsiteX127" fmla="*/ 1705069 w 10678681"/>
              <a:gd name="connsiteY127" fmla="*/ 1251989 h 1342734"/>
              <a:gd name="connsiteX128" fmla="*/ 1307888 w 10678681"/>
              <a:gd name="connsiteY128" fmla="*/ 1283156 h 1342734"/>
              <a:gd name="connsiteX129" fmla="*/ 1220734 w 10678681"/>
              <a:gd name="connsiteY129" fmla="*/ 1257811 h 1342734"/>
              <a:gd name="connsiteX130" fmla="*/ 1021737 w 10678681"/>
              <a:gd name="connsiteY130" fmla="*/ 1238739 h 1342734"/>
              <a:gd name="connsiteX131" fmla="*/ 959820 w 10678681"/>
              <a:gd name="connsiteY131" fmla="*/ 1275863 h 1342734"/>
              <a:gd name="connsiteX132" fmla="*/ 929137 w 10678681"/>
              <a:gd name="connsiteY132" fmla="*/ 1273957 h 1342734"/>
              <a:gd name="connsiteX133" fmla="*/ 878849 w 10678681"/>
              <a:gd name="connsiteY133" fmla="*/ 1266740 h 1342734"/>
              <a:gd name="connsiteX134" fmla="*/ 800667 w 10678681"/>
              <a:gd name="connsiteY134" fmla="*/ 1282041 h 1342734"/>
              <a:gd name="connsiteX135" fmla="*/ 644906 w 10678681"/>
              <a:gd name="connsiteY135" fmla="*/ 1273685 h 1342734"/>
              <a:gd name="connsiteX136" fmla="*/ 379869 w 10678681"/>
              <a:gd name="connsiteY136" fmla="*/ 1339165 h 1342734"/>
              <a:gd name="connsiteX137" fmla="*/ 137696 w 10678681"/>
              <a:gd name="connsiteY137" fmla="*/ 1319217 h 1342734"/>
              <a:gd name="connsiteX138" fmla="*/ 54250 w 10678681"/>
              <a:gd name="connsiteY138" fmla="*/ 1315838 h 1342734"/>
              <a:gd name="connsiteX139" fmla="*/ 28042 w 10678681"/>
              <a:gd name="connsiteY139" fmla="*/ 1297822 h 1342734"/>
              <a:gd name="connsiteX140" fmla="*/ 0 w 10678681"/>
              <a:gd name="connsiteY140" fmla="*/ 1294612 h 1342734"/>
              <a:gd name="connsiteX141" fmla="*/ 0 w 10678681"/>
              <a:gd name="connsiteY141"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09062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276883 w 10678681"/>
              <a:gd name="connsiteY30" fmla="*/ 588214 h 1342734"/>
              <a:gd name="connsiteX31" fmla="*/ 8086698 w 10678681"/>
              <a:gd name="connsiteY31" fmla="*/ 605185 h 1342734"/>
              <a:gd name="connsiteX32" fmla="*/ 7982378 w 10678681"/>
              <a:gd name="connsiteY32" fmla="*/ 629799 h 1342734"/>
              <a:gd name="connsiteX33" fmla="*/ 7947952 w 10678681"/>
              <a:gd name="connsiteY33" fmla="*/ 648003 h 1342734"/>
              <a:gd name="connsiteX34" fmla="*/ 7890112 w 10678681"/>
              <a:gd name="connsiteY34" fmla="*/ 677915 h 1342734"/>
              <a:gd name="connsiteX35" fmla="*/ 7853284 w 10678681"/>
              <a:gd name="connsiteY35" fmla="*/ 723588 h 1342734"/>
              <a:gd name="connsiteX36" fmla="*/ 7802383 w 10678681"/>
              <a:gd name="connsiteY36" fmla="*/ 739359 h 1342734"/>
              <a:gd name="connsiteX37" fmla="*/ 7730518 w 10678681"/>
              <a:gd name="connsiteY37" fmla="*/ 739526 h 1342734"/>
              <a:gd name="connsiteX38" fmla="*/ 7720084 w 10678681"/>
              <a:gd name="connsiteY38" fmla="*/ 760750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285593 w 10678681"/>
              <a:gd name="connsiteY77" fmla="*/ 1273569 h 1342734"/>
              <a:gd name="connsiteX78" fmla="*/ 5192893 w 10678681"/>
              <a:gd name="connsiteY78" fmla="*/ 1247188 h 1342734"/>
              <a:gd name="connsiteX79" fmla="*/ 5186475 w 10678681"/>
              <a:gd name="connsiteY79" fmla="*/ 1257028 h 1342734"/>
              <a:gd name="connsiteX80" fmla="*/ 5126038 w 10678681"/>
              <a:gd name="connsiteY80" fmla="*/ 1263189 h 1342734"/>
              <a:gd name="connsiteX81" fmla="*/ 4894688 w 10678681"/>
              <a:gd name="connsiteY81" fmla="*/ 1247184 h 1342734"/>
              <a:gd name="connsiteX82" fmla="*/ 4788036 w 10678681"/>
              <a:gd name="connsiteY82" fmla="*/ 1238182 h 1342734"/>
              <a:gd name="connsiteX83" fmla="*/ 4747555 w 10678681"/>
              <a:gd name="connsiteY83" fmla="*/ 1252768 h 1342734"/>
              <a:gd name="connsiteX84" fmla="*/ 4679644 w 10678681"/>
              <a:gd name="connsiteY84" fmla="*/ 1276603 h 1342734"/>
              <a:gd name="connsiteX85" fmla="*/ 4632222 w 10678681"/>
              <a:gd name="connsiteY85" fmla="*/ 1318360 h 1342734"/>
              <a:gd name="connsiteX86" fmla="*/ 4617358 w 10678681"/>
              <a:gd name="connsiteY86" fmla="*/ 1327690 h 1342734"/>
              <a:gd name="connsiteX87" fmla="*/ 4589102 w 10678681"/>
              <a:gd name="connsiteY87" fmla="*/ 1321223 h 1342734"/>
              <a:gd name="connsiteX88" fmla="*/ 4578184 w 10678681"/>
              <a:gd name="connsiteY88" fmla="*/ 1326745 h 1342734"/>
              <a:gd name="connsiteX89" fmla="*/ 4574270 w 10678681"/>
              <a:gd name="connsiteY89" fmla="*/ 1325878 h 1342734"/>
              <a:gd name="connsiteX90" fmla="*/ 4564919 w 10678681"/>
              <a:gd name="connsiteY90" fmla="*/ 1325507 h 1342734"/>
              <a:gd name="connsiteX91" fmla="*/ 4566586 w 10678681"/>
              <a:gd name="connsiteY91" fmla="*/ 1316963 h 1342734"/>
              <a:gd name="connsiteX92" fmla="*/ 4556303 w 10678681"/>
              <a:gd name="connsiteY92" fmla="*/ 1300262 h 1342734"/>
              <a:gd name="connsiteX93" fmla="*/ 4502358 w 10678681"/>
              <a:gd name="connsiteY93" fmla="*/ 1302558 h 1342734"/>
              <a:gd name="connsiteX94" fmla="*/ 4498919 w 10678681"/>
              <a:gd name="connsiteY94" fmla="*/ 1312115 h 1342734"/>
              <a:gd name="connsiteX95" fmla="*/ 4492075 w 10678681"/>
              <a:gd name="connsiteY95" fmla="*/ 1313357 h 1342734"/>
              <a:gd name="connsiteX96" fmla="*/ 4487466 w 10678681"/>
              <a:gd name="connsiteY96" fmla="*/ 1304102 h 1342734"/>
              <a:gd name="connsiteX97" fmla="*/ 4398292 w 10678681"/>
              <a:gd name="connsiteY97" fmla="*/ 1278410 h 1342734"/>
              <a:gd name="connsiteX98" fmla="*/ 4306088 w 10678681"/>
              <a:gd name="connsiteY98" fmla="*/ 1282512 h 1342734"/>
              <a:gd name="connsiteX99" fmla="*/ 4188995 w 10678681"/>
              <a:gd name="connsiteY99" fmla="*/ 1296718 h 1342734"/>
              <a:gd name="connsiteX100" fmla="*/ 4136582 w 10678681"/>
              <a:gd name="connsiteY100" fmla="*/ 1287687 h 1342734"/>
              <a:gd name="connsiteX101" fmla="*/ 4064614 w 10678681"/>
              <a:gd name="connsiteY101" fmla="*/ 1296118 h 1342734"/>
              <a:gd name="connsiteX102" fmla="*/ 3900948 w 10678681"/>
              <a:gd name="connsiteY102" fmla="*/ 1322156 h 1342734"/>
              <a:gd name="connsiteX103" fmla="*/ 3787890 w 10678681"/>
              <a:gd name="connsiteY103" fmla="*/ 1322164 h 1342734"/>
              <a:gd name="connsiteX104" fmla="*/ 3745993 w 10678681"/>
              <a:gd name="connsiteY104" fmla="*/ 1342630 h 1342734"/>
              <a:gd name="connsiteX105" fmla="*/ 3675785 w 10678681"/>
              <a:gd name="connsiteY105" fmla="*/ 1326802 h 1342734"/>
              <a:gd name="connsiteX106" fmla="*/ 3623856 w 10678681"/>
              <a:gd name="connsiteY106" fmla="*/ 1290804 h 1342734"/>
              <a:gd name="connsiteX107" fmla="*/ 3564933 w 10678681"/>
              <a:gd name="connsiteY107" fmla="*/ 1287147 h 1342734"/>
              <a:gd name="connsiteX108" fmla="*/ 3550537 w 10678681"/>
              <a:gd name="connsiteY108" fmla="*/ 1317552 h 1342734"/>
              <a:gd name="connsiteX109" fmla="*/ 3487736 w 10678681"/>
              <a:gd name="connsiteY109" fmla="*/ 1303493 h 1342734"/>
              <a:gd name="connsiteX110" fmla="*/ 3392548 w 10678681"/>
              <a:gd name="connsiteY110" fmla="*/ 1278741 h 1342734"/>
              <a:gd name="connsiteX111" fmla="*/ 3337466 w 10678681"/>
              <a:gd name="connsiteY111" fmla="*/ 1272537 h 1342734"/>
              <a:gd name="connsiteX112" fmla="*/ 3175981 w 10678681"/>
              <a:gd name="connsiteY112" fmla="*/ 1208973 h 1342734"/>
              <a:gd name="connsiteX113" fmla="*/ 3036856 w 10678681"/>
              <a:gd name="connsiteY113" fmla="*/ 1214383 h 1342734"/>
              <a:gd name="connsiteX114" fmla="*/ 2824973 w 10678681"/>
              <a:gd name="connsiteY114" fmla="*/ 1134864 h 1342734"/>
              <a:gd name="connsiteX115" fmla="*/ 2804398 w 10678681"/>
              <a:gd name="connsiteY115" fmla="*/ 1125556 h 1342734"/>
              <a:gd name="connsiteX116" fmla="*/ 2736109 w 10678681"/>
              <a:gd name="connsiteY116" fmla="*/ 1137717 h 1342734"/>
              <a:gd name="connsiteX117" fmla="*/ 2659096 w 10678681"/>
              <a:gd name="connsiteY117" fmla="*/ 1150294 h 1342734"/>
              <a:gd name="connsiteX118" fmla="*/ 2567088 w 10678681"/>
              <a:gd name="connsiteY118" fmla="*/ 1181781 h 1342734"/>
              <a:gd name="connsiteX119" fmla="*/ 2454501 w 10678681"/>
              <a:gd name="connsiteY119" fmla="*/ 1155455 h 1342734"/>
              <a:gd name="connsiteX120" fmla="*/ 2385161 w 10678681"/>
              <a:gd name="connsiteY120" fmla="*/ 1161312 h 1342734"/>
              <a:gd name="connsiteX121" fmla="*/ 2273361 w 10678681"/>
              <a:gd name="connsiteY121" fmla="*/ 1134090 h 1342734"/>
              <a:gd name="connsiteX122" fmla="*/ 2132003 w 10678681"/>
              <a:gd name="connsiteY122" fmla="*/ 1139225 h 1342734"/>
              <a:gd name="connsiteX123" fmla="*/ 2041224 w 10678681"/>
              <a:gd name="connsiteY123" fmla="*/ 1147536 h 1342734"/>
              <a:gd name="connsiteX124" fmla="*/ 2010157 w 10678681"/>
              <a:gd name="connsiteY124" fmla="*/ 1152767 h 1342734"/>
              <a:gd name="connsiteX125" fmla="*/ 1859213 w 10678681"/>
              <a:gd name="connsiteY125" fmla="*/ 1199540 h 1342734"/>
              <a:gd name="connsiteX126" fmla="*/ 1735877 w 10678681"/>
              <a:gd name="connsiteY126" fmla="*/ 1246527 h 1342734"/>
              <a:gd name="connsiteX127" fmla="*/ 1705069 w 10678681"/>
              <a:gd name="connsiteY127" fmla="*/ 1251989 h 1342734"/>
              <a:gd name="connsiteX128" fmla="*/ 1307888 w 10678681"/>
              <a:gd name="connsiteY128" fmla="*/ 1283156 h 1342734"/>
              <a:gd name="connsiteX129" fmla="*/ 1220734 w 10678681"/>
              <a:gd name="connsiteY129" fmla="*/ 1257811 h 1342734"/>
              <a:gd name="connsiteX130" fmla="*/ 1021737 w 10678681"/>
              <a:gd name="connsiteY130" fmla="*/ 1238739 h 1342734"/>
              <a:gd name="connsiteX131" fmla="*/ 959820 w 10678681"/>
              <a:gd name="connsiteY131" fmla="*/ 1275863 h 1342734"/>
              <a:gd name="connsiteX132" fmla="*/ 929137 w 10678681"/>
              <a:gd name="connsiteY132" fmla="*/ 1273957 h 1342734"/>
              <a:gd name="connsiteX133" fmla="*/ 878849 w 10678681"/>
              <a:gd name="connsiteY133" fmla="*/ 1266740 h 1342734"/>
              <a:gd name="connsiteX134" fmla="*/ 800667 w 10678681"/>
              <a:gd name="connsiteY134" fmla="*/ 1282041 h 1342734"/>
              <a:gd name="connsiteX135" fmla="*/ 644906 w 10678681"/>
              <a:gd name="connsiteY135" fmla="*/ 1273685 h 1342734"/>
              <a:gd name="connsiteX136" fmla="*/ 379869 w 10678681"/>
              <a:gd name="connsiteY136" fmla="*/ 1339165 h 1342734"/>
              <a:gd name="connsiteX137" fmla="*/ 137696 w 10678681"/>
              <a:gd name="connsiteY137" fmla="*/ 1319217 h 1342734"/>
              <a:gd name="connsiteX138" fmla="*/ 54250 w 10678681"/>
              <a:gd name="connsiteY138" fmla="*/ 1315838 h 1342734"/>
              <a:gd name="connsiteX139" fmla="*/ 28042 w 10678681"/>
              <a:gd name="connsiteY139" fmla="*/ 1297822 h 1342734"/>
              <a:gd name="connsiteX140" fmla="*/ 0 w 10678681"/>
              <a:gd name="connsiteY140" fmla="*/ 1294612 h 1342734"/>
              <a:gd name="connsiteX141" fmla="*/ 0 w 10678681"/>
              <a:gd name="connsiteY141"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09062 h 1342734"/>
              <a:gd name="connsiteX14" fmla="*/ 9840045 w 10678681"/>
              <a:gd name="connsiteY14" fmla="*/ 223033 h 1342734"/>
              <a:gd name="connsiteX15" fmla="*/ 9679638 w 10678681"/>
              <a:gd name="connsiteY15" fmla="*/ 27746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276883 w 10678681"/>
              <a:gd name="connsiteY30" fmla="*/ 588214 h 1342734"/>
              <a:gd name="connsiteX31" fmla="*/ 8086698 w 10678681"/>
              <a:gd name="connsiteY31" fmla="*/ 605185 h 1342734"/>
              <a:gd name="connsiteX32" fmla="*/ 7982378 w 10678681"/>
              <a:gd name="connsiteY32" fmla="*/ 629799 h 1342734"/>
              <a:gd name="connsiteX33" fmla="*/ 7947952 w 10678681"/>
              <a:gd name="connsiteY33" fmla="*/ 648003 h 1342734"/>
              <a:gd name="connsiteX34" fmla="*/ 7890112 w 10678681"/>
              <a:gd name="connsiteY34" fmla="*/ 677915 h 1342734"/>
              <a:gd name="connsiteX35" fmla="*/ 7853284 w 10678681"/>
              <a:gd name="connsiteY35" fmla="*/ 723588 h 1342734"/>
              <a:gd name="connsiteX36" fmla="*/ 7802383 w 10678681"/>
              <a:gd name="connsiteY36" fmla="*/ 739359 h 1342734"/>
              <a:gd name="connsiteX37" fmla="*/ 7730518 w 10678681"/>
              <a:gd name="connsiteY37" fmla="*/ 739526 h 1342734"/>
              <a:gd name="connsiteX38" fmla="*/ 7720084 w 10678681"/>
              <a:gd name="connsiteY38" fmla="*/ 760750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285593 w 10678681"/>
              <a:gd name="connsiteY77" fmla="*/ 1273569 h 1342734"/>
              <a:gd name="connsiteX78" fmla="*/ 5192893 w 10678681"/>
              <a:gd name="connsiteY78" fmla="*/ 1247188 h 1342734"/>
              <a:gd name="connsiteX79" fmla="*/ 5186475 w 10678681"/>
              <a:gd name="connsiteY79" fmla="*/ 1257028 h 1342734"/>
              <a:gd name="connsiteX80" fmla="*/ 5126038 w 10678681"/>
              <a:gd name="connsiteY80" fmla="*/ 1263189 h 1342734"/>
              <a:gd name="connsiteX81" fmla="*/ 4894688 w 10678681"/>
              <a:gd name="connsiteY81" fmla="*/ 1247184 h 1342734"/>
              <a:gd name="connsiteX82" fmla="*/ 4788036 w 10678681"/>
              <a:gd name="connsiteY82" fmla="*/ 1238182 h 1342734"/>
              <a:gd name="connsiteX83" fmla="*/ 4747555 w 10678681"/>
              <a:gd name="connsiteY83" fmla="*/ 1252768 h 1342734"/>
              <a:gd name="connsiteX84" fmla="*/ 4679644 w 10678681"/>
              <a:gd name="connsiteY84" fmla="*/ 1276603 h 1342734"/>
              <a:gd name="connsiteX85" fmla="*/ 4632222 w 10678681"/>
              <a:gd name="connsiteY85" fmla="*/ 1318360 h 1342734"/>
              <a:gd name="connsiteX86" fmla="*/ 4617358 w 10678681"/>
              <a:gd name="connsiteY86" fmla="*/ 1327690 h 1342734"/>
              <a:gd name="connsiteX87" fmla="*/ 4589102 w 10678681"/>
              <a:gd name="connsiteY87" fmla="*/ 1321223 h 1342734"/>
              <a:gd name="connsiteX88" fmla="*/ 4578184 w 10678681"/>
              <a:gd name="connsiteY88" fmla="*/ 1326745 h 1342734"/>
              <a:gd name="connsiteX89" fmla="*/ 4574270 w 10678681"/>
              <a:gd name="connsiteY89" fmla="*/ 1325878 h 1342734"/>
              <a:gd name="connsiteX90" fmla="*/ 4564919 w 10678681"/>
              <a:gd name="connsiteY90" fmla="*/ 1325507 h 1342734"/>
              <a:gd name="connsiteX91" fmla="*/ 4566586 w 10678681"/>
              <a:gd name="connsiteY91" fmla="*/ 1316963 h 1342734"/>
              <a:gd name="connsiteX92" fmla="*/ 4556303 w 10678681"/>
              <a:gd name="connsiteY92" fmla="*/ 1300262 h 1342734"/>
              <a:gd name="connsiteX93" fmla="*/ 4502358 w 10678681"/>
              <a:gd name="connsiteY93" fmla="*/ 1302558 h 1342734"/>
              <a:gd name="connsiteX94" fmla="*/ 4498919 w 10678681"/>
              <a:gd name="connsiteY94" fmla="*/ 1312115 h 1342734"/>
              <a:gd name="connsiteX95" fmla="*/ 4492075 w 10678681"/>
              <a:gd name="connsiteY95" fmla="*/ 1313357 h 1342734"/>
              <a:gd name="connsiteX96" fmla="*/ 4487466 w 10678681"/>
              <a:gd name="connsiteY96" fmla="*/ 1304102 h 1342734"/>
              <a:gd name="connsiteX97" fmla="*/ 4398292 w 10678681"/>
              <a:gd name="connsiteY97" fmla="*/ 1278410 h 1342734"/>
              <a:gd name="connsiteX98" fmla="*/ 4306088 w 10678681"/>
              <a:gd name="connsiteY98" fmla="*/ 1282512 h 1342734"/>
              <a:gd name="connsiteX99" fmla="*/ 4188995 w 10678681"/>
              <a:gd name="connsiteY99" fmla="*/ 1296718 h 1342734"/>
              <a:gd name="connsiteX100" fmla="*/ 4136582 w 10678681"/>
              <a:gd name="connsiteY100" fmla="*/ 1287687 h 1342734"/>
              <a:gd name="connsiteX101" fmla="*/ 4064614 w 10678681"/>
              <a:gd name="connsiteY101" fmla="*/ 1296118 h 1342734"/>
              <a:gd name="connsiteX102" fmla="*/ 3900948 w 10678681"/>
              <a:gd name="connsiteY102" fmla="*/ 1322156 h 1342734"/>
              <a:gd name="connsiteX103" fmla="*/ 3787890 w 10678681"/>
              <a:gd name="connsiteY103" fmla="*/ 1322164 h 1342734"/>
              <a:gd name="connsiteX104" fmla="*/ 3745993 w 10678681"/>
              <a:gd name="connsiteY104" fmla="*/ 1342630 h 1342734"/>
              <a:gd name="connsiteX105" fmla="*/ 3675785 w 10678681"/>
              <a:gd name="connsiteY105" fmla="*/ 1326802 h 1342734"/>
              <a:gd name="connsiteX106" fmla="*/ 3623856 w 10678681"/>
              <a:gd name="connsiteY106" fmla="*/ 1290804 h 1342734"/>
              <a:gd name="connsiteX107" fmla="*/ 3564933 w 10678681"/>
              <a:gd name="connsiteY107" fmla="*/ 1287147 h 1342734"/>
              <a:gd name="connsiteX108" fmla="*/ 3550537 w 10678681"/>
              <a:gd name="connsiteY108" fmla="*/ 1317552 h 1342734"/>
              <a:gd name="connsiteX109" fmla="*/ 3487736 w 10678681"/>
              <a:gd name="connsiteY109" fmla="*/ 1303493 h 1342734"/>
              <a:gd name="connsiteX110" fmla="*/ 3392548 w 10678681"/>
              <a:gd name="connsiteY110" fmla="*/ 1278741 h 1342734"/>
              <a:gd name="connsiteX111" fmla="*/ 3337466 w 10678681"/>
              <a:gd name="connsiteY111" fmla="*/ 1272537 h 1342734"/>
              <a:gd name="connsiteX112" fmla="*/ 3175981 w 10678681"/>
              <a:gd name="connsiteY112" fmla="*/ 1208973 h 1342734"/>
              <a:gd name="connsiteX113" fmla="*/ 3036856 w 10678681"/>
              <a:gd name="connsiteY113" fmla="*/ 1214383 h 1342734"/>
              <a:gd name="connsiteX114" fmla="*/ 2824973 w 10678681"/>
              <a:gd name="connsiteY114" fmla="*/ 1134864 h 1342734"/>
              <a:gd name="connsiteX115" fmla="*/ 2804398 w 10678681"/>
              <a:gd name="connsiteY115" fmla="*/ 1125556 h 1342734"/>
              <a:gd name="connsiteX116" fmla="*/ 2736109 w 10678681"/>
              <a:gd name="connsiteY116" fmla="*/ 1137717 h 1342734"/>
              <a:gd name="connsiteX117" fmla="*/ 2659096 w 10678681"/>
              <a:gd name="connsiteY117" fmla="*/ 1150294 h 1342734"/>
              <a:gd name="connsiteX118" fmla="*/ 2567088 w 10678681"/>
              <a:gd name="connsiteY118" fmla="*/ 1181781 h 1342734"/>
              <a:gd name="connsiteX119" fmla="*/ 2454501 w 10678681"/>
              <a:gd name="connsiteY119" fmla="*/ 1155455 h 1342734"/>
              <a:gd name="connsiteX120" fmla="*/ 2385161 w 10678681"/>
              <a:gd name="connsiteY120" fmla="*/ 1161312 h 1342734"/>
              <a:gd name="connsiteX121" fmla="*/ 2273361 w 10678681"/>
              <a:gd name="connsiteY121" fmla="*/ 1134090 h 1342734"/>
              <a:gd name="connsiteX122" fmla="*/ 2132003 w 10678681"/>
              <a:gd name="connsiteY122" fmla="*/ 1139225 h 1342734"/>
              <a:gd name="connsiteX123" fmla="*/ 2041224 w 10678681"/>
              <a:gd name="connsiteY123" fmla="*/ 1147536 h 1342734"/>
              <a:gd name="connsiteX124" fmla="*/ 2010157 w 10678681"/>
              <a:gd name="connsiteY124" fmla="*/ 1152767 h 1342734"/>
              <a:gd name="connsiteX125" fmla="*/ 1859213 w 10678681"/>
              <a:gd name="connsiteY125" fmla="*/ 1199540 h 1342734"/>
              <a:gd name="connsiteX126" fmla="*/ 1735877 w 10678681"/>
              <a:gd name="connsiteY126" fmla="*/ 1246527 h 1342734"/>
              <a:gd name="connsiteX127" fmla="*/ 1705069 w 10678681"/>
              <a:gd name="connsiteY127" fmla="*/ 1251989 h 1342734"/>
              <a:gd name="connsiteX128" fmla="*/ 1307888 w 10678681"/>
              <a:gd name="connsiteY128" fmla="*/ 1283156 h 1342734"/>
              <a:gd name="connsiteX129" fmla="*/ 1220734 w 10678681"/>
              <a:gd name="connsiteY129" fmla="*/ 1257811 h 1342734"/>
              <a:gd name="connsiteX130" fmla="*/ 1021737 w 10678681"/>
              <a:gd name="connsiteY130" fmla="*/ 1238739 h 1342734"/>
              <a:gd name="connsiteX131" fmla="*/ 959820 w 10678681"/>
              <a:gd name="connsiteY131" fmla="*/ 1275863 h 1342734"/>
              <a:gd name="connsiteX132" fmla="*/ 929137 w 10678681"/>
              <a:gd name="connsiteY132" fmla="*/ 1273957 h 1342734"/>
              <a:gd name="connsiteX133" fmla="*/ 878849 w 10678681"/>
              <a:gd name="connsiteY133" fmla="*/ 1266740 h 1342734"/>
              <a:gd name="connsiteX134" fmla="*/ 800667 w 10678681"/>
              <a:gd name="connsiteY134" fmla="*/ 1282041 h 1342734"/>
              <a:gd name="connsiteX135" fmla="*/ 644906 w 10678681"/>
              <a:gd name="connsiteY135" fmla="*/ 1273685 h 1342734"/>
              <a:gd name="connsiteX136" fmla="*/ 379869 w 10678681"/>
              <a:gd name="connsiteY136" fmla="*/ 1339165 h 1342734"/>
              <a:gd name="connsiteX137" fmla="*/ 137696 w 10678681"/>
              <a:gd name="connsiteY137" fmla="*/ 1319217 h 1342734"/>
              <a:gd name="connsiteX138" fmla="*/ 54250 w 10678681"/>
              <a:gd name="connsiteY138" fmla="*/ 1315838 h 1342734"/>
              <a:gd name="connsiteX139" fmla="*/ 28042 w 10678681"/>
              <a:gd name="connsiteY139" fmla="*/ 1297822 h 1342734"/>
              <a:gd name="connsiteX140" fmla="*/ 0 w 10678681"/>
              <a:gd name="connsiteY140" fmla="*/ 1294612 h 1342734"/>
              <a:gd name="connsiteX141" fmla="*/ 0 w 10678681"/>
              <a:gd name="connsiteY141"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09062 h 1342734"/>
              <a:gd name="connsiteX14" fmla="*/ 9840045 w 10678681"/>
              <a:gd name="connsiteY14" fmla="*/ 223033 h 1342734"/>
              <a:gd name="connsiteX15" fmla="*/ 9679639 w 10678681"/>
              <a:gd name="connsiteY15" fmla="*/ 24718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276883 w 10678681"/>
              <a:gd name="connsiteY30" fmla="*/ 588214 h 1342734"/>
              <a:gd name="connsiteX31" fmla="*/ 8086698 w 10678681"/>
              <a:gd name="connsiteY31" fmla="*/ 605185 h 1342734"/>
              <a:gd name="connsiteX32" fmla="*/ 7982378 w 10678681"/>
              <a:gd name="connsiteY32" fmla="*/ 629799 h 1342734"/>
              <a:gd name="connsiteX33" fmla="*/ 7947952 w 10678681"/>
              <a:gd name="connsiteY33" fmla="*/ 648003 h 1342734"/>
              <a:gd name="connsiteX34" fmla="*/ 7890112 w 10678681"/>
              <a:gd name="connsiteY34" fmla="*/ 677915 h 1342734"/>
              <a:gd name="connsiteX35" fmla="*/ 7853284 w 10678681"/>
              <a:gd name="connsiteY35" fmla="*/ 723588 h 1342734"/>
              <a:gd name="connsiteX36" fmla="*/ 7802383 w 10678681"/>
              <a:gd name="connsiteY36" fmla="*/ 739359 h 1342734"/>
              <a:gd name="connsiteX37" fmla="*/ 7730518 w 10678681"/>
              <a:gd name="connsiteY37" fmla="*/ 739526 h 1342734"/>
              <a:gd name="connsiteX38" fmla="*/ 7720084 w 10678681"/>
              <a:gd name="connsiteY38" fmla="*/ 760750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285593 w 10678681"/>
              <a:gd name="connsiteY77" fmla="*/ 1273569 h 1342734"/>
              <a:gd name="connsiteX78" fmla="*/ 5192893 w 10678681"/>
              <a:gd name="connsiteY78" fmla="*/ 1247188 h 1342734"/>
              <a:gd name="connsiteX79" fmla="*/ 5186475 w 10678681"/>
              <a:gd name="connsiteY79" fmla="*/ 1257028 h 1342734"/>
              <a:gd name="connsiteX80" fmla="*/ 5126038 w 10678681"/>
              <a:gd name="connsiteY80" fmla="*/ 1263189 h 1342734"/>
              <a:gd name="connsiteX81" fmla="*/ 4894688 w 10678681"/>
              <a:gd name="connsiteY81" fmla="*/ 1247184 h 1342734"/>
              <a:gd name="connsiteX82" fmla="*/ 4788036 w 10678681"/>
              <a:gd name="connsiteY82" fmla="*/ 1238182 h 1342734"/>
              <a:gd name="connsiteX83" fmla="*/ 4747555 w 10678681"/>
              <a:gd name="connsiteY83" fmla="*/ 1252768 h 1342734"/>
              <a:gd name="connsiteX84" fmla="*/ 4679644 w 10678681"/>
              <a:gd name="connsiteY84" fmla="*/ 1276603 h 1342734"/>
              <a:gd name="connsiteX85" fmla="*/ 4632222 w 10678681"/>
              <a:gd name="connsiteY85" fmla="*/ 1318360 h 1342734"/>
              <a:gd name="connsiteX86" fmla="*/ 4617358 w 10678681"/>
              <a:gd name="connsiteY86" fmla="*/ 1327690 h 1342734"/>
              <a:gd name="connsiteX87" fmla="*/ 4589102 w 10678681"/>
              <a:gd name="connsiteY87" fmla="*/ 1321223 h 1342734"/>
              <a:gd name="connsiteX88" fmla="*/ 4578184 w 10678681"/>
              <a:gd name="connsiteY88" fmla="*/ 1326745 h 1342734"/>
              <a:gd name="connsiteX89" fmla="*/ 4574270 w 10678681"/>
              <a:gd name="connsiteY89" fmla="*/ 1325878 h 1342734"/>
              <a:gd name="connsiteX90" fmla="*/ 4564919 w 10678681"/>
              <a:gd name="connsiteY90" fmla="*/ 1325507 h 1342734"/>
              <a:gd name="connsiteX91" fmla="*/ 4566586 w 10678681"/>
              <a:gd name="connsiteY91" fmla="*/ 1316963 h 1342734"/>
              <a:gd name="connsiteX92" fmla="*/ 4556303 w 10678681"/>
              <a:gd name="connsiteY92" fmla="*/ 1300262 h 1342734"/>
              <a:gd name="connsiteX93" fmla="*/ 4502358 w 10678681"/>
              <a:gd name="connsiteY93" fmla="*/ 1302558 h 1342734"/>
              <a:gd name="connsiteX94" fmla="*/ 4498919 w 10678681"/>
              <a:gd name="connsiteY94" fmla="*/ 1312115 h 1342734"/>
              <a:gd name="connsiteX95" fmla="*/ 4492075 w 10678681"/>
              <a:gd name="connsiteY95" fmla="*/ 1313357 h 1342734"/>
              <a:gd name="connsiteX96" fmla="*/ 4487466 w 10678681"/>
              <a:gd name="connsiteY96" fmla="*/ 1304102 h 1342734"/>
              <a:gd name="connsiteX97" fmla="*/ 4398292 w 10678681"/>
              <a:gd name="connsiteY97" fmla="*/ 1278410 h 1342734"/>
              <a:gd name="connsiteX98" fmla="*/ 4306088 w 10678681"/>
              <a:gd name="connsiteY98" fmla="*/ 1282512 h 1342734"/>
              <a:gd name="connsiteX99" fmla="*/ 4188995 w 10678681"/>
              <a:gd name="connsiteY99" fmla="*/ 1296718 h 1342734"/>
              <a:gd name="connsiteX100" fmla="*/ 4136582 w 10678681"/>
              <a:gd name="connsiteY100" fmla="*/ 1287687 h 1342734"/>
              <a:gd name="connsiteX101" fmla="*/ 4064614 w 10678681"/>
              <a:gd name="connsiteY101" fmla="*/ 1296118 h 1342734"/>
              <a:gd name="connsiteX102" fmla="*/ 3900948 w 10678681"/>
              <a:gd name="connsiteY102" fmla="*/ 1322156 h 1342734"/>
              <a:gd name="connsiteX103" fmla="*/ 3787890 w 10678681"/>
              <a:gd name="connsiteY103" fmla="*/ 1322164 h 1342734"/>
              <a:gd name="connsiteX104" fmla="*/ 3745993 w 10678681"/>
              <a:gd name="connsiteY104" fmla="*/ 1342630 h 1342734"/>
              <a:gd name="connsiteX105" fmla="*/ 3675785 w 10678681"/>
              <a:gd name="connsiteY105" fmla="*/ 1326802 h 1342734"/>
              <a:gd name="connsiteX106" fmla="*/ 3623856 w 10678681"/>
              <a:gd name="connsiteY106" fmla="*/ 1290804 h 1342734"/>
              <a:gd name="connsiteX107" fmla="*/ 3564933 w 10678681"/>
              <a:gd name="connsiteY107" fmla="*/ 1287147 h 1342734"/>
              <a:gd name="connsiteX108" fmla="*/ 3550537 w 10678681"/>
              <a:gd name="connsiteY108" fmla="*/ 1317552 h 1342734"/>
              <a:gd name="connsiteX109" fmla="*/ 3487736 w 10678681"/>
              <a:gd name="connsiteY109" fmla="*/ 1303493 h 1342734"/>
              <a:gd name="connsiteX110" fmla="*/ 3392548 w 10678681"/>
              <a:gd name="connsiteY110" fmla="*/ 1278741 h 1342734"/>
              <a:gd name="connsiteX111" fmla="*/ 3337466 w 10678681"/>
              <a:gd name="connsiteY111" fmla="*/ 1272537 h 1342734"/>
              <a:gd name="connsiteX112" fmla="*/ 3175981 w 10678681"/>
              <a:gd name="connsiteY112" fmla="*/ 1208973 h 1342734"/>
              <a:gd name="connsiteX113" fmla="*/ 3036856 w 10678681"/>
              <a:gd name="connsiteY113" fmla="*/ 1214383 h 1342734"/>
              <a:gd name="connsiteX114" fmla="*/ 2824973 w 10678681"/>
              <a:gd name="connsiteY114" fmla="*/ 1134864 h 1342734"/>
              <a:gd name="connsiteX115" fmla="*/ 2804398 w 10678681"/>
              <a:gd name="connsiteY115" fmla="*/ 1125556 h 1342734"/>
              <a:gd name="connsiteX116" fmla="*/ 2736109 w 10678681"/>
              <a:gd name="connsiteY116" fmla="*/ 1137717 h 1342734"/>
              <a:gd name="connsiteX117" fmla="*/ 2659096 w 10678681"/>
              <a:gd name="connsiteY117" fmla="*/ 1150294 h 1342734"/>
              <a:gd name="connsiteX118" fmla="*/ 2567088 w 10678681"/>
              <a:gd name="connsiteY118" fmla="*/ 1181781 h 1342734"/>
              <a:gd name="connsiteX119" fmla="*/ 2454501 w 10678681"/>
              <a:gd name="connsiteY119" fmla="*/ 1155455 h 1342734"/>
              <a:gd name="connsiteX120" fmla="*/ 2385161 w 10678681"/>
              <a:gd name="connsiteY120" fmla="*/ 1161312 h 1342734"/>
              <a:gd name="connsiteX121" fmla="*/ 2273361 w 10678681"/>
              <a:gd name="connsiteY121" fmla="*/ 1134090 h 1342734"/>
              <a:gd name="connsiteX122" fmla="*/ 2132003 w 10678681"/>
              <a:gd name="connsiteY122" fmla="*/ 1139225 h 1342734"/>
              <a:gd name="connsiteX123" fmla="*/ 2041224 w 10678681"/>
              <a:gd name="connsiteY123" fmla="*/ 1147536 h 1342734"/>
              <a:gd name="connsiteX124" fmla="*/ 2010157 w 10678681"/>
              <a:gd name="connsiteY124" fmla="*/ 1152767 h 1342734"/>
              <a:gd name="connsiteX125" fmla="*/ 1859213 w 10678681"/>
              <a:gd name="connsiteY125" fmla="*/ 1199540 h 1342734"/>
              <a:gd name="connsiteX126" fmla="*/ 1735877 w 10678681"/>
              <a:gd name="connsiteY126" fmla="*/ 1246527 h 1342734"/>
              <a:gd name="connsiteX127" fmla="*/ 1705069 w 10678681"/>
              <a:gd name="connsiteY127" fmla="*/ 1251989 h 1342734"/>
              <a:gd name="connsiteX128" fmla="*/ 1307888 w 10678681"/>
              <a:gd name="connsiteY128" fmla="*/ 1283156 h 1342734"/>
              <a:gd name="connsiteX129" fmla="*/ 1220734 w 10678681"/>
              <a:gd name="connsiteY129" fmla="*/ 1257811 h 1342734"/>
              <a:gd name="connsiteX130" fmla="*/ 1021737 w 10678681"/>
              <a:gd name="connsiteY130" fmla="*/ 1238739 h 1342734"/>
              <a:gd name="connsiteX131" fmla="*/ 959820 w 10678681"/>
              <a:gd name="connsiteY131" fmla="*/ 1275863 h 1342734"/>
              <a:gd name="connsiteX132" fmla="*/ 929137 w 10678681"/>
              <a:gd name="connsiteY132" fmla="*/ 1273957 h 1342734"/>
              <a:gd name="connsiteX133" fmla="*/ 878849 w 10678681"/>
              <a:gd name="connsiteY133" fmla="*/ 1266740 h 1342734"/>
              <a:gd name="connsiteX134" fmla="*/ 800667 w 10678681"/>
              <a:gd name="connsiteY134" fmla="*/ 1282041 h 1342734"/>
              <a:gd name="connsiteX135" fmla="*/ 644906 w 10678681"/>
              <a:gd name="connsiteY135" fmla="*/ 1273685 h 1342734"/>
              <a:gd name="connsiteX136" fmla="*/ 379869 w 10678681"/>
              <a:gd name="connsiteY136" fmla="*/ 1339165 h 1342734"/>
              <a:gd name="connsiteX137" fmla="*/ 137696 w 10678681"/>
              <a:gd name="connsiteY137" fmla="*/ 1319217 h 1342734"/>
              <a:gd name="connsiteX138" fmla="*/ 54250 w 10678681"/>
              <a:gd name="connsiteY138" fmla="*/ 1315838 h 1342734"/>
              <a:gd name="connsiteX139" fmla="*/ 28042 w 10678681"/>
              <a:gd name="connsiteY139" fmla="*/ 1297822 h 1342734"/>
              <a:gd name="connsiteX140" fmla="*/ 0 w 10678681"/>
              <a:gd name="connsiteY140" fmla="*/ 1294612 h 1342734"/>
              <a:gd name="connsiteX141" fmla="*/ 0 w 10678681"/>
              <a:gd name="connsiteY141"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09062 h 1342734"/>
              <a:gd name="connsiteX14" fmla="*/ 9840045 w 10678681"/>
              <a:gd name="connsiteY14" fmla="*/ 223033 h 1342734"/>
              <a:gd name="connsiteX15" fmla="*/ 9679639 w 10678681"/>
              <a:gd name="connsiteY15" fmla="*/ 24718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276883 w 10678681"/>
              <a:gd name="connsiteY30" fmla="*/ 588214 h 1342734"/>
              <a:gd name="connsiteX31" fmla="*/ 8086698 w 10678681"/>
              <a:gd name="connsiteY31" fmla="*/ 605185 h 1342734"/>
              <a:gd name="connsiteX32" fmla="*/ 7982378 w 10678681"/>
              <a:gd name="connsiteY32" fmla="*/ 629799 h 1342734"/>
              <a:gd name="connsiteX33" fmla="*/ 7947952 w 10678681"/>
              <a:gd name="connsiteY33" fmla="*/ 648003 h 1342734"/>
              <a:gd name="connsiteX34" fmla="*/ 7890112 w 10678681"/>
              <a:gd name="connsiteY34" fmla="*/ 677915 h 1342734"/>
              <a:gd name="connsiteX35" fmla="*/ 7853284 w 10678681"/>
              <a:gd name="connsiteY35" fmla="*/ 723588 h 1342734"/>
              <a:gd name="connsiteX36" fmla="*/ 7802383 w 10678681"/>
              <a:gd name="connsiteY36" fmla="*/ 739359 h 1342734"/>
              <a:gd name="connsiteX37" fmla="*/ 7730518 w 10678681"/>
              <a:gd name="connsiteY37" fmla="*/ 739526 h 1342734"/>
              <a:gd name="connsiteX38" fmla="*/ 7720084 w 10678681"/>
              <a:gd name="connsiteY38" fmla="*/ 760750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285593 w 10678681"/>
              <a:gd name="connsiteY77" fmla="*/ 1273569 h 1342734"/>
              <a:gd name="connsiteX78" fmla="*/ 5192893 w 10678681"/>
              <a:gd name="connsiteY78" fmla="*/ 1247188 h 1342734"/>
              <a:gd name="connsiteX79" fmla="*/ 5186475 w 10678681"/>
              <a:gd name="connsiteY79" fmla="*/ 1257028 h 1342734"/>
              <a:gd name="connsiteX80" fmla="*/ 5126038 w 10678681"/>
              <a:gd name="connsiteY80" fmla="*/ 1263189 h 1342734"/>
              <a:gd name="connsiteX81" fmla="*/ 4894688 w 10678681"/>
              <a:gd name="connsiteY81" fmla="*/ 1247184 h 1342734"/>
              <a:gd name="connsiteX82" fmla="*/ 4788036 w 10678681"/>
              <a:gd name="connsiteY82" fmla="*/ 1238182 h 1342734"/>
              <a:gd name="connsiteX83" fmla="*/ 4747555 w 10678681"/>
              <a:gd name="connsiteY83" fmla="*/ 1252768 h 1342734"/>
              <a:gd name="connsiteX84" fmla="*/ 4679644 w 10678681"/>
              <a:gd name="connsiteY84" fmla="*/ 1276603 h 1342734"/>
              <a:gd name="connsiteX85" fmla="*/ 4632222 w 10678681"/>
              <a:gd name="connsiteY85" fmla="*/ 1318360 h 1342734"/>
              <a:gd name="connsiteX86" fmla="*/ 4617358 w 10678681"/>
              <a:gd name="connsiteY86" fmla="*/ 1327690 h 1342734"/>
              <a:gd name="connsiteX87" fmla="*/ 4589102 w 10678681"/>
              <a:gd name="connsiteY87" fmla="*/ 1321223 h 1342734"/>
              <a:gd name="connsiteX88" fmla="*/ 4578184 w 10678681"/>
              <a:gd name="connsiteY88" fmla="*/ 1326745 h 1342734"/>
              <a:gd name="connsiteX89" fmla="*/ 4564919 w 10678681"/>
              <a:gd name="connsiteY89" fmla="*/ 1325507 h 1342734"/>
              <a:gd name="connsiteX90" fmla="*/ 4566586 w 10678681"/>
              <a:gd name="connsiteY90" fmla="*/ 1316963 h 1342734"/>
              <a:gd name="connsiteX91" fmla="*/ 4556303 w 10678681"/>
              <a:gd name="connsiteY91" fmla="*/ 1300262 h 1342734"/>
              <a:gd name="connsiteX92" fmla="*/ 4502358 w 10678681"/>
              <a:gd name="connsiteY92" fmla="*/ 1302558 h 1342734"/>
              <a:gd name="connsiteX93" fmla="*/ 4498919 w 10678681"/>
              <a:gd name="connsiteY93" fmla="*/ 1312115 h 1342734"/>
              <a:gd name="connsiteX94" fmla="*/ 4492075 w 10678681"/>
              <a:gd name="connsiteY94" fmla="*/ 1313357 h 1342734"/>
              <a:gd name="connsiteX95" fmla="*/ 4487466 w 10678681"/>
              <a:gd name="connsiteY95" fmla="*/ 1304102 h 1342734"/>
              <a:gd name="connsiteX96" fmla="*/ 4398292 w 10678681"/>
              <a:gd name="connsiteY96" fmla="*/ 1278410 h 1342734"/>
              <a:gd name="connsiteX97" fmla="*/ 4306088 w 10678681"/>
              <a:gd name="connsiteY97" fmla="*/ 1282512 h 1342734"/>
              <a:gd name="connsiteX98" fmla="*/ 4188995 w 10678681"/>
              <a:gd name="connsiteY98" fmla="*/ 1296718 h 1342734"/>
              <a:gd name="connsiteX99" fmla="*/ 4136582 w 10678681"/>
              <a:gd name="connsiteY99" fmla="*/ 1287687 h 1342734"/>
              <a:gd name="connsiteX100" fmla="*/ 4064614 w 10678681"/>
              <a:gd name="connsiteY100" fmla="*/ 1296118 h 1342734"/>
              <a:gd name="connsiteX101" fmla="*/ 3900948 w 10678681"/>
              <a:gd name="connsiteY101" fmla="*/ 1322156 h 1342734"/>
              <a:gd name="connsiteX102" fmla="*/ 3787890 w 10678681"/>
              <a:gd name="connsiteY102" fmla="*/ 1322164 h 1342734"/>
              <a:gd name="connsiteX103" fmla="*/ 3745993 w 10678681"/>
              <a:gd name="connsiteY103" fmla="*/ 1342630 h 1342734"/>
              <a:gd name="connsiteX104" fmla="*/ 3675785 w 10678681"/>
              <a:gd name="connsiteY104" fmla="*/ 1326802 h 1342734"/>
              <a:gd name="connsiteX105" fmla="*/ 3623856 w 10678681"/>
              <a:gd name="connsiteY105" fmla="*/ 1290804 h 1342734"/>
              <a:gd name="connsiteX106" fmla="*/ 3564933 w 10678681"/>
              <a:gd name="connsiteY106" fmla="*/ 1287147 h 1342734"/>
              <a:gd name="connsiteX107" fmla="*/ 3550537 w 10678681"/>
              <a:gd name="connsiteY107" fmla="*/ 1317552 h 1342734"/>
              <a:gd name="connsiteX108" fmla="*/ 3487736 w 10678681"/>
              <a:gd name="connsiteY108" fmla="*/ 1303493 h 1342734"/>
              <a:gd name="connsiteX109" fmla="*/ 3392548 w 10678681"/>
              <a:gd name="connsiteY109" fmla="*/ 1278741 h 1342734"/>
              <a:gd name="connsiteX110" fmla="*/ 3337466 w 10678681"/>
              <a:gd name="connsiteY110" fmla="*/ 1272537 h 1342734"/>
              <a:gd name="connsiteX111" fmla="*/ 3175981 w 10678681"/>
              <a:gd name="connsiteY111" fmla="*/ 1208973 h 1342734"/>
              <a:gd name="connsiteX112" fmla="*/ 3036856 w 10678681"/>
              <a:gd name="connsiteY112" fmla="*/ 1214383 h 1342734"/>
              <a:gd name="connsiteX113" fmla="*/ 2824973 w 10678681"/>
              <a:gd name="connsiteY113" fmla="*/ 1134864 h 1342734"/>
              <a:gd name="connsiteX114" fmla="*/ 2804398 w 10678681"/>
              <a:gd name="connsiteY114" fmla="*/ 1125556 h 1342734"/>
              <a:gd name="connsiteX115" fmla="*/ 2736109 w 10678681"/>
              <a:gd name="connsiteY115" fmla="*/ 1137717 h 1342734"/>
              <a:gd name="connsiteX116" fmla="*/ 2659096 w 10678681"/>
              <a:gd name="connsiteY116" fmla="*/ 1150294 h 1342734"/>
              <a:gd name="connsiteX117" fmla="*/ 2567088 w 10678681"/>
              <a:gd name="connsiteY117" fmla="*/ 1181781 h 1342734"/>
              <a:gd name="connsiteX118" fmla="*/ 2454501 w 10678681"/>
              <a:gd name="connsiteY118" fmla="*/ 1155455 h 1342734"/>
              <a:gd name="connsiteX119" fmla="*/ 2385161 w 10678681"/>
              <a:gd name="connsiteY119" fmla="*/ 1161312 h 1342734"/>
              <a:gd name="connsiteX120" fmla="*/ 2273361 w 10678681"/>
              <a:gd name="connsiteY120" fmla="*/ 1134090 h 1342734"/>
              <a:gd name="connsiteX121" fmla="*/ 2132003 w 10678681"/>
              <a:gd name="connsiteY121" fmla="*/ 1139225 h 1342734"/>
              <a:gd name="connsiteX122" fmla="*/ 2041224 w 10678681"/>
              <a:gd name="connsiteY122" fmla="*/ 1147536 h 1342734"/>
              <a:gd name="connsiteX123" fmla="*/ 2010157 w 10678681"/>
              <a:gd name="connsiteY123" fmla="*/ 1152767 h 1342734"/>
              <a:gd name="connsiteX124" fmla="*/ 1859213 w 10678681"/>
              <a:gd name="connsiteY124" fmla="*/ 1199540 h 1342734"/>
              <a:gd name="connsiteX125" fmla="*/ 1735877 w 10678681"/>
              <a:gd name="connsiteY125" fmla="*/ 1246527 h 1342734"/>
              <a:gd name="connsiteX126" fmla="*/ 1705069 w 10678681"/>
              <a:gd name="connsiteY126" fmla="*/ 1251989 h 1342734"/>
              <a:gd name="connsiteX127" fmla="*/ 1307888 w 10678681"/>
              <a:gd name="connsiteY127" fmla="*/ 1283156 h 1342734"/>
              <a:gd name="connsiteX128" fmla="*/ 1220734 w 10678681"/>
              <a:gd name="connsiteY128" fmla="*/ 1257811 h 1342734"/>
              <a:gd name="connsiteX129" fmla="*/ 1021737 w 10678681"/>
              <a:gd name="connsiteY129" fmla="*/ 1238739 h 1342734"/>
              <a:gd name="connsiteX130" fmla="*/ 959820 w 10678681"/>
              <a:gd name="connsiteY130" fmla="*/ 1275863 h 1342734"/>
              <a:gd name="connsiteX131" fmla="*/ 929137 w 10678681"/>
              <a:gd name="connsiteY131" fmla="*/ 1273957 h 1342734"/>
              <a:gd name="connsiteX132" fmla="*/ 878849 w 10678681"/>
              <a:gd name="connsiteY132" fmla="*/ 1266740 h 1342734"/>
              <a:gd name="connsiteX133" fmla="*/ 800667 w 10678681"/>
              <a:gd name="connsiteY133" fmla="*/ 1282041 h 1342734"/>
              <a:gd name="connsiteX134" fmla="*/ 644906 w 10678681"/>
              <a:gd name="connsiteY134" fmla="*/ 1273685 h 1342734"/>
              <a:gd name="connsiteX135" fmla="*/ 379869 w 10678681"/>
              <a:gd name="connsiteY135" fmla="*/ 1339165 h 1342734"/>
              <a:gd name="connsiteX136" fmla="*/ 137696 w 10678681"/>
              <a:gd name="connsiteY136" fmla="*/ 1319217 h 1342734"/>
              <a:gd name="connsiteX137" fmla="*/ 54250 w 10678681"/>
              <a:gd name="connsiteY137" fmla="*/ 1315838 h 1342734"/>
              <a:gd name="connsiteX138" fmla="*/ 28042 w 10678681"/>
              <a:gd name="connsiteY138" fmla="*/ 1297822 h 1342734"/>
              <a:gd name="connsiteX139" fmla="*/ 0 w 10678681"/>
              <a:gd name="connsiteY139" fmla="*/ 1294612 h 1342734"/>
              <a:gd name="connsiteX140" fmla="*/ 0 w 10678681"/>
              <a:gd name="connsiteY140"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09062 h 1342734"/>
              <a:gd name="connsiteX14" fmla="*/ 9840045 w 10678681"/>
              <a:gd name="connsiteY14" fmla="*/ 223033 h 1342734"/>
              <a:gd name="connsiteX15" fmla="*/ 9679639 w 10678681"/>
              <a:gd name="connsiteY15" fmla="*/ 24718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276883 w 10678681"/>
              <a:gd name="connsiteY30" fmla="*/ 588214 h 1342734"/>
              <a:gd name="connsiteX31" fmla="*/ 8086698 w 10678681"/>
              <a:gd name="connsiteY31" fmla="*/ 605185 h 1342734"/>
              <a:gd name="connsiteX32" fmla="*/ 7982378 w 10678681"/>
              <a:gd name="connsiteY32" fmla="*/ 629799 h 1342734"/>
              <a:gd name="connsiteX33" fmla="*/ 7947952 w 10678681"/>
              <a:gd name="connsiteY33" fmla="*/ 648003 h 1342734"/>
              <a:gd name="connsiteX34" fmla="*/ 7890112 w 10678681"/>
              <a:gd name="connsiteY34" fmla="*/ 677915 h 1342734"/>
              <a:gd name="connsiteX35" fmla="*/ 7853284 w 10678681"/>
              <a:gd name="connsiteY35" fmla="*/ 723588 h 1342734"/>
              <a:gd name="connsiteX36" fmla="*/ 7802383 w 10678681"/>
              <a:gd name="connsiteY36" fmla="*/ 739359 h 1342734"/>
              <a:gd name="connsiteX37" fmla="*/ 7730518 w 10678681"/>
              <a:gd name="connsiteY37" fmla="*/ 739526 h 1342734"/>
              <a:gd name="connsiteX38" fmla="*/ 7720084 w 10678681"/>
              <a:gd name="connsiteY38" fmla="*/ 760750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285593 w 10678681"/>
              <a:gd name="connsiteY77" fmla="*/ 1273569 h 1342734"/>
              <a:gd name="connsiteX78" fmla="*/ 5192893 w 10678681"/>
              <a:gd name="connsiteY78" fmla="*/ 1247188 h 1342734"/>
              <a:gd name="connsiteX79" fmla="*/ 5186475 w 10678681"/>
              <a:gd name="connsiteY79" fmla="*/ 1257028 h 1342734"/>
              <a:gd name="connsiteX80" fmla="*/ 5126038 w 10678681"/>
              <a:gd name="connsiteY80" fmla="*/ 1263189 h 1342734"/>
              <a:gd name="connsiteX81" fmla="*/ 4894688 w 10678681"/>
              <a:gd name="connsiteY81" fmla="*/ 1247184 h 1342734"/>
              <a:gd name="connsiteX82" fmla="*/ 4788036 w 10678681"/>
              <a:gd name="connsiteY82" fmla="*/ 1238182 h 1342734"/>
              <a:gd name="connsiteX83" fmla="*/ 4747555 w 10678681"/>
              <a:gd name="connsiteY83" fmla="*/ 1252768 h 1342734"/>
              <a:gd name="connsiteX84" fmla="*/ 4679644 w 10678681"/>
              <a:gd name="connsiteY84" fmla="*/ 1276603 h 1342734"/>
              <a:gd name="connsiteX85" fmla="*/ 4632222 w 10678681"/>
              <a:gd name="connsiteY85" fmla="*/ 1318360 h 1342734"/>
              <a:gd name="connsiteX86" fmla="*/ 4617358 w 10678681"/>
              <a:gd name="connsiteY86" fmla="*/ 1327690 h 1342734"/>
              <a:gd name="connsiteX87" fmla="*/ 4578184 w 10678681"/>
              <a:gd name="connsiteY87" fmla="*/ 1326745 h 1342734"/>
              <a:gd name="connsiteX88" fmla="*/ 4564919 w 10678681"/>
              <a:gd name="connsiteY88" fmla="*/ 1325507 h 1342734"/>
              <a:gd name="connsiteX89" fmla="*/ 4566586 w 10678681"/>
              <a:gd name="connsiteY89" fmla="*/ 1316963 h 1342734"/>
              <a:gd name="connsiteX90" fmla="*/ 4556303 w 10678681"/>
              <a:gd name="connsiteY90" fmla="*/ 1300262 h 1342734"/>
              <a:gd name="connsiteX91" fmla="*/ 4502358 w 10678681"/>
              <a:gd name="connsiteY91" fmla="*/ 1302558 h 1342734"/>
              <a:gd name="connsiteX92" fmla="*/ 4498919 w 10678681"/>
              <a:gd name="connsiteY92" fmla="*/ 1312115 h 1342734"/>
              <a:gd name="connsiteX93" fmla="*/ 4492075 w 10678681"/>
              <a:gd name="connsiteY93" fmla="*/ 1313357 h 1342734"/>
              <a:gd name="connsiteX94" fmla="*/ 4487466 w 10678681"/>
              <a:gd name="connsiteY94" fmla="*/ 1304102 h 1342734"/>
              <a:gd name="connsiteX95" fmla="*/ 4398292 w 10678681"/>
              <a:gd name="connsiteY95" fmla="*/ 1278410 h 1342734"/>
              <a:gd name="connsiteX96" fmla="*/ 4306088 w 10678681"/>
              <a:gd name="connsiteY96" fmla="*/ 1282512 h 1342734"/>
              <a:gd name="connsiteX97" fmla="*/ 4188995 w 10678681"/>
              <a:gd name="connsiteY97" fmla="*/ 1296718 h 1342734"/>
              <a:gd name="connsiteX98" fmla="*/ 4136582 w 10678681"/>
              <a:gd name="connsiteY98" fmla="*/ 1287687 h 1342734"/>
              <a:gd name="connsiteX99" fmla="*/ 4064614 w 10678681"/>
              <a:gd name="connsiteY99" fmla="*/ 1296118 h 1342734"/>
              <a:gd name="connsiteX100" fmla="*/ 3900948 w 10678681"/>
              <a:gd name="connsiteY100" fmla="*/ 1322156 h 1342734"/>
              <a:gd name="connsiteX101" fmla="*/ 3787890 w 10678681"/>
              <a:gd name="connsiteY101" fmla="*/ 1322164 h 1342734"/>
              <a:gd name="connsiteX102" fmla="*/ 3745993 w 10678681"/>
              <a:gd name="connsiteY102" fmla="*/ 1342630 h 1342734"/>
              <a:gd name="connsiteX103" fmla="*/ 3675785 w 10678681"/>
              <a:gd name="connsiteY103" fmla="*/ 1326802 h 1342734"/>
              <a:gd name="connsiteX104" fmla="*/ 3623856 w 10678681"/>
              <a:gd name="connsiteY104" fmla="*/ 1290804 h 1342734"/>
              <a:gd name="connsiteX105" fmla="*/ 3564933 w 10678681"/>
              <a:gd name="connsiteY105" fmla="*/ 1287147 h 1342734"/>
              <a:gd name="connsiteX106" fmla="*/ 3550537 w 10678681"/>
              <a:gd name="connsiteY106" fmla="*/ 1317552 h 1342734"/>
              <a:gd name="connsiteX107" fmla="*/ 3487736 w 10678681"/>
              <a:gd name="connsiteY107" fmla="*/ 1303493 h 1342734"/>
              <a:gd name="connsiteX108" fmla="*/ 3392548 w 10678681"/>
              <a:gd name="connsiteY108" fmla="*/ 1278741 h 1342734"/>
              <a:gd name="connsiteX109" fmla="*/ 3337466 w 10678681"/>
              <a:gd name="connsiteY109" fmla="*/ 1272537 h 1342734"/>
              <a:gd name="connsiteX110" fmla="*/ 3175981 w 10678681"/>
              <a:gd name="connsiteY110" fmla="*/ 1208973 h 1342734"/>
              <a:gd name="connsiteX111" fmla="*/ 3036856 w 10678681"/>
              <a:gd name="connsiteY111" fmla="*/ 1214383 h 1342734"/>
              <a:gd name="connsiteX112" fmla="*/ 2824973 w 10678681"/>
              <a:gd name="connsiteY112" fmla="*/ 1134864 h 1342734"/>
              <a:gd name="connsiteX113" fmla="*/ 2804398 w 10678681"/>
              <a:gd name="connsiteY113" fmla="*/ 1125556 h 1342734"/>
              <a:gd name="connsiteX114" fmla="*/ 2736109 w 10678681"/>
              <a:gd name="connsiteY114" fmla="*/ 1137717 h 1342734"/>
              <a:gd name="connsiteX115" fmla="*/ 2659096 w 10678681"/>
              <a:gd name="connsiteY115" fmla="*/ 1150294 h 1342734"/>
              <a:gd name="connsiteX116" fmla="*/ 2567088 w 10678681"/>
              <a:gd name="connsiteY116" fmla="*/ 1181781 h 1342734"/>
              <a:gd name="connsiteX117" fmla="*/ 2454501 w 10678681"/>
              <a:gd name="connsiteY117" fmla="*/ 1155455 h 1342734"/>
              <a:gd name="connsiteX118" fmla="*/ 2385161 w 10678681"/>
              <a:gd name="connsiteY118" fmla="*/ 1161312 h 1342734"/>
              <a:gd name="connsiteX119" fmla="*/ 2273361 w 10678681"/>
              <a:gd name="connsiteY119" fmla="*/ 1134090 h 1342734"/>
              <a:gd name="connsiteX120" fmla="*/ 2132003 w 10678681"/>
              <a:gd name="connsiteY120" fmla="*/ 1139225 h 1342734"/>
              <a:gd name="connsiteX121" fmla="*/ 2041224 w 10678681"/>
              <a:gd name="connsiteY121" fmla="*/ 1147536 h 1342734"/>
              <a:gd name="connsiteX122" fmla="*/ 2010157 w 10678681"/>
              <a:gd name="connsiteY122" fmla="*/ 1152767 h 1342734"/>
              <a:gd name="connsiteX123" fmla="*/ 1859213 w 10678681"/>
              <a:gd name="connsiteY123" fmla="*/ 1199540 h 1342734"/>
              <a:gd name="connsiteX124" fmla="*/ 1735877 w 10678681"/>
              <a:gd name="connsiteY124" fmla="*/ 1246527 h 1342734"/>
              <a:gd name="connsiteX125" fmla="*/ 1705069 w 10678681"/>
              <a:gd name="connsiteY125" fmla="*/ 1251989 h 1342734"/>
              <a:gd name="connsiteX126" fmla="*/ 1307888 w 10678681"/>
              <a:gd name="connsiteY126" fmla="*/ 1283156 h 1342734"/>
              <a:gd name="connsiteX127" fmla="*/ 1220734 w 10678681"/>
              <a:gd name="connsiteY127" fmla="*/ 1257811 h 1342734"/>
              <a:gd name="connsiteX128" fmla="*/ 1021737 w 10678681"/>
              <a:gd name="connsiteY128" fmla="*/ 1238739 h 1342734"/>
              <a:gd name="connsiteX129" fmla="*/ 959820 w 10678681"/>
              <a:gd name="connsiteY129" fmla="*/ 1275863 h 1342734"/>
              <a:gd name="connsiteX130" fmla="*/ 929137 w 10678681"/>
              <a:gd name="connsiteY130" fmla="*/ 1273957 h 1342734"/>
              <a:gd name="connsiteX131" fmla="*/ 878849 w 10678681"/>
              <a:gd name="connsiteY131" fmla="*/ 1266740 h 1342734"/>
              <a:gd name="connsiteX132" fmla="*/ 800667 w 10678681"/>
              <a:gd name="connsiteY132" fmla="*/ 1282041 h 1342734"/>
              <a:gd name="connsiteX133" fmla="*/ 644906 w 10678681"/>
              <a:gd name="connsiteY133" fmla="*/ 1273685 h 1342734"/>
              <a:gd name="connsiteX134" fmla="*/ 379869 w 10678681"/>
              <a:gd name="connsiteY134" fmla="*/ 1339165 h 1342734"/>
              <a:gd name="connsiteX135" fmla="*/ 137696 w 10678681"/>
              <a:gd name="connsiteY135" fmla="*/ 1319217 h 1342734"/>
              <a:gd name="connsiteX136" fmla="*/ 54250 w 10678681"/>
              <a:gd name="connsiteY136" fmla="*/ 1315838 h 1342734"/>
              <a:gd name="connsiteX137" fmla="*/ 28042 w 10678681"/>
              <a:gd name="connsiteY137" fmla="*/ 1297822 h 1342734"/>
              <a:gd name="connsiteX138" fmla="*/ 0 w 10678681"/>
              <a:gd name="connsiteY138" fmla="*/ 1294612 h 1342734"/>
              <a:gd name="connsiteX139" fmla="*/ 0 w 10678681"/>
              <a:gd name="connsiteY139"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09062 h 1342734"/>
              <a:gd name="connsiteX14" fmla="*/ 9840045 w 10678681"/>
              <a:gd name="connsiteY14" fmla="*/ 223033 h 1342734"/>
              <a:gd name="connsiteX15" fmla="*/ 9679639 w 10678681"/>
              <a:gd name="connsiteY15" fmla="*/ 24718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276883 w 10678681"/>
              <a:gd name="connsiteY30" fmla="*/ 588214 h 1342734"/>
              <a:gd name="connsiteX31" fmla="*/ 8086698 w 10678681"/>
              <a:gd name="connsiteY31" fmla="*/ 605185 h 1342734"/>
              <a:gd name="connsiteX32" fmla="*/ 7982378 w 10678681"/>
              <a:gd name="connsiteY32" fmla="*/ 629799 h 1342734"/>
              <a:gd name="connsiteX33" fmla="*/ 7947952 w 10678681"/>
              <a:gd name="connsiteY33" fmla="*/ 648003 h 1342734"/>
              <a:gd name="connsiteX34" fmla="*/ 7890112 w 10678681"/>
              <a:gd name="connsiteY34" fmla="*/ 677915 h 1342734"/>
              <a:gd name="connsiteX35" fmla="*/ 7853284 w 10678681"/>
              <a:gd name="connsiteY35" fmla="*/ 723588 h 1342734"/>
              <a:gd name="connsiteX36" fmla="*/ 7802383 w 10678681"/>
              <a:gd name="connsiteY36" fmla="*/ 739359 h 1342734"/>
              <a:gd name="connsiteX37" fmla="*/ 7730518 w 10678681"/>
              <a:gd name="connsiteY37" fmla="*/ 739526 h 1342734"/>
              <a:gd name="connsiteX38" fmla="*/ 7720084 w 10678681"/>
              <a:gd name="connsiteY38" fmla="*/ 760750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285593 w 10678681"/>
              <a:gd name="connsiteY77" fmla="*/ 1273569 h 1342734"/>
              <a:gd name="connsiteX78" fmla="*/ 5192893 w 10678681"/>
              <a:gd name="connsiteY78" fmla="*/ 1247188 h 1342734"/>
              <a:gd name="connsiteX79" fmla="*/ 5186475 w 10678681"/>
              <a:gd name="connsiteY79" fmla="*/ 1257028 h 1342734"/>
              <a:gd name="connsiteX80" fmla="*/ 5126038 w 10678681"/>
              <a:gd name="connsiteY80" fmla="*/ 1263189 h 1342734"/>
              <a:gd name="connsiteX81" fmla="*/ 4894688 w 10678681"/>
              <a:gd name="connsiteY81" fmla="*/ 1247184 h 1342734"/>
              <a:gd name="connsiteX82" fmla="*/ 4788036 w 10678681"/>
              <a:gd name="connsiteY82" fmla="*/ 1238182 h 1342734"/>
              <a:gd name="connsiteX83" fmla="*/ 4747555 w 10678681"/>
              <a:gd name="connsiteY83" fmla="*/ 1252768 h 1342734"/>
              <a:gd name="connsiteX84" fmla="*/ 4679644 w 10678681"/>
              <a:gd name="connsiteY84" fmla="*/ 1276603 h 1342734"/>
              <a:gd name="connsiteX85" fmla="*/ 4632222 w 10678681"/>
              <a:gd name="connsiteY85" fmla="*/ 1318360 h 1342734"/>
              <a:gd name="connsiteX86" fmla="*/ 4578184 w 10678681"/>
              <a:gd name="connsiteY86" fmla="*/ 1326745 h 1342734"/>
              <a:gd name="connsiteX87" fmla="*/ 4564919 w 10678681"/>
              <a:gd name="connsiteY87" fmla="*/ 1325507 h 1342734"/>
              <a:gd name="connsiteX88" fmla="*/ 4566586 w 10678681"/>
              <a:gd name="connsiteY88" fmla="*/ 1316963 h 1342734"/>
              <a:gd name="connsiteX89" fmla="*/ 4556303 w 10678681"/>
              <a:gd name="connsiteY89" fmla="*/ 1300262 h 1342734"/>
              <a:gd name="connsiteX90" fmla="*/ 4502358 w 10678681"/>
              <a:gd name="connsiteY90" fmla="*/ 1302558 h 1342734"/>
              <a:gd name="connsiteX91" fmla="*/ 4498919 w 10678681"/>
              <a:gd name="connsiteY91" fmla="*/ 1312115 h 1342734"/>
              <a:gd name="connsiteX92" fmla="*/ 4492075 w 10678681"/>
              <a:gd name="connsiteY92" fmla="*/ 1313357 h 1342734"/>
              <a:gd name="connsiteX93" fmla="*/ 4487466 w 10678681"/>
              <a:gd name="connsiteY93" fmla="*/ 1304102 h 1342734"/>
              <a:gd name="connsiteX94" fmla="*/ 4398292 w 10678681"/>
              <a:gd name="connsiteY94" fmla="*/ 1278410 h 1342734"/>
              <a:gd name="connsiteX95" fmla="*/ 4306088 w 10678681"/>
              <a:gd name="connsiteY95" fmla="*/ 1282512 h 1342734"/>
              <a:gd name="connsiteX96" fmla="*/ 4188995 w 10678681"/>
              <a:gd name="connsiteY96" fmla="*/ 1296718 h 1342734"/>
              <a:gd name="connsiteX97" fmla="*/ 4136582 w 10678681"/>
              <a:gd name="connsiteY97" fmla="*/ 1287687 h 1342734"/>
              <a:gd name="connsiteX98" fmla="*/ 4064614 w 10678681"/>
              <a:gd name="connsiteY98" fmla="*/ 1296118 h 1342734"/>
              <a:gd name="connsiteX99" fmla="*/ 3900948 w 10678681"/>
              <a:gd name="connsiteY99" fmla="*/ 1322156 h 1342734"/>
              <a:gd name="connsiteX100" fmla="*/ 3787890 w 10678681"/>
              <a:gd name="connsiteY100" fmla="*/ 1322164 h 1342734"/>
              <a:gd name="connsiteX101" fmla="*/ 3745993 w 10678681"/>
              <a:gd name="connsiteY101" fmla="*/ 1342630 h 1342734"/>
              <a:gd name="connsiteX102" fmla="*/ 3675785 w 10678681"/>
              <a:gd name="connsiteY102" fmla="*/ 1326802 h 1342734"/>
              <a:gd name="connsiteX103" fmla="*/ 3623856 w 10678681"/>
              <a:gd name="connsiteY103" fmla="*/ 1290804 h 1342734"/>
              <a:gd name="connsiteX104" fmla="*/ 3564933 w 10678681"/>
              <a:gd name="connsiteY104" fmla="*/ 1287147 h 1342734"/>
              <a:gd name="connsiteX105" fmla="*/ 3550537 w 10678681"/>
              <a:gd name="connsiteY105" fmla="*/ 1317552 h 1342734"/>
              <a:gd name="connsiteX106" fmla="*/ 3487736 w 10678681"/>
              <a:gd name="connsiteY106" fmla="*/ 1303493 h 1342734"/>
              <a:gd name="connsiteX107" fmla="*/ 3392548 w 10678681"/>
              <a:gd name="connsiteY107" fmla="*/ 1278741 h 1342734"/>
              <a:gd name="connsiteX108" fmla="*/ 3337466 w 10678681"/>
              <a:gd name="connsiteY108" fmla="*/ 1272537 h 1342734"/>
              <a:gd name="connsiteX109" fmla="*/ 3175981 w 10678681"/>
              <a:gd name="connsiteY109" fmla="*/ 1208973 h 1342734"/>
              <a:gd name="connsiteX110" fmla="*/ 3036856 w 10678681"/>
              <a:gd name="connsiteY110" fmla="*/ 1214383 h 1342734"/>
              <a:gd name="connsiteX111" fmla="*/ 2824973 w 10678681"/>
              <a:gd name="connsiteY111" fmla="*/ 1134864 h 1342734"/>
              <a:gd name="connsiteX112" fmla="*/ 2804398 w 10678681"/>
              <a:gd name="connsiteY112" fmla="*/ 1125556 h 1342734"/>
              <a:gd name="connsiteX113" fmla="*/ 2736109 w 10678681"/>
              <a:gd name="connsiteY113" fmla="*/ 1137717 h 1342734"/>
              <a:gd name="connsiteX114" fmla="*/ 2659096 w 10678681"/>
              <a:gd name="connsiteY114" fmla="*/ 1150294 h 1342734"/>
              <a:gd name="connsiteX115" fmla="*/ 2567088 w 10678681"/>
              <a:gd name="connsiteY115" fmla="*/ 1181781 h 1342734"/>
              <a:gd name="connsiteX116" fmla="*/ 2454501 w 10678681"/>
              <a:gd name="connsiteY116" fmla="*/ 1155455 h 1342734"/>
              <a:gd name="connsiteX117" fmla="*/ 2385161 w 10678681"/>
              <a:gd name="connsiteY117" fmla="*/ 1161312 h 1342734"/>
              <a:gd name="connsiteX118" fmla="*/ 2273361 w 10678681"/>
              <a:gd name="connsiteY118" fmla="*/ 1134090 h 1342734"/>
              <a:gd name="connsiteX119" fmla="*/ 2132003 w 10678681"/>
              <a:gd name="connsiteY119" fmla="*/ 1139225 h 1342734"/>
              <a:gd name="connsiteX120" fmla="*/ 2041224 w 10678681"/>
              <a:gd name="connsiteY120" fmla="*/ 1147536 h 1342734"/>
              <a:gd name="connsiteX121" fmla="*/ 2010157 w 10678681"/>
              <a:gd name="connsiteY121" fmla="*/ 1152767 h 1342734"/>
              <a:gd name="connsiteX122" fmla="*/ 1859213 w 10678681"/>
              <a:gd name="connsiteY122" fmla="*/ 1199540 h 1342734"/>
              <a:gd name="connsiteX123" fmla="*/ 1735877 w 10678681"/>
              <a:gd name="connsiteY123" fmla="*/ 1246527 h 1342734"/>
              <a:gd name="connsiteX124" fmla="*/ 1705069 w 10678681"/>
              <a:gd name="connsiteY124" fmla="*/ 1251989 h 1342734"/>
              <a:gd name="connsiteX125" fmla="*/ 1307888 w 10678681"/>
              <a:gd name="connsiteY125" fmla="*/ 1283156 h 1342734"/>
              <a:gd name="connsiteX126" fmla="*/ 1220734 w 10678681"/>
              <a:gd name="connsiteY126" fmla="*/ 1257811 h 1342734"/>
              <a:gd name="connsiteX127" fmla="*/ 1021737 w 10678681"/>
              <a:gd name="connsiteY127" fmla="*/ 1238739 h 1342734"/>
              <a:gd name="connsiteX128" fmla="*/ 959820 w 10678681"/>
              <a:gd name="connsiteY128" fmla="*/ 1275863 h 1342734"/>
              <a:gd name="connsiteX129" fmla="*/ 929137 w 10678681"/>
              <a:gd name="connsiteY129" fmla="*/ 1273957 h 1342734"/>
              <a:gd name="connsiteX130" fmla="*/ 878849 w 10678681"/>
              <a:gd name="connsiteY130" fmla="*/ 1266740 h 1342734"/>
              <a:gd name="connsiteX131" fmla="*/ 800667 w 10678681"/>
              <a:gd name="connsiteY131" fmla="*/ 1282041 h 1342734"/>
              <a:gd name="connsiteX132" fmla="*/ 644906 w 10678681"/>
              <a:gd name="connsiteY132" fmla="*/ 1273685 h 1342734"/>
              <a:gd name="connsiteX133" fmla="*/ 379869 w 10678681"/>
              <a:gd name="connsiteY133" fmla="*/ 1339165 h 1342734"/>
              <a:gd name="connsiteX134" fmla="*/ 137696 w 10678681"/>
              <a:gd name="connsiteY134" fmla="*/ 1319217 h 1342734"/>
              <a:gd name="connsiteX135" fmla="*/ 54250 w 10678681"/>
              <a:gd name="connsiteY135" fmla="*/ 1315838 h 1342734"/>
              <a:gd name="connsiteX136" fmla="*/ 28042 w 10678681"/>
              <a:gd name="connsiteY136" fmla="*/ 1297822 h 1342734"/>
              <a:gd name="connsiteX137" fmla="*/ 0 w 10678681"/>
              <a:gd name="connsiteY137" fmla="*/ 1294612 h 1342734"/>
              <a:gd name="connsiteX138" fmla="*/ 0 w 10678681"/>
              <a:gd name="connsiteY138"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09062 h 1342734"/>
              <a:gd name="connsiteX14" fmla="*/ 9840045 w 10678681"/>
              <a:gd name="connsiteY14" fmla="*/ 223033 h 1342734"/>
              <a:gd name="connsiteX15" fmla="*/ 9679639 w 10678681"/>
              <a:gd name="connsiteY15" fmla="*/ 24718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276883 w 10678681"/>
              <a:gd name="connsiteY30" fmla="*/ 588214 h 1342734"/>
              <a:gd name="connsiteX31" fmla="*/ 8086698 w 10678681"/>
              <a:gd name="connsiteY31" fmla="*/ 605185 h 1342734"/>
              <a:gd name="connsiteX32" fmla="*/ 7982378 w 10678681"/>
              <a:gd name="connsiteY32" fmla="*/ 629799 h 1342734"/>
              <a:gd name="connsiteX33" fmla="*/ 7947952 w 10678681"/>
              <a:gd name="connsiteY33" fmla="*/ 648003 h 1342734"/>
              <a:gd name="connsiteX34" fmla="*/ 7890112 w 10678681"/>
              <a:gd name="connsiteY34" fmla="*/ 677915 h 1342734"/>
              <a:gd name="connsiteX35" fmla="*/ 7853284 w 10678681"/>
              <a:gd name="connsiteY35" fmla="*/ 723588 h 1342734"/>
              <a:gd name="connsiteX36" fmla="*/ 7802383 w 10678681"/>
              <a:gd name="connsiteY36" fmla="*/ 739359 h 1342734"/>
              <a:gd name="connsiteX37" fmla="*/ 7730518 w 10678681"/>
              <a:gd name="connsiteY37" fmla="*/ 739526 h 1342734"/>
              <a:gd name="connsiteX38" fmla="*/ 7720084 w 10678681"/>
              <a:gd name="connsiteY38" fmla="*/ 760750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285593 w 10678681"/>
              <a:gd name="connsiteY77" fmla="*/ 1273569 h 1342734"/>
              <a:gd name="connsiteX78" fmla="*/ 5192893 w 10678681"/>
              <a:gd name="connsiteY78" fmla="*/ 1247188 h 1342734"/>
              <a:gd name="connsiteX79" fmla="*/ 5186475 w 10678681"/>
              <a:gd name="connsiteY79" fmla="*/ 1257028 h 1342734"/>
              <a:gd name="connsiteX80" fmla="*/ 5126038 w 10678681"/>
              <a:gd name="connsiteY80" fmla="*/ 1263189 h 1342734"/>
              <a:gd name="connsiteX81" fmla="*/ 4894688 w 10678681"/>
              <a:gd name="connsiteY81" fmla="*/ 1247184 h 1342734"/>
              <a:gd name="connsiteX82" fmla="*/ 4788036 w 10678681"/>
              <a:gd name="connsiteY82" fmla="*/ 1238182 h 1342734"/>
              <a:gd name="connsiteX83" fmla="*/ 4747555 w 10678681"/>
              <a:gd name="connsiteY83" fmla="*/ 1252768 h 1342734"/>
              <a:gd name="connsiteX84" fmla="*/ 4679644 w 10678681"/>
              <a:gd name="connsiteY84" fmla="*/ 1276603 h 1342734"/>
              <a:gd name="connsiteX85" fmla="*/ 4578184 w 10678681"/>
              <a:gd name="connsiteY85" fmla="*/ 1326745 h 1342734"/>
              <a:gd name="connsiteX86" fmla="*/ 4564919 w 10678681"/>
              <a:gd name="connsiteY86" fmla="*/ 1325507 h 1342734"/>
              <a:gd name="connsiteX87" fmla="*/ 4566586 w 10678681"/>
              <a:gd name="connsiteY87" fmla="*/ 1316963 h 1342734"/>
              <a:gd name="connsiteX88" fmla="*/ 4556303 w 10678681"/>
              <a:gd name="connsiteY88" fmla="*/ 1300262 h 1342734"/>
              <a:gd name="connsiteX89" fmla="*/ 4502358 w 10678681"/>
              <a:gd name="connsiteY89" fmla="*/ 1302558 h 1342734"/>
              <a:gd name="connsiteX90" fmla="*/ 4498919 w 10678681"/>
              <a:gd name="connsiteY90" fmla="*/ 1312115 h 1342734"/>
              <a:gd name="connsiteX91" fmla="*/ 4492075 w 10678681"/>
              <a:gd name="connsiteY91" fmla="*/ 1313357 h 1342734"/>
              <a:gd name="connsiteX92" fmla="*/ 4487466 w 10678681"/>
              <a:gd name="connsiteY92" fmla="*/ 1304102 h 1342734"/>
              <a:gd name="connsiteX93" fmla="*/ 4398292 w 10678681"/>
              <a:gd name="connsiteY93" fmla="*/ 1278410 h 1342734"/>
              <a:gd name="connsiteX94" fmla="*/ 4306088 w 10678681"/>
              <a:gd name="connsiteY94" fmla="*/ 1282512 h 1342734"/>
              <a:gd name="connsiteX95" fmla="*/ 4188995 w 10678681"/>
              <a:gd name="connsiteY95" fmla="*/ 1296718 h 1342734"/>
              <a:gd name="connsiteX96" fmla="*/ 4136582 w 10678681"/>
              <a:gd name="connsiteY96" fmla="*/ 1287687 h 1342734"/>
              <a:gd name="connsiteX97" fmla="*/ 4064614 w 10678681"/>
              <a:gd name="connsiteY97" fmla="*/ 1296118 h 1342734"/>
              <a:gd name="connsiteX98" fmla="*/ 3900948 w 10678681"/>
              <a:gd name="connsiteY98" fmla="*/ 1322156 h 1342734"/>
              <a:gd name="connsiteX99" fmla="*/ 3787890 w 10678681"/>
              <a:gd name="connsiteY99" fmla="*/ 1322164 h 1342734"/>
              <a:gd name="connsiteX100" fmla="*/ 3745993 w 10678681"/>
              <a:gd name="connsiteY100" fmla="*/ 1342630 h 1342734"/>
              <a:gd name="connsiteX101" fmla="*/ 3675785 w 10678681"/>
              <a:gd name="connsiteY101" fmla="*/ 1326802 h 1342734"/>
              <a:gd name="connsiteX102" fmla="*/ 3623856 w 10678681"/>
              <a:gd name="connsiteY102" fmla="*/ 1290804 h 1342734"/>
              <a:gd name="connsiteX103" fmla="*/ 3564933 w 10678681"/>
              <a:gd name="connsiteY103" fmla="*/ 1287147 h 1342734"/>
              <a:gd name="connsiteX104" fmla="*/ 3550537 w 10678681"/>
              <a:gd name="connsiteY104" fmla="*/ 1317552 h 1342734"/>
              <a:gd name="connsiteX105" fmla="*/ 3487736 w 10678681"/>
              <a:gd name="connsiteY105" fmla="*/ 1303493 h 1342734"/>
              <a:gd name="connsiteX106" fmla="*/ 3392548 w 10678681"/>
              <a:gd name="connsiteY106" fmla="*/ 1278741 h 1342734"/>
              <a:gd name="connsiteX107" fmla="*/ 3337466 w 10678681"/>
              <a:gd name="connsiteY107" fmla="*/ 1272537 h 1342734"/>
              <a:gd name="connsiteX108" fmla="*/ 3175981 w 10678681"/>
              <a:gd name="connsiteY108" fmla="*/ 1208973 h 1342734"/>
              <a:gd name="connsiteX109" fmla="*/ 3036856 w 10678681"/>
              <a:gd name="connsiteY109" fmla="*/ 1214383 h 1342734"/>
              <a:gd name="connsiteX110" fmla="*/ 2824973 w 10678681"/>
              <a:gd name="connsiteY110" fmla="*/ 1134864 h 1342734"/>
              <a:gd name="connsiteX111" fmla="*/ 2804398 w 10678681"/>
              <a:gd name="connsiteY111" fmla="*/ 1125556 h 1342734"/>
              <a:gd name="connsiteX112" fmla="*/ 2736109 w 10678681"/>
              <a:gd name="connsiteY112" fmla="*/ 1137717 h 1342734"/>
              <a:gd name="connsiteX113" fmla="*/ 2659096 w 10678681"/>
              <a:gd name="connsiteY113" fmla="*/ 1150294 h 1342734"/>
              <a:gd name="connsiteX114" fmla="*/ 2567088 w 10678681"/>
              <a:gd name="connsiteY114" fmla="*/ 1181781 h 1342734"/>
              <a:gd name="connsiteX115" fmla="*/ 2454501 w 10678681"/>
              <a:gd name="connsiteY115" fmla="*/ 1155455 h 1342734"/>
              <a:gd name="connsiteX116" fmla="*/ 2385161 w 10678681"/>
              <a:gd name="connsiteY116" fmla="*/ 1161312 h 1342734"/>
              <a:gd name="connsiteX117" fmla="*/ 2273361 w 10678681"/>
              <a:gd name="connsiteY117" fmla="*/ 1134090 h 1342734"/>
              <a:gd name="connsiteX118" fmla="*/ 2132003 w 10678681"/>
              <a:gd name="connsiteY118" fmla="*/ 1139225 h 1342734"/>
              <a:gd name="connsiteX119" fmla="*/ 2041224 w 10678681"/>
              <a:gd name="connsiteY119" fmla="*/ 1147536 h 1342734"/>
              <a:gd name="connsiteX120" fmla="*/ 2010157 w 10678681"/>
              <a:gd name="connsiteY120" fmla="*/ 1152767 h 1342734"/>
              <a:gd name="connsiteX121" fmla="*/ 1859213 w 10678681"/>
              <a:gd name="connsiteY121" fmla="*/ 1199540 h 1342734"/>
              <a:gd name="connsiteX122" fmla="*/ 1735877 w 10678681"/>
              <a:gd name="connsiteY122" fmla="*/ 1246527 h 1342734"/>
              <a:gd name="connsiteX123" fmla="*/ 1705069 w 10678681"/>
              <a:gd name="connsiteY123" fmla="*/ 1251989 h 1342734"/>
              <a:gd name="connsiteX124" fmla="*/ 1307888 w 10678681"/>
              <a:gd name="connsiteY124" fmla="*/ 1283156 h 1342734"/>
              <a:gd name="connsiteX125" fmla="*/ 1220734 w 10678681"/>
              <a:gd name="connsiteY125" fmla="*/ 1257811 h 1342734"/>
              <a:gd name="connsiteX126" fmla="*/ 1021737 w 10678681"/>
              <a:gd name="connsiteY126" fmla="*/ 1238739 h 1342734"/>
              <a:gd name="connsiteX127" fmla="*/ 959820 w 10678681"/>
              <a:gd name="connsiteY127" fmla="*/ 1275863 h 1342734"/>
              <a:gd name="connsiteX128" fmla="*/ 929137 w 10678681"/>
              <a:gd name="connsiteY128" fmla="*/ 1273957 h 1342734"/>
              <a:gd name="connsiteX129" fmla="*/ 878849 w 10678681"/>
              <a:gd name="connsiteY129" fmla="*/ 1266740 h 1342734"/>
              <a:gd name="connsiteX130" fmla="*/ 800667 w 10678681"/>
              <a:gd name="connsiteY130" fmla="*/ 1282041 h 1342734"/>
              <a:gd name="connsiteX131" fmla="*/ 644906 w 10678681"/>
              <a:gd name="connsiteY131" fmla="*/ 1273685 h 1342734"/>
              <a:gd name="connsiteX132" fmla="*/ 379869 w 10678681"/>
              <a:gd name="connsiteY132" fmla="*/ 1339165 h 1342734"/>
              <a:gd name="connsiteX133" fmla="*/ 137696 w 10678681"/>
              <a:gd name="connsiteY133" fmla="*/ 1319217 h 1342734"/>
              <a:gd name="connsiteX134" fmla="*/ 54250 w 10678681"/>
              <a:gd name="connsiteY134" fmla="*/ 1315838 h 1342734"/>
              <a:gd name="connsiteX135" fmla="*/ 28042 w 10678681"/>
              <a:gd name="connsiteY135" fmla="*/ 1297822 h 1342734"/>
              <a:gd name="connsiteX136" fmla="*/ 0 w 10678681"/>
              <a:gd name="connsiteY136" fmla="*/ 1294612 h 1342734"/>
              <a:gd name="connsiteX137" fmla="*/ 0 w 10678681"/>
              <a:gd name="connsiteY137"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09062 h 1342734"/>
              <a:gd name="connsiteX14" fmla="*/ 9840045 w 10678681"/>
              <a:gd name="connsiteY14" fmla="*/ 223033 h 1342734"/>
              <a:gd name="connsiteX15" fmla="*/ 9679639 w 10678681"/>
              <a:gd name="connsiteY15" fmla="*/ 24718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276883 w 10678681"/>
              <a:gd name="connsiteY30" fmla="*/ 588214 h 1342734"/>
              <a:gd name="connsiteX31" fmla="*/ 8086698 w 10678681"/>
              <a:gd name="connsiteY31" fmla="*/ 605185 h 1342734"/>
              <a:gd name="connsiteX32" fmla="*/ 7982378 w 10678681"/>
              <a:gd name="connsiteY32" fmla="*/ 629799 h 1342734"/>
              <a:gd name="connsiteX33" fmla="*/ 7947952 w 10678681"/>
              <a:gd name="connsiteY33" fmla="*/ 648003 h 1342734"/>
              <a:gd name="connsiteX34" fmla="*/ 7890112 w 10678681"/>
              <a:gd name="connsiteY34" fmla="*/ 677915 h 1342734"/>
              <a:gd name="connsiteX35" fmla="*/ 7853284 w 10678681"/>
              <a:gd name="connsiteY35" fmla="*/ 723588 h 1342734"/>
              <a:gd name="connsiteX36" fmla="*/ 7802383 w 10678681"/>
              <a:gd name="connsiteY36" fmla="*/ 739359 h 1342734"/>
              <a:gd name="connsiteX37" fmla="*/ 7730518 w 10678681"/>
              <a:gd name="connsiteY37" fmla="*/ 739526 h 1342734"/>
              <a:gd name="connsiteX38" fmla="*/ 7720084 w 10678681"/>
              <a:gd name="connsiteY38" fmla="*/ 760750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285593 w 10678681"/>
              <a:gd name="connsiteY77" fmla="*/ 1273569 h 1342734"/>
              <a:gd name="connsiteX78" fmla="*/ 5192893 w 10678681"/>
              <a:gd name="connsiteY78" fmla="*/ 1247188 h 1342734"/>
              <a:gd name="connsiteX79" fmla="*/ 5186475 w 10678681"/>
              <a:gd name="connsiteY79" fmla="*/ 1257028 h 1342734"/>
              <a:gd name="connsiteX80" fmla="*/ 5126038 w 10678681"/>
              <a:gd name="connsiteY80" fmla="*/ 1263189 h 1342734"/>
              <a:gd name="connsiteX81" fmla="*/ 4894688 w 10678681"/>
              <a:gd name="connsiteY81" fmla="*/ 1247184 h 1342734"/>
              <a:gd name="connsiteX82" fmla="*/ 4788036 w 10678681"/>
              <a:gd name="connsiteY82" fmla="*/ 1238182 h 1342734"/>
              <a:gd name="connsiteX83" fmla="*/ 4747555 w 10678681"/>
              <a:gd name="connsiteY83" fmla="*/ 1252768 h 1342734"/>
              <a:gd name="connsiteX84" fmla="*/ 4679644 w 10678681"/>
              <a:gd name="connsiteY84" fmla="*/ 1276603 h 1342734"/>
              <a:gd name="connsiteX85" fmla="*/ 4617473 w 10678681"/>
              <a:gd name="connsiteY85" fmla="*/ 1296467 h 1342734"/>
              <a:gd name="connsiteX86" fmla="*/ 4564919 w 10678681"/>
              <a:gd name="connsiteY86" fmla="*/ 1325507 h 1342734"/>
              <a:gd name="connsiteX87" fmla="*/ 4566586 w 10678681"/>
              <a:gd name="connsiteY87" fmla="*/ 1316963 h 1342734"/>
              <a:gd name="connsiteX88" fmla="*/ 4556303 w 10678681"/>
              <a:gd name="connsiteY88" fmla="*/ 1300262 h 1342734"/>
              <a:gd name="connsiteX89" fmla="*/ 4502358 w 10678681"/>
              <a:gd name="connsiteY89" fmla="*/ 1302558 h 1342734"/>
              <a:gd name="connsiteX90" fmla="*/ 4498919 w 10678681"/>
              <a:gd name="connsiteY90" fmla="*/ 1312115 h 1342734"/>
              <a:gd name="connsiteX91" fmla="*/ 4492075 w 10678681"/>
              <a:gd name="connsiteY91" fmla="*/ 1313357 h 1342734"/>
              <a:gd name="connsiteX92" fmla="*/ 4487466 w 10678681"/>
              <a:gd name="connsiteY92" fmla="*/ 1304102 h 1342734"/>
              <a:gd name="connsiteX93" fmla="*/ 4398292 w 10678681"/>
              <a:gd name="connsiteY93" fmla="*/ 1278410 h 1342734"/>
              <a:gd name="connsiteX94" fmla="*/ 4306088 w 10678681"/>
              <a:gd name="connsiteY94" fmla="*/ 1282512 h 1342734"/>
              <a:gd name="connsiteX95" fmla="*/ 4188995 w 10678681"/>
              <a:gd name="connsiteY95" fmla="*/ 1296718 h 1342734"/>
              <a:gd name="connsiteX96" fmla="*/ 4136582 w 10678681"/>
              <a:gd name="connsiteY96" fmla="*/ 1287687 h 1342734"/>
              <a:gd name="connsiteX97" fmla="*/ 4064614 w 10678681"/>
              <a:gd name="connsiteY97" fmla="*/ 1296118 h 1342734"/>
              <a:gd name="connsiteX98" fmla="*/ 3900948 w 10678681"/>
              <a:gd name="connsiteY98" fmla="*/ 1322156 h 1342734"/>
              <a:gd name="connsiteX99" fmla="*/ 3787890 w 10678681"/>
              <a:gd name="connsiteY99" fmla="*/ 1322164 h 1342734"/>
              <a:gd name="connsiteX100" fmla="*/ 3745993 w 10678681"/>
              <a:gd name="connsiteY100" fmla="*/ 1342630 h 1342734"/>
              <a:gd name="connsiteX101" fmla="*/ 3675785 w 10678681"/>
              <a:gd name="connsiteY101" fmla="*/ 1326802 h 1342734"/>
              <a:gd name="connsiteX102" fmla="*/ 3623856 w 10678681"/>
              <a:gd name="connsiteY102" fmla="*/ 1290804 h 1342734"/>
              <a:gd name="connsiteX103" fmla="*/ 3564933 w 10678681"/>
              <a:gd name="connsiteY103" fmla="*/ 1287147 h 1342734"/>
              <a:gd name="connsiteX104" fmla="*/ 3550537 w 10678681"/>
              <a:gd name="connsiteY104" fmla="*/ 1317552 h 1342734"/>
              <a:gd name="connsiteX105" fmla="*/ 3487736 w 10678681"/>
              <a:gd name="connsiteY105" fmla="*/ 1303493 h 1342734"/>
              <a:gd name="connsiteX106" fmla="*/ 3392548 w 10678681"/>
              <a:gd name="connsiteY106" fmla="*/ 1278741 h 1342734"/>
              <a:gd name="connsiteX107" fmla="*/ 3337466 w 10678681"/>
              <a:gd name="connsiteY107" fmla="*/ 1272537 h 1342734"/>
              <a:gd name="connsiteX108" fmla="*/ 3175981 w 10678681"/>
              <a:gd name="connsiteY108" fmla="*/ 1208973 h 1342734"/>
              <a:gd name="connsiteX109" fmla="*/ 3036856 w 10678681"/>
              <a:gd name="connsiteY109" fmla="*/ 1214383 h 1342734"/>
              <a:gd name="connsiteX110" fmla="*/ 2824973 w 10678681"/>
              <a:gd name="connsiteY110" fmla="*/ 1134864 h 1342734"/>
              <a:gd name="connsiteX111" fmla="*/ 2804398 w 10678681"/>
              <a:gd name="connsiteY111" fmla="*/ 1125556 h 1342734"/>
              <a:gd name="connsiteX112" fmla="*/ 2736109 w 10678681"/>
              <a:gd name="connsiteY112" fmla="*/ 1137717 h 1342734"/>
              <a:gd name="connsiteX113" fmla="*/ 2659096 w 10678681"/>
              <a:gd name="connsiteY113" fmla="*/ 1150294 h 1342734"/>
              <a:gd name="connsiteX114" fmla="*/ 2567088 w 10678681"/>
              <a:gd name="connsiteY114" fmla="*/ 1181781 h 1342734"/>
              <a:gd name="connsiteX115" fmla="*/ 2454501 w 10678681"/>
              <a:gd name="connsiteY115" fmla="*/ 1155455 h 1342734"/>
              <a:gd name="connsiteX116" fmla="*/ 2385161 w 10678681"/>
              <a:gd name="connsiteY116" fmla="*/ 1161312 h 1342734"/>
              <a:gd name="connsiteX117" fmla="*/ 2273361 w 10678681"/>
              <a:gd name="connsiteY117" fmla="*/ 1134090 h 1342734"/>
              <a:gd name="connsiteX118" fmla="*/ 2132003 w 10678681"/>
              <a:gd name="connsiteY118" fmla="*/ 1139225 h 1342734"/>
              <a:gd name="connsiteX119" fmla="*/ 2041224 w 10678681"/>
              <a:gd name="connsiteY119" fmla="*/ 1147536 h 1342734"/>
              <a:gd name="connsiteX120" fmla="*/ 2010157 w 10678681"/>
              <a:gd name="connsiteY120" fmla="*/ 1152767 h 1342734"/>
              <a:gd name="connsiteX121" fmla="*/ 1859213 w 10678681"/>
              <a:gd name="connsiteY121" fmla="*/ 1199540 h 1342734"/>
              <a:gd name="connsiteX122" fmla="*/ 1735877 w 10678681"/>
              <a:gd name="connsiteY122" fmla="*/ 1246527 h 1342734"/>
              <a:gd name="connsiteX123" fmla="*/ 1705069 w 10678681"/>
              <a:gd name="connsiteY123" fmla="*/ 1251989 h 1342734"/>
              <a:gd name="connsiteX124" fmla="*/ 1307888 w 10678681"/>
              <a:gd name="connsiteY124" fmla="*/ 1283156 h 1342734"/>
              <a:gd name="connsiteX125" fmla="*/ 1220734 w 10678681"/>
              <a:gd name="connsiteY125" fmla="*/ 1257811 h 1342734"/>
              <a:gd name="connsiteX126" fmla="*/ 1021737 w 10678681"/>
              <a:gd name="connsiteY126" fmla="*/ 1238739 h 1342734"/>
              <a:gd name="connsiteX127" fmla="*/ 959820 w 10678681"/>
              <a:gd name="connsiteY127" fmla="*/ 1275863 h 1342734"/>
              <a:gd name="connsiteX128" fmla="*/ 929137 w 10678681"/>
              <a:gd name="connsiteY128" fmla="*/ 1273957 h 1342734"/>
              <a:gd name="connsiteX129" fmla="*/ 878849 w 10678681"/>
              <a:gd name="connsiteY129" fmla="*/ 1266740 h 1342734"/>
              <a:gd name="connsiteX130" fmla="*/ 800667 w 10678681"/>
              <a:gd name="connsiteY130" fmla="*/ 1282041 h 1342734"/>
              <a:gd name="connsiteX131" fmla="*/ 644906 w 10678681"/>
              <a:gd name="connsiteY131" fmla="*/ 1273685 h 1342734"/>
              <a:gd name="connsiteX132" fmla="*/ 379869 w 10678681"/>
              <a:gd name="connsiteY132" fmla="*/ 1339165 h 1342734"/>
              <a:gd name="connsiteX133" fmla="*/ 137696 w 10678681"/>
              <a:gd name="connsiteY133" fmla="*/ 1319217 h 1342734"/>
              <a:gd name="connsiteX134" fmla="*/ 54250 w 10678681"/>
              <a:gd name="connsiteY134" fmla="*/ 1315838 h 1342734"/>
              <a:gd name="connsiteX135" fmla="*/ 28042 w 10678681"/>
              <a:gd name="connsiteY135" fmla="*/ 1297822 h 1342734"/>
              <a:gd name="connsiteX136" fmla="*/ 0 w 10678681"/>
              <a:gd name="connsiteY136" fmla="*/ 1294612 h 1342734"/>
              <a:gd name="connsiteX137" fmla="*/ 0 w 10678681"/>
              <a:gd name="connsiteY137"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09062 h 1342734"/>
              <a:gd name="connsiteX14" fmla="*/ 9840045 w 10678681"/>
              <a:gd name="connsiteY14" fmla="*/ 223033 h 1342734"/>
              <a:gd name="connsiteX15" fmla="*/ 9679639 w 10678681"/>
              <a:gd name="connsiteY15" fmla="*/ 24718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276883 w 10678681"/>
              <a:gd name="connsiteY30" fmla="*/ 588214 h 1342734"/>
              <a:gd name="connsiteX31" fmla="*/ 8086698 w 10678681"/>
              <a:gd name="connsiteY31" fmla="*/ 605185 h 1342734"/>
              <a:gd name="connsiteX32" fmla="*/ 7982378 w 10678681"/>
              <a:gd name="connsiteY32" fmla="*/ 629799 h 1342734"/>
              <a:gd name="connsiteX33" fmla="*/ 7947952 w 10678681"/>
              <a:gd name="connsiteY33" fmla="*/ 648003 h 1342734"/>
              <a:gd name="connsiteX34" fmla="*/ 7890112 w 10678681"/>
              <a:gd name="connsiteY34" fmla="*/ 677915 h 1342734"/>
              <a:gd name="connsiteX35" fmla="*/ 7853284 w 10678681"/>
              <a:gd name="connsiteY35" fmla="*/ 723588 h 1342734"/>
              <a:gd name="connsiteX36" fmla="*/ 7802383 w 10678681"/>
              <a:gd name="connsiteY36" fmla="*/ 739359 h 1342734"/>
              <a:gd name="connsiteX37" fmla="*/ 7730518 w 10678681"/>
              <a:gd name="connsiteY37" fmla="*/ 739526 h 1342734"/>
              <a:gd name="connsiteX38" fmla="*/ 7720084 w 10678681"/>
              <a:gd name="connsiteY38" fmla="*/ 760750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192893 w 10678681"/>
              <a:gd name="connsiteY77" fmla="*/ 1247188 h 1342734"/>
              <a:gd name="connsiteX78" fmla="*/ 5186475 w 10678681"/>
              <a:gd name="connsiteY78" fmla="*/ 1257028 h 1342734"/>
              <a:gd name="connsiteX79" fmla="*/ 5126038 w 10678681"/>
              <a:gd name="connsiteY79" fmla="*/ 1263189 h 1342734"/>
              <a:gd name="connsiteX80" fmla="*/ 4894688 w 10678681"/>
              <a:gd name="connsiteY80" fmla="*/ 1247184 h 1342734"/>
              <a:gd name="connsiteX81" fmla="*/ 4788036 w 10678681"/>
              <a:gd name="connsiteY81" fmla="*/ 1238182 h 1342734"/>
              <a:gd name="connsiteX82" fmla="*/ 4747555 w 10678681"/>
              <a:gd name="connsiteY82" fmla="*/ 1252768 h 1342734"/>
              <a:gd name="connsiteX83" fmla="*/ 4679644 w 10678681"/>
              <a:gd name="connsiteY83" fmla="*/ 1276603 h 1342734"/>
              <a:gd name="connsiteX84" fmla="*/ 4617473 w 10678681"/>
              <a:gd name="connsiteY84" fmla="*/ 1296467 h 1342734"/>
              <a:gd name="connsiteX85" fmla="*/ 4564919 w 10678681"/>
              <a:gd name="connsiteY85" fmla="*/ 1325507 h 1342734"/>
              <a:gd name="connsiteX86" fmla="*/ 4566586 w 10678681"/>
              <a:gd name="connsiteY86" fmla="*/ 1316963 h 1342734"/>
              <a:gd name="connsiteX87" fmla="*/ 4556303 w 10678681"/>
              <a:gd name="connsiteY87" fmla="*/ 1300262 h 1342734"/>
              <a:gd name="connsiteX88" fmla="*/ 4502358 w 10678681"/>
              <a:gd name="connsiteY88" fmla="*/ 1302558 h 1342734"/>
              <a:gd name="connsiteX89" fmla="*/ 4498919 w 10678681"/>
              <a:gd name="connsiteY89" fmla="*/ 1312115 h 1342734"/>
              <a:gd name="connsiteX90" fmla="*/ 4492075 w 10678681"/>
              <a:gd name="connsiteY90" fmla="*/ 1313357 h 1342734"/>
              <a:gd name="connsiteX91" fmla="*/ 4487466 w 10678681"/>
              <a:gd name="connsiteY91" fmla="*/ 1304102 h 1342734"/>
              <a:gd name="connsiteX92" fmla="*/ 4398292 w 10678681"/>
              <a:gd name="connsiteY92" fmla="*/ 1278410 h 1342734"/>
              <a:gd name="connsiteX93" fmla="*/ 4306088 w 10678681"/>
              <a:gd name="connsiteY93" fmla="*/ 1282512 h 1342734"/>
              <a:gd name="connsiteX94" fmla="*/ 4188995 w 10678681"/>
              <a:gd name="connsiteY94" fmla="*/ 1296718 h 1342734"/>
              <a:gd name="connsiteX95" fmla="*/ 4136582 w 10678681"/>
              <a:gd name="connsiteY95" fmla="*/ 1287687 h 1342734"/>
              <a:gd name="connsiteX96" fmla="*/ 4064614 w 10678681"/>
              <a:gd name="connsiteY96" fmla="*/ 1296118 h 1342734"/>
              <a:gd name="connsiteX97" fmla="*/ 3900948 w 10678681"/>
              <a:gd name="connsiteY97" fmla="*/ 1322156 h 1342734"/>
              <a:gd name="connsiteX98" fmla="*/ 3787890 w 10678681"/>
              <a:gd name="connsiteY98" fmla="*/ 1322164 h 1342734"/>
              <a:gd name="connsiteX99" fmla="*/ 3745993 w 10678681"/>
              <a:gd name="connsiteY99" fmla="*/ 1342630 h 1342734"/>
              <a:gd name="connsiteX100" fmla="*/ 3675785 w 10678681"/>
              <a:gd name="connsiteY100" fmla="*/ 1326802 h 1342734"/>
              <a:gd name="connsiteX101" fmla="*/ 3623856 w 10678681"/>
              <a:gd name="connsiteY101" fmla="*/ 1290804 h 1342734"/>
              <a:gd name="connsiteX102" fmla="*/ 3564933 w 10678681"/>
              <a:gd name="connsiteY102" fmla="*/ 1287147 h 1342734"/>
              <a:gd name="connsiteX103" fmla="*/ 3550537 w 10678681"/>
              <a:gd name="connsiteY103" fmla="*/ 1317552 h 1342734"/>
              <a:gd name="connsiteX104" fmla="*/ 3487736 w 10678681"/>
              <a:gd name="connsiteY104" fmla="*/ 1303493 h 1342734"/>
              <a:gd name="connsiteX105" fmla="*/ 3392548 w 10678681"/>
              <a:gd name="connsiteY105" fmla="*/ 1278741 h 1342734"/>
              <a:gd name="connsiteX106" fmla="*/ 3337466 w 10678681"/>
              <a:gd name="connsiteY106" fmla="*/ 1272537 h 1342734"/>
              <a:gd name="connsiteX107" fmla="*/ 3175981 w 10678681"/>
              <a:gd name="connsiteY107" fmla="*/ 1208973 h 1342734"/>
              <a:gd name="connsiteX108" fmla="*/ 3036856 w 10678681"/>
              <a:gd name="connsiteY108" fmla="*/ 1214383 h 1342734"/>
              <a:gd name="connsiteX109" fmla="*/ 2824973 w 10678681"/>
              <a:gd name="connsiteY109" fmla="*/ 1134864 h 1342734"/>
              <a:gd name="connsiteX110" fmla="*/ 2804398 w 10678681"/>
              <a:gd name="connsiteY110" fmla="*/ 1125556 h 1342734"/>
              <a:gd name="connsiteX111" fmla="*/ 2736109 w 10678681"/>
              <a:gd name="connsiteY111" fmla="*/ 1137717 h 1342734"/>
              <a:gd name="connsiteX112" fmla="*/ 2659096 w 10678681"/>
              <a:gd name="connsiteY112" fmla="*/ 1150294 h 1342734"/>
              <a:gd name="connsiteX113" fmla="*/ 2567088 w 10678681"/>
              <a:gd name="connsiteY113" fmla="*/ 1181781 h 1342734"/>
              <a:gd name="connsiteX114" fmla="*/ 2454501 w 10678681"/>
              <a:gd name="connsiteY114" fmla="*/ 1155455 h 1342734"/>
              <a:gd name="connsiteX115" fmla="*/ 2385161 w 10678681"/>
              <a:gd name="connsiteY115" fmla="*/ 1161312 h 1342734"/>
              <a:gd name="connsiteX116" fmla="*/ 2273361 w 10678681"/>
              <a:gd name="connsiteY116" fmla="*/ 1134090 h 1342734"/>
              <a:gd name="connsiteX117" fmla="*/ 2132003 w 10678681"/>
              <a:gd name="connsiteY117" fmla="*/ 1139225 h 1342734"/>
              <a:gd name="connsiteX118" fmla="*/ 2041224 w 10678681"/>
              <a:gd name="connsiteY118" fmla="*/ 1147536 h 1342734"/>
              <a:gd name="connsiteX119" fmla="*/ 2010157 w 10678681"/>
              <a:gd name="connsiteY119" fmla="*/ 1152767 h 1342734"/>
              <a:gd name="connsiteX120" fmla="*/ 1859213 w 10678681"/>
              <a:gd name="connsiteY120" fmla="*/ 1199540 h 1342734"/>
              <a:gd name="connsiteX121" fmla="*/ 1735877 w 10678681"/>
              <a:gd name="connsiteY121" fmla="*/ 1246527 h 1342734"/>
              <a:gd name="connsiteX122" fmla="*/ 1705069 w 10678681"/>
              <a:gd name="connsiteY122" fmla="*/ 1251989 h 1342734"/>
              <a:gd name="connsiteX123" fmla="*/ 1307888 w 10678681"/>
              <a:gd name="connsiteY123" fmla="*/ 1283156 h 1342734"/>
              <a:gd name="connsiteX124" fmla="*/ 1220734 w 10678681"/>
              <a:gd name="connsiteY124" fmla="*/ 1257811 h 1342734"/>
              <a:gd name="connsiteX125" fmla="*/ 1021737 w 10678681"/>
              <a:gd name="connsiteY125" fmla="*/ 1238739 h 1342734"/>
              <a:gd name="connsiteX126" fmla="*/ 959820 w 10678681"/>
              <a:gd name="connsiteY126" fmla="*/ 1275863 h 1342734"/>
              <a:gd name="connsiteX127" fmla="*/ 929137 w 10678681"/>
              <a:gd name="connsiteY127" fmla="*/ 1273957 h 1342734"/>
              <a:gd name="connsiteX128" fmla="*/ 878849 w 10678681"/>
              <a:gd name="connsiteY128" fmla="*/ 1266740 h 1342734"/>
              <a:gd name="connsiteX129" fmla="*/ 800667 w 10678681"/>
              <a:gd name="connsiteY129" fmla="*/ 1282041 h 1342734"/>
              <a:gd name="connsiteX130" fmla="*/ 644906 w 10678681"/>
              <a:gd name="connsiteY130" fmla="*/ 1273685 h 1342734"/>
              <a:gd name="connsiteX131" fmla="*/ 379869 w 10678681"/>
              <a:gd name="connsiteY131" fmla="*/ 1339165 h 1342734"/>
              <a:gd name="connsiteX132" fmla="*/ 137696 w 10678681"/>
              <a:gd name="connsiteY132" fmla="*/ 1319217 h 1342734"/>
              <a:gd name="connsiteX133" fmla="*/ 54250 w 10678681"/>
              <a:gd name="connsiteY133" fmla="*/ 1315838 h 1342734"/>
              <a:gd name="connsiteX134" fmla="*/ 28042 w 10678681"/>
              <a:gd name="connsiteY134" fmla="*/ 1297822 h 1342734"/>
              <a:gd name="connsiteX135" fmla="*/ 0 w 10678681"/>
              <a:gd name="connsiteY135" fmla="*/ 1294612 h 1342734"/>
              <a:gd name="connsiteX136" fmla="*/ 0 w 10678681"/>
              <a:gd name="connsiteY136"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09062 h 1342734"/>
              <a:gd name="connsiteX14" fmla="*/ 9840045 w 10678681"/>
              <a:gd name="connsiteY14" fmla="*/ 223033 h 1342734"/>
              <a:gd name="connsiteX15" fmla="*/ 9679639 w 10678681"/>
              <a:gd name="connsiteY15" fmla="*/ 24718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276883 w 10678681"/>
              <a:gd name="connsiteY30" fmla="*/ 588214 h 1342734"/>
              <a:gd name="connsiteX31" fmla="*/ 8086698 w 10678681"/>
              <a:gd name="connsiteY31" fmla="*/ 605185 h 1342734"/>
              <a:gd name="connsiteX32" fmla="*/ 7982378 w 10678681"/>
              <a:gd name="connsiteY32" fmla="*/ 629799 h 1342734"/>
              <a:gd name="connsiteX33" fmla="*/ 7947952 w 10678681"/>
              <a:gd name="connsiteY33" fmla="*/ 648003 h 1342734"/>
              <a:gd name="connsiteX34" fmla="*/ 7890112 w 10678681"/>
              <a:gd name="connsiteY34" fmla="*/ 677915 h 1342734"/>
              <a:gd name="connsiteX35" fmla="*/ 7853284 w 10678681"/>
              <a:gd name="connsiteY35" fmla="*/ 723588 h 1342734"/>
              <a:gd name="connsiteX36" fmla="*/ 7802383 w 10678681"/>
              <a:gd name="connsiteY36" fmla="*/ 739359 h 1342734"/>
              <a:gd name="connsiteX37" fmla="*/ 7730518 w 10678681"/>
              <a:gd name="connsiteY37" fmla="*/ 739526 h 1342734"/>
              <a:gd name="connsiteX38" fmla="*/ 7720084 w 10678681"/>
              <a:gd name="connsiteY38" fmla="*/ 760750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192893 w 10678681"/>
              <a:gd name="connsiteY77" fmla="*/ 1247188 h 1342734"/>
              <a:gd name="connsiteX78" fmla="*/ 5186475 w 10678681"/>
              <a:gd name="connsiteY78" fmla="*/ 1257028 h 1342734"/>
              <a:gd name="connsiteX79" fmla="*/ 5103589 w 10678681"/>
              <a:gd name="connsiteY79" fmla="*/ 1263189 h 1342734"/>
              <a:gd name="connsiteX80" fmla="*/ 4894688 w 10678681"/>
              <a:gd name="connsiteY80" fmla="*/ 1247184 h 1342734"/>
              <a:gd name="connsiteX81" fmla="*/ 4788036 w 10678681"/>
              <a:gd name="connsiteY81" fmla="*/ 1238182 h 1342734"/>
              <a:gd name="connsiteX82" fmla="*/ 4747555 w 10678681"/>
              <a:gd name="connsiteY82" fmla="*/ 1252768 h 1342734"/>
              <a:gd name="connsiteX83" fmla="*/ 4679644 w 10678681"/>
              <a:gd name="connsiteY83" fmla="*/ 1276603 h 1342734"/>
              <a:gd name="connsiteX84" fmla="*/ 4617473 w 10678681"/>
              <a:gd name="connsiteY84" fmla="*/ 1296467 h 1342734"/>
              <a:gd name="connsiteX85" fmla="*/ 4564919 w 10678681"/>
              <a:gd name="connsiteY85" fmla="*/ 1325507 h 1342734"/>
              <a:gd name="connsiteX86" fmla="*/ 4566586 w 10678681"/>
              <a:gd name="connsiteY86" fmla="*/ 1316963 h 1342734"/>
              <a:gd name="connsiteX87" fmla="*/ 4556303 w 10678681"/>
              <a:gd name="connsiteY87" fmla="*/ 1300262 h 1342734"/>
              <a:gd name="connsiteX88" fmla="*/ 4502358 w 10678681"/>
              <a:gd name="connsiteY88" fmla="*/ 1302558 h 1342734"/>
              <a:gd name="connsiteX89" fmla="*/ 4498919 w 10678681"/>
              <a:gd name="connsiteY89" fmla="*/ 1312115 h 1342734"/>
              <a:gd name="connsiteX90" fmla="*/ 4492075 w 10678681"/>
              <a:gd name="connsiteY90" fmla="*/ 1313357 h 1342734"/>
              <a:gd name="connsiteX91" fmla="*/ 4487466 w 10678681"/>
              <a:gd name="connsiteY91" fmla="*/ 1304102 h 1342734"/>
              <a:gd name="connsiteX92" fmla="*/ 4398292 w 10678681"/>
              <a:gd name="connsiteY92" fmla="*/ 1278410 h 1342734"/>
              <a:gd name="connsiteX93" fmla="*/ 4306088 w 10678681"/>
              <a:gd name="connsiteY93" fmla="*/ 1282512 h 1342734"/>
              <a:gd name="connsiteX94" fmla="*/ 4188995 w 10678681"/>
              <a:gd name="connsiteY94" fmla="*/ 1296718 h 1342734"/>
              <a:gd name="connsiteX95" fmla="*/ 4136582 w 10678681"/>
              <a:gd name="connsiteY95" fmla="*/ 1287687 h 1342734"/>
              <a:gd name="connsiteX96" fmla="*/ 4064614 w 10678681"/>
              <a:gd name="connsiteY96" fmla="*/ 1296118 h 1342734"/>
              <a:gd name="connsiteX97" fmla="*/ 3900948 w 10678681"/>
              <a:gd name="connsiteY97" fmla="*/ 1322156 h 1342734"/>
              <a:gd name="connsiteX98" fmla="*/ 3787890 w 10678681"/>
              <a:gd name="connsiteY98" fmla="*/ 1322164 h 1342734"/>
              <a:gd name="connsiteX99" fmla="*/ 3745993 w 10678681"/>
              <a:gd name="connsiteY99" fmla="*/ 1342630 h 1342734"/>
              <a:gd name="connsiteX100" fmla="*/ 3675785 w 10678681"/>
              <a:gd name="connsiteY100" fmla="*/ 1326802 h 1342734"/>
              <a:gd name="connsiteX101" fmla="*/ 3623856 w 10678681"/>
              <a:gd name="connsiteY101" fmla="*/ 1290804 h 1342734"/>
              <a:gd name="connsiteX102" fmla="*/ 3564933 w 10678681"/>
              <a:gd name="connsiteY102" fmla="*/ 1287147 h 1342734"/>
              <a:gd name="connsiteX103" fmla="*/ 3550537 w 10678681"/>
              <a:gd name="connsiteY103" fmla="*/ 1317552 h 1342734"/>
              <a:gd name="connsiteX104" fmla="*/ 3487736 w 10678681"/>
              <a:gd name="connsiteY104" fmla="*/ 1303493 h 1342734"/>
              <a:gd name="connsiteX105" fmla="*/ 3392548 w 10678681"/>
              <a:gd name="connsiteY105" fmla="*/ 1278741 h 1342734"/>
              <a:gd name="connsiteX106" fmla="*/ 3337466 w 10678681"/>
              <a:gd name="connsiteY106" fmla="*/ 1272537 h 1342734"/>
              <a:gd name="connsiteX107" fmla="*/ 3175981 w 10678681"/>
              <a:gd name="connsiteY107" fmla="*/ 1208973 h 1342734"/>
              <a:gd name="connsiteX108" fmla="*/ 3036856 w 10678681"/>
              <a:gd name="connsiteY108" fmla="*/ 1214383 h 1342734"/>
              <a:gd name="connsiteX109" fmla="*/ 2824973 w 10678681"/>
              <a:gd name="connsiteY109" fmla="*/ 1134864 h 1342734"/>
              <a:gd name="connsiteX110" fmla="*/ 2804398 w 10678681"/>
              <a:gd name="connsiteY110" fmla="*/ 1125556 h 1342734"/>
              <a:gd name="connsiteX111" fmla="*/ 2736109 w 10678681"/>
              <a:gd name="connsiteY111" fmla="*/ 1137717 h 1342734"/>
              <a:gd name="connsiteX112" fmla="*/ 2659096 w 10678681"/>
              <a:gd name="connsiteY112" fmla="*/ 1150294 h 1342734"/>
              <a:gd name="connsiteX113" fmla="*/ 2567088 w 10678681"/>
              <a:gd name="connsiteY113" fmla="*/ 1181781 h 1342734"/>
              <a:gd name="connsiteX114" fmla="*/ 2454501 w 10678681"/>
              <a:gd name="connsiteY114" fmla="*/ 1155455 h 1342734"/>
              <a:gd name="connsiteX115" fmla="*/ 2385161 w 10678681"/>
              <a:gd name="connsiteY115" fmla="*/ 1161312 h 1342734"/>
              <a:gd name="connsiteX116" fmla="*/ 2273361 w 10678681"/>
              <a:gd name="connsiteY116" fmla="*/ 1134090 h 1342734"/>
              <a:gd name="connsiteX117" fmla="*/ 2132003 w 10678681"/>
              <a:gd name="connsiteY117" fmla="*/ 1139225 h 1342734"/>
              <a:gd name="connsiteX118" fmla="*/ 2041224 w 10678681"/>
              <a:gd name="connsiteY118" fmla="*/ 1147536 h 1342734"/>
              <a:gd name="connsiteX119" fmla="*/ 2010157 w 10678681"/>
              <a:gd name="connsiteY119" fmla="*/ 1152767 h 1342734"/>
              <a:gd name="connsiteX120" fmla="*/ 1859213 w 10678681"/>
              <a:gd name="connsiteY120" fmla="*/ 1199540 h 1342734"/>
              <a:gd name="connsiteX121" fmla="*/ 1735877 w 10678681"/>
              <a:gd name="connsiteY121" fmla="*/ 1246527 h 1342734"/>
              <a:gd name="connsiteX122" fmla="*/ 1705069 w 10678681"/>
              <a:gd name="connsiteY122" fmla="*/ 1251989 h 1342734"/>
              <a:gd name="connsiteX123" fmla="*/ 1307888 w 10678681"/>
              <a:gd name="connsiteY123" fmla="*/ 1283156 h 1342734"/>
              <a:gd name="connsiteX124" fmla="*/ 1220734 w 10678681"/>
              <a:gd name="connsiteY124" fmla="*/ 1257811 h 1342734"/>
              <a:gd name="connsiteX125" fmla="*/ 1021737 w 10678681"/>
              <a:gd name="connsiteY125" fmla="*/ 1238739 h 1342734"/>
              <a:gd name="connsiteX126" fmla="*/ 959820 w 10678681"/>
              <a:gd name="connsiteY126" fmla="*/ 1275863 h 1342734"/>
              <a:gd name="connsiteX127" fmla="*/ 929137 w 10678681"/>
              <a:gd name="connsiteY127" fmla="*/ 1273957 h 1342734"/>
              <a:gd name="connsiteX128" fmla="*/ 878849 w 10678681"/>
              <a:gd name="connsiteY128" fmla="*/ 1266740 h 1342734"/>
              <a:gd name="connsiteX129" fmla="*/ 800667 w 10678681"/>
              <a:gd name="connsiteY129" fmla="*/ 1282041 h 1342734"/>
              <a:gd name="connsiteX130" fmla="*/ 644906 w 10678681"/>
              <a:gd name="connsiteY130" fmla="*/ 1273685 h 1342734"/>
              <a:gd name="connsiteX131" fmla="*/ 379869 w 10678681"/>
              <a:gd name="connsiteY131" fmla="*/ 1339165 h 1342734"/>
              <a:gd name="connsiteX132" fmla="*/ 137696 w 10678681"/>
              <a:gd name="connsiteY132" fmla="*/ 1319217 h 1342734"/>
              <a:gd name="connsiteX133" fmla="*/ 54250 w 10678681"/>
              <a:gd name="connsiteY133" fmla="*/ 1315838 h 1342734"/>
              <a:gd name="connsiteX134" fmla="*/ 28042 w 10678681"/>
              <a:gd name="connsiteY134" fmla="*/ 1297822 h 1342734"/>
              <a:gd name="connsiteX135" fmla="*/ 0 w 10678681"/>
              <a:gd name="connsiteY135" fmla="*/ 1294612 h 1342734"/>
              <a:gd name="connsiteX136" fmla="*/ 0 w 10678681"/>
              <a:gd name="connsiteY136"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09062 h 1342734"/>
              <a:gd name="connsiteX14" fmla="*/ 9840045 w 10678681"/>
              <a:gd name="connsiteY14" fmla="*/ 223033 h 1342734"/>
              <a:gd name="connsiteX15" fmla="*/ 9679639 w 10678681"/>
              <a:gd name="connsiteY15" fmla="*/ 24718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276883 w 10678681"/>
              <a:gd name="connsiteY30" fmla="*/ 588214 h 1342734"/>
              <a:gd name="connsiteX31" fmla="*/ 8086698 w 10678681"/>
              <a:gd name="connsiteY31" fmla="*/ 605185 h 1342734"/>
              <a:gd name="connsiteX32" fmla="*/ 7982378 w 10678681"/>
              <a:gd name="connsiteY32" fmla="*/ 629799 h 1342734"/>
              <a:gd name="connsiteX33" fmla="*/ 7947952 w 10678681"/>
              <a:gd name="connsiteY33" fmla="*/ 648003 h 1342734"/>
              <a:gd name="connsiteX34" fmla="*/ 7890112 w 10678681"/>
              <a:gd name="connsiteY34" fmla="*/ 677915 h 1342734"/>
              <a:gd name="connsiteX35" fmla="*/ 7853284 w 10678681"/>
              <a:gd name="connsiteY35" fmla="*/ 723588 h 1342734"/>
              <a:gd name="connsiteX36" fmla="*/ 7802383 w 10678681"/>
              <a:gd name="connsiteY36" fmla="*/ 739359 h 1342734"/>
              <a:gd name="connsiteX37" fmla="*/ 7730518 w 10678681"/>
              <a:gd name="connsiteY37" fmla="*/ 739526 h 1342734"/>
              <a:gd name="connsiteX38" fmla="*/ 7720084 w 10678681"/>
              <a:gd name="connsiteY38" fmla="*/ 760750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192893 w 10678681"/>
              <a:gd name="connsiteY77" fmla="*/ 1247188 h 1342734"/>
              <a:gd name="connsiteX78" fmla="*/ 5164025 w 10678681"/>
              <a:gd name="connsiteY78" fmla="*/ 1257028 h 1342734"/>
              <a:gd name="connsiteX79" fmla="*/ 5103589 w 10678681"/>
              <a:gd name="connsiteY79" fmla="*/ 1263189 h 1342734"/>
              <a:gd name="connsiteX80" fmla="*/ 4894688 w 10678681"/>
              <a:gd name="connsiteY80" fmla="*/ 1247184 h 1342734"/>
              <a:gd name="connsiteX81" fmla="*/ 4788036 w 10678681"/>
              <a:gd name="connsiteY81" fmla="*/ 1238182 h 1342734"/>
              <a:gd name="connsiteX82" fmla="*/ 4747555 w 10678681"/>
              <a:gd name="connsiteY82" fmla="*/ 1252768 h 1342734"/>
              <a:gd name="connsiteX83" fmla="*/ 4679644 w 10678681"/>
              <a:gd name="connsiteY83" fmla="*/ 1276603 h 1342734"/>
              <a:gd name="connsiteX84" fmla="*/ 4617473 w 10678681"/>
              <a:gd name="connsiteY84" fmla="*/ 1296467 h 1342734"/>
              <a:gd name="connsiteX85" fmla="*/ 4564919 w 10678681"/>
              <a:gd name="connsiteY85" fmla="*/ 1325507 h 1342734"/>
              <a:gd name="connsiteX86" fmla="*/ 4566586 w 10678681"/>
              <a:gd name="connsiteY86" fmla="*/ 1316963 h 1342734"/>
              <a:gd name="connsiteX87" fmla="*/ 4556303 w 10678681"/>
              <a:gd name="connsiteY87" fmla="*/ 1300262 h 1342734"/>
              <a:gd name="connsiteX88" fmla="*/ 4502358 w 10678681"/>
              <a:gd name="connsiteY88" fmla="*/ 1302558 h 1342734"/>
              <a:gd name="connsiteX89" fmla="*/ 4498919 w 10678681"/>
              <a:gd name="connsiteY89" fmla="*/ 1312115 h 1342734"/>
              <a:gd name="connsiteX90" fmla="*/ 4492075 w 10678681"/>
              <a:gd name="connsiteY90" fmla="*/ 1313357 h 1342734"/>
              <a:gd name="connsiteX91" fmla="*/ 4487466 w 10678681"/>
              <a:gd name="connsiteY91" fmla="*/ 1304102 h 1342734"/>
              <a:gd name="connsiteX92" fmla="*/ 4398292 w 10678681"/>
              <a:gd name="connsiteY92" fmla="*/ 1278410 h 1342734"/>
              <a:gd name="connsiteX93" fmla="*/ 4306088 w 10678681"/>
              <a:gd name="connsiteY93" fmla="*/ 1282512 h 1342734"/>
              <a:gd name="connsiteX94" fmla="*/ 4188995 w 10678681"/>
              <a:gd name="connsiteY94" fmla="*/ 1296718 h 1342734"/>
              <a:gd name="connsiteX95" fmla="*/ 4136582 w 10678681"/>
              <a:gd name="connsiteY95" fmla="*/ 1287687 h 1342734"/>
              <a:gd name="connsiteX96" fmla="*/ 4064614 w 10678681"/>
              <a:gd name="connsiteY96" fmla="*/ 1296118 h 1342734"/>
              <a:gd name="connsiteX97" fmla="*/ 3900948 w 10678681"/>
              <a:gd name="connsiteY97" fmla="*/ 1322156 h 1342734"/>
              <a:gd name="connsiteX98" fmla="*/ 3787890 w 10678681"/>
              <a:gd name="connsiteY98" fmla="*/ 1322164 h 1342734"/>
              <a:gd name="connsiteX99" fmla="*/ 3745993 w 10678681"/>
              <a:gd name="connsiteY99" fmla="*/ 1342630 h 1342734"/>
              <a:gd name="connsiteX100" fmla="*/ 3675785 w 10678681"/>
              <a:gd name="connsiteY100" fmla="*/ 1326802 h 1342734"/>
              <a:gd name="connsiteX101" fmla="*/ 3623856 w 10678681"/>
              <a:gd name="connsiteY101" fmla="*/ 1290804 h 1342734"/>
              <a:gd name="connsiteX102" fmla="*/ 3564933 w 10678681"/>
              <a:gd name="connsiteY102" fmla="*/ 1287147 h 1342734"/>
              <a:gd name="connsiteX103" fmla="*/ 3550537 w 10678681"/>
              <a:gd name="connsiteY103" fmla="*/ 1317552 h 1342734"/>
              <a:gd name="connsiteX104" fmla="*/ 3487736 w 10678681"/>
              <a:gd name="connsiteY104" fmla="*/ 1303493 h 1342734"/>
              <a:gd name="connsiteX105" fmla="*/ 3392548 w 10678681"/>
              <a:gd name="connsiteY105" fmla="*/ 1278741 h 1342734"/>
              <a:gd name="connsiteX106" fmla="*/ 3337466 w 10678681"/>
              <a:gd name="connsiteY106" fmla="*/ 1272537 h 1342734"/>
              <a:gd name="connsiteX107" fmla="*/ 3175981 w 10678681"/>
              <a:gd name="connsiteY107" fmla="*/ 1208973 h 1342734"/>
              <a:gd name="connsiteX108" fmla="*/ 3036856 w 10678681"/>
              <a:gd name="connsiteY108" fmla="*/ 1214383 h 1342734"/>
              <a:gd name="connsiteX109" fmla="*/ 2824973 w 10678681"/>
              <a:gd name="connsiteY109" fmla="*/ 1134864 h 1342734"/>
              <a:gd name="connsiteX110" fmla="*/ 2804398 w 10678681"/>
              <a:gd name="connsiteY110" fmla="*/ 1125556 h 1342734"/>
              <a:gd name="connsiteX111" fmla="*/ 2736109 w 10678681"/>
              <a:gd name="connsiteY111" fmla="*/ 1137717 h 1342734"/>
              <a:gd name="connsiteX112" fmla="*/ 2659096 w 10678681"/>
              <a:gd name="connsiteY112" fmla="*/ 1150294 h 1342734"/>
              <a:gd name="connsiteX113" fmla="*/ 2567088 w 10678681"/>
              <a:gd name="connsiteY113" fmla="*/ 1181781 h 1342734"/>
              <a:gd name="connsiteX114" fmla="*/ 2454501 w 10678681"/>
              <a:gd name="connsiteY114" fmla="*/ 1155455 h 1342734"/>
              <a:gd name="connsiteX115" fmla="*/ 2385161 w 10678681"/>
              <a:gd name="connsiteY115" fmla="*/ 1161312 h 1342734"/>
              <a:gd name="connsiteX116" fmla="*/ 2273361 w 10678681"/>
              <a:gd name="connsiteY116" fmla="*/ 1134090 h 1342734"/>
              <a:gd name="connsiteX117" fmla="*/ 2132003 w 10678681"/>
              <a:gd name="connsiteY117" fmla="*/ 1139225 h 1342734"/>
              <a:gd name="connsiteX118" fmla="*/ 2041224 w 10678681"/>
              <a:gd name="connsiteY118" fmla="*/ 1147536 h 1342734"/>
              <a:gd name="connsiteX119" fmla="*/ 2010157 w 10678681"/>
              <a:gd name="connsiteY119" fmla="*/ 1152767 h 1342734"/>
              <a:gd name="connsiteX120" fmla="*/ 1859213 w 10678681"/>
              <a:gd name="connsiteY120" fmla="*/ 1199540 h 1342734"/>
              <a:gd name="connsiteX121" fmla="*/ 1735877 w 10678681"/>
              <a:gd name="connsiteY121" fmla="*/ 1246527 h 1342734"/>
              <a:gd name="connsiteX122" fmla="*/ 1705069 w 10678681"/>
              <a:gd name="connsiteY122" fmla="*/ 1251989 h 1342734"/>
              <a:gd name="connsiteX123" fmla="*/ 1307888 w 10678681"/>
              <a:gd name="connsiteY123" fmla="*/ 1283156 h 1342734"/>
              <a:gd name="connsiteX124" fmla="*/ 1220734 w 10678681"/>
              <a:gd name="connsiteY124" fmla="*/ 1257811 h 1342734"/>
              <a:gd name="connsiteX125" fmla="*/ 1021737 w 10678681"/>
              <a:gd name="connsiteY125" fmla="*/ 1238739 h 1342734"/>
              <a:gd name="connsiteX126" fmla="*/ 959820 w 10678681"/>
              <a:gd name="connsiteY126" fmla="*/ 1275863 h 1342734"/>
              <a:gd name="connsiteX127" fmla="*/ 929137 w 10678681"/>
              <a:gd name="connsiteY127" fmla="*/ 1273957 h 1342734"/>
              <a:gd name="connsiteX128" fmla="*/ 878849 w 10678681"/>
              <a:gd name="connsiteY128" fmla="*/ 1266740 h 1342734"/>
              <a:gd name="connsiteX129" fmla="*/ 800667 w 10678681"/>
              <a:gd name="connsiteY129" fmla="*/ 1282041 h 1342734"/>
              <a:gd name="connsiteX130" fmla="*/ 644906 w 10678681"/>
              <a:gd name="connsiteY130" fmla="*/ 1273685 h 1342734"/>
              <a:gd name="connsiteX131" fmla="*/ 379869 w 10678681"/>
              <a:gd name="connsiteY131" fmla="*/ 1339165 h 1342734"/>
              <a:gd name="connsiteX132" fmla="*/ 137696 w 10678681"/>
              <a:gd name="connsiteY132" fmla="*/ 1319217 h 1342734"/>
              <a:gd name="connsiteX133" fmla="*/ 54250 w 10678681"/>
              <a:gd name="connsiteY133" fmla="*/ 1315838 h 1342734"/>
              <a:gd name="connsiteX134" fmla="*/ 28042 w 10678681"/>
              <a:gd name="connsiteY134" fmla="*/ 1297822 h 1342734"/>
              <a:gd name="connsiteX135" fmla="*/ 0 w 10678681"/>
              <a:gd name="connsiteY135" fmla="*/ 1294612 h 1342734"/>
              <a:gd name="connsiteX136" fmla="*/ 0 w 10678681"/>
              <a:gd name="connsiteY136"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09062 h 1342734"/>
              <a:gd name="connsiteX14" fmla="*/ 9840045 w 10678681"/>
              <a:gd name="connsiteY14" fmla="*/ 223033 h 1342734"/>
              <a:gd name="connsiteX15" fmla="*/ 9679639 w 10678681"/>
              <a:gd name="connsiteY15" fmla="*/ 24718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276883 w 10678681"/>
              <a:gd name="connsiteY30" fmla="*/ 588214 h 1342734"/>
              <a:gd name="connsiteX31" fmla="*/ 8086698 w 10678681"/>
              <a:gd name="connsiteY31" fmla="*/ 605185 h 1342734"/>
              <a:gd name="connsiteX32" fmla="*/ 7982378 w 10678681"/>
              <a:gd name="connsiteY32" fmla="*/ 629799 h 1342734"/>
              <a:gd name="connsiteX33" fmla="*/ 7947952 w 10678681"/>
              <a:gd name="connsiteY33" fmla="*/ 648003 h 1342734"/>
              <a:gd name="connsiteX34" fmla="*/ 7890112 w 10678681"/>
              <a:gd name="connsiteY34" fmla="*/ 677915 h 1342734"/>
              <a:gd name="connsiteX35" fmla="*/ 7853284 w 10678681"/>
              <a:gd name="connsiteY35" fmla="*/ 723588 h 1342734"/>
              <a:gd name="connsiteX36" fmla="*/ 7802383 w 10678681"/>
              <a:gd name="connsiteY36" fmla="*/ 739359 h 1342734"/>
              <a:gd name="connsiteX37" fmla="*/ 7730518 w 10678681"/>
              <a:gd name="connsiteY37" fmla="*/ 739526 h 1342734"/>
              <a:gd name="connsiteX38" fmla="*/ 7720084 w 10678681"/>
              <a:gd name="connsiteY38" fmla="*/ 760750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192893 w 10678681"/>
              <a:gd name="connsiteY77" fmla="*/ 1247188 h 1342734"/>
              <a:gd name="connsiteX78" fmla="*/ 5164025 w 10678681"/>
              <a:gd name="connsiteY78" fmla="*/ 1257028 h 1342734"/>
              <a:gd name="connsiteX79" fmla="*/ 5103589 w 10678681"/>
              <a:gd name="connsiteY79" fmla="*/ 1263189 h 1342734"/>
              <a:gd name="connsiteX80" fmla="*/ 4894688 w 10678681"/>
              <a:gd name="connsiteY80" fmla="*/ 1247184 h 1342734"/>
              <a:gd name="connsiteX81" fmla="*/ 4788036 w 10678681"/>
              <a:gd name="connsiteY81" fmla="*/ 1238182 h 1342734"/>
              <a:gd name="connsiteX82" fmla="*/ 4747555 w 10678681"/>
              <a:gd name="connsiteY82" fmla="*/ 1252768 h 1342734"/>
              <a:gd name="connsiteX83" fmla="*/ 4679644 w 10678681"/>
              <a:gd name="connsiteY83" fmla="*/ 1276603 h 1342734"/>
              <a:gd name="connsiteX84" fmla="*/ 4617473 w 10678681"/>
              <a:gd name="connsiteY84" fmla="*/ 1296467 h 1342734"/>
              <a:gd name="connsiteX85" fmla="*/ 4564919 w 10678681"/>
              <a:gd name="connsiteY85" fmla="*/ 1325507 h 1342734"/>
              <a:gd name="connsiteX86" fmla="*/ 4566586 w 10678681"/>
              <a:gd name="connsiteY86" fmla="*/ 1316963 h 1342734"/>
              <a:gd name="connsiteX87" fmla="*/ 4556303 w 10678681"/>
              <a:gd name="connsiteY87" fmla="*/ 1300262 h 1342734"/>
              <a:gd name="connsiteX88" fmla="*/ 4502358 w 10678681"/>
              <a:gd name="connsiteY88" fmla="*/ 1302558 h 1342734"/>
              <a:gd name="connsiteX89" fmla="*/ 4498919 w 10678681"/>
              <a:gd name="connsiteY89" fmla="*/ 1312115 h 1342734"/>
              <a:gd name="connsiteX90" fmla="*/ 4492075 w 10678681"/>
              <a:gd name="connsiteY90" fmla="*/ 1313357 h 1342734"/>
              <a:gd name="connsiteX91" fmla="*/ 4487466 w 10678681"/>
              <a:gd name="connsiteY91" fmla="*/ 1304102 h 1342734"/>
              <a:gd name="connsiteX92" fmla="*/ 4398292 w 10678681"/>
              <a:gd name="connsiteY92" fmla="*/ 1278410 h 1342734"/>
              <a:gd name="connsiteX93" fmla="*/ 4306088 w 10678681"/>
              <a:gd name="connsiteY93" fmla="*/ 1282512 h 1342734"/>
              <a:gd name="connsiteX94" fmla="*/ 4188995 w 10678681"/>
              <a:gd name="connsiteY94" fmla="*/ 1296718 h 1342734"/>
              <a:gd name="connsiteX95" fmla="*/ 4136582 w 10678681"/>
              <a:gd name="connsiteY95" fmla="*/ 1287687 h 1342734"/>
              <a:gd name="connsiteX96" fmla="*/ 4064614 w 10678681"/>
              <a:gd name="connsiteY96" fmla="*/ 1296118 h 1342734"/>
              <a:gd name="connsiteX97" fmla="*/ 3900948 w 10678681"/>
              <a:gd name="connsiteY97" fmla="*/ 1322156 h 1342734"/>
              <a:gd name="connsiteX98" fmla="*/ 3787890 w 10678681"/>
              <a:gd name="connsiteY98" fmla="*/ 1322164 h 1342734"/>
              <a:gd name="connsiteX99" fmla="*/ 3745993 w 10678681"/>
              <a:gd name="connsiteY99" fmla="*/ 1342630 h 1342734"/>
              <a:gd name="connsiteX100" fmla="*/ 3675785 w 10678681"/>
              <a:gd name="connsiteY100" fmla="*/ 1326802 h 1342734"/>
              <a:gd name="connsiteX101" fmla="*/ 3623856 w 10678681"/>
              <a:gd name="connsiteY101" fmla="*/ 1290804 h 1342734"/>
              <a:gd name="connsiteX102" fmla="*/ 3564933 w 10678681"/>
              <a:gd name="connsiteY102" fmla="*/ 1287147 h 1342734"/>
              <a:gd name="connsiteX103" fmla="*/ 3550537 w 10678681"/>
              <a:gd name="connsiteY103" fmla="*/ 1317552 h 1342734"/>
              <a:gd name="connsiteX104" fmla="*/ 3487736 w 10678681"/>
              <a:gd name="connsiteY104" fmla="*/ 1303493 h 1342734"/>
              <a:gd name="connsiteX105" fmla="*/ 3392548 w 10678681"/>
              <a:gd name="connsiteY105" fmla="*/ 1278741 h 1342734"/>
              <a:gd name="connsiteX106" fmla="*/ 3337466 w 10678681"/>
              <a:gd name="connsiteY106" fmla="*/ 1272537 h 1342734"/>
              <a:gd name="connsiteX107" fmla="*/ 3175981 w 10678681"/>
              <a:gd name="connsiteY107" fmla="*/ 1208973 h 1342734"/>
              <a:gd name="connsiteX108" fmla="*/ 3036856 w 10678681"/>
              <a:gd name="connsiteY108" fmla="*/ 1214383 h 1342734"/>
              <a:gd name="connsiteX109" fmla="*/ 2824973 w 10678681"/>
              <a:gd name="connsiteY109" fmla="*/ 1134864 h 1342734"/>
              <a:gd name="connsiteX110" fmla="*/ 2804398 w 10678681"/>
              <a:gd name="connsiteY110" fmla="*/ 1125556 h 1342734"/>
              <a:gd name="connsiteX111" fmla="*/ 2736109 w 10678681"/>
              <a:gd name="connsiteY111" fmla="*/ 1137717 h 1342734"/>
              <a:gd name="connsiteX112" fmla="*/ 2659096 w 10678681"/>
              <a:gd name="connsiteY112" fmla="*/ 1150294 h 1342734"/>
              <a:gd name="connsiteX113" fmla="*/ 2567088 w 10678681"/>
              <a:gd name="connsiteY113" fmla="*/ 1181781 h 1342734"/>
              <a:gd name="connsiteX114" fmla="*/ 2454501 w 10678681"/>
              <a:gd name="connsiteY114" fmla="*/ 1155455 h 1342734"/>
              <a:gd name="connsiteX115" fmla="*/ 2385161 w 10678681"/>
              <a:gd name="connsiteY115" fmla="*/ 1161312 h 1342734"/>
              <a:gd name="connsiteX116" fmla="*/ 2273361 w 10678681"/>
              <a:gd name="connsiteY116" fmla="*/ 1134090 h 1342734"/>
              <a:gd name="connsiteX117" fmla="*/ 2132003 w 10678681"/>
              <a:gd name="connsiteY117" fmla="*/ 1139225 h 1342734"/>
              <a:gd name="connsiteX118" fmla="*/ 2041224 w 10678681"/>
              <a:gd name="connsiteY118" fmla="*/ 1147536 h 1342734"/>
              <a:gd name="connsiteX119" fmla="*/ 2010157 w 10678681"/>
              <a:gd name="connsiteY119" fmla="*/ 1152767 h 1342734"/>
              <a:gd name="connsiteX120" fmla="*/ 1859213 w 10678681"/>
              <a:gd name="connsiteY120" fmla="*/ 1199540 h 1342734"/>
              <a:gd name="connsiteX121" fmla="*/ 1735877 w 10678681"/>
              <a:gd name="connsiteY121" fmla="*/ 1246527 h 1342734"/>
              <a:gd name="connsiteX122" fmla="*/ 1705069 w 10678681"/>
              <a:gd name="connsiteY122" fmla="*/ 1251989 h 1342734"/>
              <a:gd name="connsiteX123" fmla="*/ 1307888 w 10678681"/>
              <a:gd name="connsiteY123" fmla="*/ 1283156 h 1342734"/>
              <a:gd name="connsiteX124" fmla="*/ 1021737 w 10678681"/>
              <a:gd name="connsiteY124" fmla="*/ 1238739 h 1342734"/>
              <a:gd name="connsiteX125" fmla="*/ 959820 w 10678681"/>
              <a:gd name="connsiteY125" fmla="*/ 1275863 h 1342734"/>
              <a:gd name="connsiteX126" fmla="*/ 929137 w 10678681"/>
              <a:gd name="connsiteY126" fmla="*/ 1273957 h 1342734"/>
              <a:gd name="connsiteX127" fmla="*/ 878849 w 10678681"/>
              <a:gd name="connsiteY127" fmla="*/ 1266740 h 1342734"/>
              <a:gd name="connsiteX128" fmla="*/ 800667 w 10678681"/>
              <a:gd name="connsiteY128" fmla="*/ 1282041 h 1342734"/>
              <a:gd name="connsiteX129" fmla="*/ 644906 w 10678681"/>
              <a:gd name="connsiteY129" fmla="*/ 1273685 h 1342734"/>
              <a:gd name="connsiteX130" fmla="*/ 379869 w 10678681"/>
              <a:gd name="connsiteY130" fmla="*/ 1339165 h 1342734"/>
              <a:gd name="connsiteX131" fmla="*/ 137696 w 10678681"/>
              <a:gd name="connsiteY131" fmla="*/ 1319217 h 1342734"/>
              <a:gd name="connsiteX132" fmla="*/ 54250 w 10678681"/>
              <a:gd name="connsiteY132" fmla="*/ 1315838 h 1342734"/>
              <a:gd name="connsiteX133" fmla="*/ 28042 w 10678681"/>
              <a:gd name="connsiteY133" fmla="*/ 1297822 h 1342734"/>
              <a:gd name="connsiteX134" fmla="*/ 0 w 10678681"/>
              <a:gd name="connsiteY134" fmla="*/ 1294612 h 1342734"/>
              <a:gd name="connsiteX135" fmla="*/ 0 w 10678681"/>
              <a:gd name="connsiteY135"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09062 h 1342734"/>
              <a:gd name="connsiteX14" fmla="*/ 9840045 w 10678681"/>
              <a:gd name="connsiteY14" fmla="*/ 223033 h 1342734"/>
              <a:gd name="connsiteX15" fmla="*/ 9679639 w 10678681"/>
              <a:gd name="connsiteY15" fmla="*/ 24718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276883 w 10678681"/>
              <a:gd name="connsiteY30" fmla="*/ 588214 h 1342734"/>
              <a:gd name="connsiteX31" fmla="*/ 8086698 w 10678681"/>
              <a:gd name="connsiteY31" fmla="*/ 605185 h 1342734"/>
              <a:gd name="connsiteX32" fmla="*/ 7982378 w 10678681"/>
              <a:gd name="connsiteY32" fmla="*/ 629799 h 1342734"/>
              <a:gd name="connsiteX33" fmla="*/ 7947952 w 10678681"/>
              <a:gd name="connsiteY33" fmla="*/ 648003 h 1342734"/>
              <a:gd name="connsiteX34" fmla="*/ 7890112 w 10678681"/>
              <a:gd name="connsiteY34" fmla="*/ 677915 h 1342734"/>
              <a:gd name="connsiteX35" fmla="*/ 7853284 w 10678681"/>
              <a:gd name="connsiteY35" fmla="*/ 723588 h 1342734"/>
              <a:gd name="connsiteX36" fmla="*/ 7802383 w 10678681"/>
              <a:gd name="connsiteY36" fmla="*/ 739359 h 1342734"/>
              <a:gd name="connsiteX37" fmla="*/ 7730518 w 10678681"/>
              <a:gd name="connsiteY37" fmla="*/ 739526 h 1342734"/>
              <a:gd name="connsiteX38" fmla="*/ 7720084 w 10678681"/>
              <a:gd name="connsiteY38" fmla="*/ 760750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192893 w 10678681"/>
              <a:gd name="connsiteY77" fmla="*/ 1247188 h 1342734"/>
              <a:gd name="connsiteX78" fmla="*/ 5164025 w 10678681"/>
              <a:gd name="connsiteY78" fmla="*/ 1257028 h 1342734"/>
              <a:gd name="connsiteX79" fmla="*/ 5103589 w 10678681"/>
              <a:gd name="connsiteY79" fmla="*/ 1263189 h 1342734"/>
              <a:gd name="connsiteX80" fmla="*/ 4894688 w 10678681"/>
              <a:gd name="connsiteY80" fmla="*/ 1247184 h 1342734"/>
              <a:gd name="connsiteX81" fmla="*/ 4788036 w 10678681"/>
              <a:gd name="connsiteY81" fmla="*/ 1238182 h 1342734"/>
              <a:gd name="connsiteX82" fmla="*/ 4747555 w 10678681"/>
              <a:gd name="connsiteY82" fmla="*/ 1252768 h 1342734"/>
              <a:gd name="connsiteX83" fmla="*/ 4679644 w 10678681"/>
              <a:gd name="connsiteY83" fmla="*/ 1276603 h 1342734"/>
              <a:gd name="connsiteX84" fmla="*/ 4617473 w 10678681"/>
              <a:gd name="connsiteY84" fmla="*/ 1296467 h 1342734"/>
              <a:gd name="connsiteX85" fmla="*/ 4564919 w 10678681"/>
              <a:gd name="connsiteY85" fmla="*/ 1325507 h 1342734"/>
              <a:gd name="connsiteX86" fmla="*/ 4566586 w 10678681"/>
              <a:gd name="connsiteY86" fmla="*/ 1316963 h 1342734"/>
              <a:gd name="connsiteX87" fmla="*/ 4556303 w 10678681"/>
              <a:gd name="connsiteY87" fmla="*/ 1300262 h 1342734"/>
              <a:gd name="connsiteX88" fmla="*/ 4502358 w 10678681"/>
              <a:gd name="connsiteY88" fmla="*/ 1302558 h 1342734"/>
              <a:gd name="connsiteX89" fmla="*/ 4498919 w 10678681"/>
              <a:gd name="connsiteY89" fmla="*/ 1312115 h 1342734"/>
              <a:gd name="connsiteX90" fmla="*/ 4492075 w 10678681"/>
              <a:gd name="connsiteY90" fmla="*/ 1313357 h 1342734"/>
              <a:gd name="connsiteX91" fmla="*/ 4487466 w 10678681"/>
              <a:gd name="connsiteY91" fmla="*/ 1304102 h 1342734"/>
              <a:gd name="connsiteX92" fmla="*/ 4398292 w 10678681"/>
              <a:gd name="connsiteY92" fmla="*/ 1278410 h 1342734"/>
              <a:gd name="connsiteX93" fmla="*/ 4306088 w 10678681"/>
              <a:gd name="connsiteY93" fmla="*/ 1282512 h 1342734"/>
              <a:gd name="connsiteX94" fmla="*/ 4188995 w 10678681"/>
              <a:gd name="connsiteY94" fmla="*/ 1296718 h 1342734"/>
              <a:gd name="connsiteX95" fmla="*/ 4136582 w 10678681"/>
              <a:gd name="connsiteY95" fmla="*/ 1287687 h 1342734"/>
              <a:gd name="connsiteX96" fmla="*/ 4064614 w 10678681"/>
              <a:gd name="connsiteY96" fmla="*/ 1296118 h 1342734"/>
              <a:gd name="connsiteX97" fmla="*/ 3900948 w 10678681"/>
              <a:gd name="connsiteY97" fmla="*/ 1322156 h 1342734"/>
              <a:gd name="connsiteX98" fmla="*/ 3787890 w 10678681"/>
              <a:gd name="connsiteY98" fmla="*/ 1322164 h 1342734"/>
              <a:gd name="connsiteX99" fmla="*/ 3745993 w 10678681"/>
              <a:gd name="connsiteY99" fmla="*/ 1342630 h 1342734"/>
              <a:gd name="connsiteX100" fmla="*/ 3675785 w 10678681"/>
              <a:gd name="connsiteY100" fmla="*/ 1326802 h 1342734"/>
              <a:gd name="connsiteX101" fmla="*/ 3623856 w 10678681"/>
              <a:gd name="connsiteY101" fmla="*/ 1290804 h 1342734"/>
              <a:gd name="connsiteX102" fmla="*/ 3564933 w 10678681"/>
              <a:gd name="connsiteY102" fmla="*/ 1287147 h 1342734"/>
              <a:gd name="connsiteX103" fmla="*/ 3550537 w 10678681"/>
              <a:gd name="connsiteY103" fmla="*/ 1317552 h 1342734"/>
              <a:gd name="connsiteX104" fmla="*/ 3487736 w 10678681"/>
              <a:gd name="connsiteY104" fmla="*/ 1303493 h 1342734"/>
              <a:gd name="connsiteX105" fmla="*/ 3392548 w 10678681"/>
              <a:gd name="connsiteY105" fmla="*/ 1278741 h 1342734"/>
              <a:gd name="connsiteX106" fmla="*/ 3337466 w 10678681"/>
              <a:gd name="connsiteY106" fmla="*/ 1272537 h 1342734"/>
              <a:gd name="connsiteX107" fmla="*/ 3175981 w 10678681"/>
              <a:gd name="connsiteY107" fmla="*/ 1208973 h 1342734"/>
              <a:gd name="connsiteX108" fmla="*/ 3036856 w 10678681"/>
              <a:gd name="connsiteY108" fmla="*/ 1214383 h 1342734"/>
              <a:gd name="connsiteX109" fmla="*/ 2824973 w 10678681"/>
              <a:gd name="connsiteY109" fmla="*/ 1134864 h 1342734"/>
              <a:gd name="connsiteX110" fmla="*/ 2804398 w 10678681"/>
              <a:gd name="connsiteY110" fmla="*/ 1125556 h 1342734"/>
              <a:gd name="connsiteX111" fmla="*/ 2736109 w 10678681"/>
              <a:gd name="connsiteY111" fmla="*/ 1137717 h 1342734"/>
              <a:gd name="connsiteX112" fmla="*/ 2659096 w 10678681"/>
              <a:gd name="connsiteY112" fmla="*/ 1150294 h 1342734"/>
              <a:gd name="connsiteX113" fmla="*/ 2567088 w 10678681"/>
              <a:gd name="connsiteY113" fmla="*/ 1181781 h 1342734"/>
              <a:gd name="connsiteX114" fmla="*/ 2454501 w 10678681"/>
              <a:gd name="connsiteY114" fmla="*/ 1155455 h 1342734"/>
              <a:gd name="connsiteX115" fmla="*/ 2385161 w 10678681"/>
              <a:gd name="connsiteY115" fmla="*/ 1161312 h 1342734"/>
              <a:gd name="connsiteX116" fmla="*/ 2273361 w 10678681"/>
              <a:gd name="connsiteY116" fmla="*/ 1134090 h 1342734"/>
              <a:gd name="connsiteX117" fmla="*/ 2132003 w 10678681"/>
              <a:gd name="connsiteY117" fmla="*/ 1139225 h 1342734"/>
              <a:gd name="connsiteX118" fmla="*/ 2041224 w 10678681"/>
              <a:gd name="connsiteY118" fmla="*/ 1147536 h 1342734"/>
              <a:gd name="connsiteX119" fmla="*/ 2010157 w 10678681"/>
              <a:gd name="connsiteY119" fmla="*/ 1152767 h 1342734"/>
              <a:gd name="connsiteX120" fmla="*/ 1859213 w 10678681"/>
              <a:gd name="connsiteY120" fmla="*/ 1199540 h 1342734"/>
              <a:gd name="connsiteX121" fmla="*/ 1735877 w 10678681"/>
              <a:gd name="connsiteY121" fmla="*/ 1246527 h 1342734"/>
              <a:gd name="connsiteX122" fmla="*/ 1705069 w 10678681"/>
              <a:gd name="connsiteY122" fmla="*/ 1251989 h 1342734"/>
              <a:gd name="connsiteX123" fmla="*/ 1279827 w 10678681"/>
              <a:gd name="connsiteY123" fmla="*/ 1245307 h 1342734"/>
              <a:gd name="connsiteX124" fmla="*/ 1021737 w 10678681"/>
              <a:gd name="connsiteY124" fmla="*/ 1238739 h 1342734"/>
              <a:gd name="connsiteX125" fmla="*/ 959820 w 10678681"/>
              <a:gd name="connsiteY125" fmla="*/ 1275863 h 1342734"/>
              <a:gd name="connsiteX126" fmla="*/ 929137 w 10678681"/>
              <a:gd name="connsiteY126" fmla="*/ 1273957 h 1342734"/>
              <a:gd name="connsiteX127" fmla="*/ 878849 w 10678681"/>
              <a:gd name="connsiteY127" fmla="*/ 1266740 h 1342734"/>
              <a:gd name="connsiteX128" fmla="*/ 800667 w 10678681"/>
              <a:gd name="connsiteY128" fmla="*/ 1282041 h 1342734"/>
              <a:gd name="connsiteX129" fmla="*/ 644906 w 10678681"/>
              <a:gd name="connsiteY129" fmla="*/ 1273685 h 1342734"/>
              <a:gd name="connsiteX130" fmla="*/ 379869 w 10678681"/>
              <a:gd name="connsiteY130" fmla="*/ 1339165 h 1342734"/>
              <a:gd name="connsiteX131" fmla="*/ 137696 w 10678681"/>
              <a:gd name="connsiteY131" fmla="*/ 1319217 h 1342734"/>
              <a:gd name="connsiteX132" fmla="*/ 54250 w 10678681"/>
              <a:gd name="connsiteY132" fmla="*/ 1315838 h 1342734"/>
              <a:gd name="connsiteX133" fmla="*/ 28042 w 10678681"/>
              <a:gd name="connsiteY133" fmla="*/ 1297822 h 1342734"/>
              <a:gd name="connsiteX134" fmla="*/ 0 w 10678681"/>
              <a:gd name="connsiteY134" fmla="*/ 1294612 h 1342734"/>
              <a:gd name="connsiteX135" fmla="*/ 0 w 10678681"/>
              <a:gd name="connsiteY135" fmla="*/ 0 h 1342734"/>
              <a:gd name="connsiteX0" fmla="*/ 0 w 10678681"/>
              <a:gd name="connsiteY0" fmla="*/ 0 h 1342734"/>
              <a:gd name="connsiteX1" fmla="*/ 10678681 w 10678681"/>
              <a:gd name="connsiteY1" fmla="*/ 0 h 1342734"/>
              <a:gd name="connsiteX2" fmla="*/ 10666019 w 10678681"/>
              <a:gd name="connsiteY2" fmla="*/ 7876 h 1342734"/>
              <a:gd name="connsiteX3" fmla="*/ 10632825 w 10678681"/>
              <a:gd name="connsiteY3" fmla="*/ 32153 h 1342734"/>
              <a:gd name="connsiteX4" fmla="*/ 10516219 w 10678681"/>
              <a:gd name="connsiteY4" fmla="*/ 45588 h 1342734"/>
              <a:gd name="connsiteX5" fmla="*/ 10456989 w 10678681"/>
              <a:gd name="connsiteY5" fmla="*/ 979 h 1342734"/>
              <a:gd name="connsiteX6" fmla="*/ 10438642 w 10678681"/>
              <a:gd name="connsiteY6" fmla="*/ 1524 h 1342734"/>
              <a:gd name="connsiteX7" fmla="*/ 10407146 w 10678681"/>
              <a:gd name="connsiteY7" fmla="*/ 43659 h 1342734"/>
              <a:gd name="connsiteX8" fmla="*/ 10341159 w 10678681"/>
              <a:gd name="connsiteY8" fmla="*/ 103824 h 1342734"/>
              <a:gd name="connsiteX9" fmla="*/ 10244930 w 10678681"/>
              <a:gd name="connsiteY9" fmla="*/ 94599 h 1342734"/>
              <a:gd name="connsiteX10" fmla="*/ 10115334 w 10678681"/>
              <a:gd name="connsiteY10" fmla="*/ 155658 h 1342734"/>
              <a:gd name="connsiteX11" fmla="*/ 10068157 w 10678681"/>
              <a:gd name="connsiteY11" fmla="*/ 215673 h 1342734"/>
              <a:gd name="connsiteX12" fmla="*/ 10045431 w 10678681"/>
              <a:gd name="connsiteY12" fmla="*/ 229568 h 1342734"/>
              <a:gd name="connsiteX13" fmla="*/ 9929077 w 10678681"/>
              <a:gd name="connsiteY13" fmla="*/ 209062 h 1342734"/>
              <a:gd name="connsiteX14" fmla="*/ 9840045 w 10678681"/>
              <a:gd name="connsiteY14" fmla="*/ 223033 h 1342734"/>
              <a:gd name="connsiteX15" fmla="*/ 9679639 w 10678681"/>
              <a:gd name="connsiteY15" fmla="*/ 247182 h 1342734"/>
              <a:gd name="connsiteX16" fmla="*/ 9498347 w 10678681"/>
              <a:gd name="connsiteY16" fmla="*/ 244723 h 1342734"/>
              <a:gd name="connsiteX17" fmla="*/ 9366026 w 10678681"/>
              <a:gd name="connsiteY17" fmla="*/ 299024 h 1342734"/>
              <a:gd name="connsiteX18" fmla="*/ 9316702 w 10678681"/>
              <a:gd name="connsiteY18" fmla="*/ 356523 h 1342734"/>
              <a:gd name="connsiteX19" fmla="*/ 9121744 w 10678681"/>
              <a:gd name="connsiteY19" fmla="*/ 365177 h 1342734"/>
              <a:gd name="connsiteX20" fmla="*/ 9061654 w 10678681"/>
              <a:gd name="connsiteY20" fmla="*/ 393730 h 1342734"/>
              <a:gd name="connsiteX21" fmla="*/ 8997577 w 10678681"/>
              <a:gd name="connsiteY21" fmla="*/ 380865 h 1342734"/>
              <a:gd name="connsiteX22" fmla="*/ 8907968 w 10678681"/>
              <a:gd name="connsiteY22" fmla="*/ 447345 h 1342734"/>
              <a:gd name="connsiteX23" fmla="*/ 8764163 w 10678681"/>
              <a:gd name="connsiteY23" fmla="*/ 471000 h 1342734"/>
              <a:gd name="connsiteX24" fmla="*/ 8680155 w 10678681"/>
              <a:gd name="connsiteY24" fmla="*/ 492404 h 1342734"/>
              <a:gd name="connsiteX25" fmla="*/ 8651436 w 10678681"/>
              <a:gd name="connsiteY25" fmla="*/ 511923 h 1342734"/>
              <a:gd name="connsiteX26" fmla="*/ 8609185 w 10678681"/>
              <a:gd name="connsiteY26" fmla="*/ 531525 h 1342734"/>
              <a:gd name="connsiteX27" fmla="*/ 8537091 w 10678681"/>
              <a:gd name="connsiteY27" fmla="*/ 574933 h 1342734"/>
              <a:gd name="connsiteX28" fmla="*/ 8435931 w 10678681"/>
              <a:gd name="connsiteY28" fmla="*/ 617926 h 1342734"/>
              <a:gd name="connsiteX29" fmla="*/ 8348623 w 10678681"/>
              <a:gd name="connsiteY29" fmla="*/ 600607 h 1342734"/>
              <a:gd name="connsiteX30" fmla="*/ 8276883 w 10678681"/>
              <a:gd name="connsiteY30" fmla="*/ 588214 h 1342734"/>
              <a:gd name="connsiteX31" fmla="*/ 8086698 w 10678681"/>
              <a:gd name="connsiteY31" fmla="*/ 605185 h 1342734"/>
              <a:gd name="connsiteX32" fmla="*/ 7982378 w 10678681"/>
              <a:gd name="connsiteY32" fmla="*/ 629799 h 1342734"/>
              <a:gd name="connsiteX33" fmla="*/ 7947952 w 10678681"/>
              <a:gd name="connsiteY33" fmla="*/ 648003 h 1342734"/>
              <a:gd name="connsiteX34" fmla="*/ 7890112 w 10678681"/>
              <a:gd name="connsiteY34" fmla="*/ 677915 h 1342734"/>
              <a:gd name="connsiteX35" fmla="*/ 7853284 w 10678681"/>
              <a:gd name="connsiteY35" fmla="*/ 723588 h 1342734"/>
              <a:gd name="connsiteX36" fmla="*/ 7802383 w 10678681"/>
              <a:gd name="connsiteY36" fmla="*/ 739359 h 1342734"/>
              <a:gd name="connsiteX37" fmla="*/ 7730518 w 10678681"/>
              <a:gd name="connsiteY37" fmla="*/ 739526 h 1342734"/>
              <a:gd name="connsiteX38" fmla="*/ 7720084 w 10678681"/>
              <a:gd name="connsiteY38" fmla="*/ 760750 h 1342734"/>
              <a:gd name="connsiteX39" fmla="*/ 7652907 w 10678681"/>
              <a:gd name="connsiteY39" fmla="*/ 783273 h 1342734"/>
              <a:gd name="connsiteX40" fmla="*/ 7606008 w 10678681"/>
              <a:gd name="connsiteY40" fmla="*/ 800717 h 1342734"/>
              <a:gd name="connsiteX41" fmla="*/ 7480223 w 10678681"/>
              <a:gd name="connsiteY41" fmla="*/ 856821 h 1342734"/>
              <a:gd name="connsiteX42" fmla="*/ 7356005 w 10678681"/>
              <a:gd name="connsiteY42" fmla="*/ 919462 h 1342734"/>
              <a:gd name="connsiteX43" fmla="*/ 7305396 w 10678681"/>
              <a:gd name="connsiteY43" fmla="*/ 986228 h 1342734"/>
              <a:gd name="connsiteX44" fmla="*/ 7266251 w 10678681"/>
              <a:gd name="connsiteY44" fmla="*/ 967864 h 1342734"/>
              <a:gd name="connsiteX45" fmla="*/ 7258094 w 10678681"/>
              <a:gd name="connsiteY45" fmla="*/ 990679 h 1342734"/>
              <a:gd name="connsiteX46" fmla="*/ 7257893 w 10678681"/>
              <a:gd name="connsiteY46" fmla="*/ 991204 h 1342734"/>
              <a:gd name="connsiteX47" fmla="*/ 7247153 w 10678681"/>
              <a:gd name="connsiteY47" fmla="*/ 991550 h 1342734"/>
              <a:gd name="connsiteX48" fmla="*/ 7193612 w 10678681"/>
              <a:gd name="connsiteY48" fmla="*/ 987042 h 1342734"/>
              <a:gd name="connsiteX49" fmla="*/ 7132632 w 10678681"/>
              <a:gd name="connsiteY49" fmla="*/ 1042036 h 1342734"/>
              <a:gd name="connsiteX50" fmla="*/ 7105610 w 10678681"/>
              <a:gd name="connsiteY50" fmla="*/ 1053537 h 1342734"/>
              <a:gd name="connsiteX51" fmla="*/ 7069148 w 10678681"/>
              <a:gd name="connsiteY51" fmla="*/ 1047163 h 1342734"/>
              <a:gd name="connsiteX52" fmla="*/ 7039634 w 10678681"/>
              <a:gd name="connsiteY52" fmla="*/ 1059971 h 1342734"/>
              <a:gd name="connsiteX53" fmla="*/ 7033445 w 10678681"/>
              <a:gd name="connsiteY53" fmla="*/ 1063314 h 1342734"/>
              <a:gd name="connsiteX54" fmla="*/ 6999157 w 10678681"/>
              <a:gd name="connsiteY54" fmla="*/ 1055282 h 1342734"/>
              <a:gd name="connsiteX55" fmla="*/ 6981874 w 10678681"/>
              <a:gd name="connsiteY55" fmla="*/ 1053827 h 1342734"/>
              <a:gd name="connsiteX56" fmla="*/ 6976102 w 10678681"/>
              <a:gd name="connsiteY56" fmla="*/ 1047854 h 1342734"/>
              <a:gd name="connsiteX57" fmla="*/ 6951040 w 10678681"/>
              <a:gd name="connsiteY57" fmla="*/ 1048531 h 1342734"/>
              <a:gd name="connsiteX58" fmla="*/ 6948497 w 10678681"/>
              <a:gd name="connsiteY58" fmla="*/ 1050706 h 1342734"/>
              <a:gd name="connsiteX59" fmla="*/ 6926582 w 10678681"/>
              <a:gd name="connsiteY59" fmla="*/ 1043462 h 1342734"/>
              <a:gd name="connsiteX60" fmla="*/ 6833743 w 10678681"/>
              <a:gd name="connsiteY60" fmla="*/ 1027960 h 1342734"/>
              <a:gd name="connsiteX61" fmla="*/ 6687090 w 10678681"/>
              <a:gd name="connsiteY61" fmla="*/ 1063250 h 1342734"/>
              <a:gd name="connsiteX62" fmla="*/ 6431838 w 10678681"/>
              <a:gd name="connsiteY62" fmla="*/ 1063226 h 1342734"/>
              <a:gd name="connsiteX63" fmla="*/ 6327795 w 10678681"/>
              <a:gd name="connsiteY63" fmla="*/ 1088142 h 1342734"/>
              <a:gd name="connsiteX64" fmla="*/ 6136549 w 10678681"/>
              <a:gd name="connsiteY64" fmla="*/ 1100268 h 1342734"/>
              <a:gd name="connsiteX65" fmla="*/ 6004655 w 10678681"/>
              <a:gd name="connsiteY65" fmla="*/ 1114946 h 1342734"/>
              <a:gd name="connsiteX66" fmla="*/ 5936643 w 10678681"/>
              <a:gd name="connsiteY66" fmla="*/ 1095428 h 1342734"/>
              <a:gd name="connsiteX67" fmla="*/ 5912484 w 10678681"/>
              <a:gd name="connsiteY67" fmla="*/ 1112624 h 1342734"/>
              <a:gd name="connsiteX68" fmla="*/ 5908387 w 10678681"/>
              <a:gd name="connsiteY68" fmla="*/ 1116018 h 1342734"/>
              <a:gd name="connsiteX69" fmla="*/ 5890495 w 10678681"/>
              <a:gd name="connsiteY69" fmla="*/ 1120268 h 1342734"/>
              <a:gd name="connsiteX70" fmla="*/ 5887318 w 10678681"/>
              <a:gd name="connsiteY70" fmla="*/ 1133134 h 1342734"/>
              <a:gd name="connsiteX71" fmla="*/ 5861726 w 10678681"/>
              <a:gd name="connsiteY71" fmla="*/ 1147891 h 1342734"/>
              <a:gd name="connsiteX72" fmla="*/ 5805823 w 10678681"/>
              <a:gd name="connsiteY72" fmla="*/ 1152457 h 1342734"/>
              <a:gd name="connsiteX73" fmla="*/ 5689841 w 10678681"/>
              <a:gd name="connsiteY73" fmla="*/ 1176232 h 1342734"/>
              <a:gd name="connsiteX74" fmla="*/ 5605119 w 10678681"/>
              <a:gd name="connsiteY74" fmla="*/ 1190202 h 1342734"/>
              <a:gd name="connsiteX75" fmla="*/ 5488513 w 10678681"/>
              <a:gd name="connsiteY75" fmla="*/ 1205367 h 1342734"/>
              <a:gd name="connsiteX76" fmla="*/ 5402905 w 10678681"/>
              <a:gd name="connsiteY76" fmla="*/ 1241191 h 1342734"/>
              <a:gd name="connsiteX77" fmla="*/ 5192893 w 10678681"/>
              <a:gd name="connsiteY77" fmla="*/ 1247188 h 1342734"/>
              <a:gd name="connsiteX78" fmla="*/ 5164025 w 10678681"/>
              <a:gd name="connsiteY78" fmla="*/ 1257028 h 1342734"/>
              <a:gd name="connsiteX79" fmla="*/ 5103589 w 10678681"/>
              <a:gd name="connsiteY79" fmla="*/ 1263189 h 1342734"/>
              <a:gd name="connsiteX80" fmla="*/ 4894688 w 10678681"/>
              <a:gd name="connsiteY80" fmla="*/ 1247184 h 1342734"/>
              <a:gd name="connsiteX81" fmla="*/ 4788036 w 10678681"/>
              <a:gd name="connsiteY81" fmla="*/ 1238182 h 1342734"/>
              <a:gd name="connsiteX82" fmla="*/ 4747555 w 10678681"/>
              <a:gd name="connsiteY82" fmla="*/ 1252768 h 1342734"/>
              <a:gd name="connsiteX83" fmla="*/ 4679644 w 10678681"/>
              <a:gd name="connsiteY83" fmla="*/ 1276603 h 1342734"/>
              <a:gd name="connsiteX84" fmla="*/ 4617473 w 10678681"/>
              <a:gd name="connsiteY84" fmla="*/ 1296467 h 1342734"/>
              <a:gd name="connsiteX85" fmla="*/ 4564919 w 10678681"/>
              <a:gd name="connsiteY85" fmla="*/ 1325507 h 1342734"/>
              <a:gd name="connsiteX86" fmla="*/ 4566586 w 10678681"/>
              <a:gd name="connsiteY86" fmla="*/ 1316963 h 1342734"/>
              <a:gd name="connsiteX87" fmla="*/ 4556303 w 10678681"/>
              <a:gd name="connsiteY87" fmla="*/ 1300262 h 1342734"/>
              <a:gd name="connsiteX88" fmla="*/ 4502358 w 10678681"/>
              <a:gd name="connsiteY88" fmla="*/ 1302558 h 1342734"/>
              <a:gd name="connsiteX89" fmla="*/ 4498919 w 10678681"/>
              <a:gd name="connsiteY89" fmla="*/ 1312115 h 1342734"/>
              <a:gd name="connsiteX90" fmla="*/ 4492075 w 10678681"/>
              <a:gd name="connsiteY90" fmla="*/ 1313357 h 1342734"/>
              <a:gd name="connsiteX91" fmla="*/ 4487466 w 10678681"/>
              <a:gd name="connsiteY91" fmla="*/ 1304102 h 1342734"/>
              <a:gd name="connsiteX92" fmla="*/ 4398292 w 10678681"/>
              <a:gd name="connsiteY92" fmla="*/ 1278410 h 1342734"/>
              <a:gd name="connsiteX93" fmla="*/ 4306088 w 10678681"/>
              <a:gd name="connsiteY93" fmla="*/ 1282512 h 1342734"/>
              <a:gd name="connsiteX94" fmla="*/ 4188995 w 10678681"/>
              <a:gd name="connsiteY94" fmla="*/ 1296718 h 1342734"/>
              <a:gd name="connsiteX95" fmla="*/ 4136582 w 10678681"/>
              <a:gd name="connsiteY95" fmla="*/ 1287687 h 1342734"/>
              <a:gd name="connsiteX96" fmla="*/ 4064614 w 10678681"/>
              <a:gd name="connsiteY96" fmla="*/ 1296118 h 1342734"/>
              <a:gd name="connsiteX97" fmla="*/ 3900948 w 10678681"/>
              <a:gd name="connsiteY97" fmla="*/ 1322156 h 1342734"/>
              <a:gd name="connsiteX98" fmla="*/ 3787890 w 10678681"/>
              <a:gd name="connsiteY98" fmla="*/ 1322164 h 1342734"/>
              <a:gd name="connsiteX99" fmla="*/ 3745993 w 10678681"/>
              <a:gd name="connsiteY99" fmla="*/ 1342630 h 1342734"/>
              <a:gd name="connsiteX100" fmla="*/ 3675785 w 10678681"/>
              <a:gd name="connsiteY100" fmla="*/ 1326802 h 1342734"/>
              <a:gd name="connsiteX101" fmla="*/ 3623856 w 10678681"/>
              <a:gd name="connsiteY101" fmla="*/ 1290804 h 1342734"/>
              <a:gd name="connsiteX102" fmla="*/ 3564933 w 10678681"/>
              <a:gd name="connsiteY102" fmla="*/ 1287147 h 1342734"/>
              <a:gd name="connsiteX103" fmla="*/ 3550537 w 10678681"/>
              <a:gd name="connsiteY103" fmla="*/ 1317552 h 1342734"/>
              <a:gd name="connsiteX104" fmla="*/ 3487736 w 10678681"/>
              <a:gd name="connsiteY104" fmla="*/ 1303493 h 1342734"/>
              <a:gd name="connsiteX105" fmla="*/ 3392548 w 10678681"/>
              <a:gd name="connsiteY105" fmla="*/ 1278741 h 1342734"/>
              <a:gd name="connsiteX106" fmla="*/ 3337466 w 10678681"/>
              <a:gd name="connsiteY106" fmla="*/ 1272537 h 1342734"/>
              <a:gd name="connsiteX107" fmla="*/ 3175981 w 10678681"/>
              <a:gd name="connsiteY107" fmla="*/ 1208973 h 1342734"/>
              <a:gd name="connsiteX108" fmla="*/ 3036856 w 10678681"/>
              <a:gd name="connsiteY108" fmla="*/ 1214383 h 1342734"/>
              <a:gd name="connsiteX109" fmla="*/ 2824973 w 10678681"/>
              <a:gd name="connsiteY109" fmla="*/ 1134864 h 1342734"/>
              <a:gd name="connsiteX110" fmla="*/ 2804398 w 10678681"/>
              <a:gd name="connsiteY110" fmla="*/ 1125556 h 1342734"/>
              <a:gd name="connsiteX111" fmla="*/ 2736109 w 10678681"/>
              <a:gd name="connsiteY111" fmla="*/ 1137717 h 1342734"/>
              <a:gd name="connsiteX112" fmla="*/ 2659096 w 10678681"/>
              <a:gd name="connsiteY112" fmla="*/ 1150294 h 1342734"/>
              <a:gd name="connsiteX113" fmla="*/ 2567088 w 10678681"/>
              <a:gd name="connsiteY113" fmla="*/ 1181781 h 1342734"/>
              <a:gd name="connsiteX114" fmla="*/ 2454501 w 10678681"/>
              <a:gd name="connsiteY114" fmla="*/ 1155455 h 1342734"/>
              <a:gd name="connsiteX115" fmla="*/ 2385161 w 10678681"/>
              <a:gd name="connsiteY115" fmla="*/ 1161312 h 1342734"/>
              <a:gd name="connsiteX116" fmla="*/ 2273361 w 10678681"/>
              <a:gd name="connsiteY116" fmla="*/ 1134090 h 1342734"/>
              <a:gd name="connsiteX117" fmla="*/ 2132003 w 10678681"/>
              <a:gd name="connsiteY117" fmla="*/ 1139225 h 1342734"/>
              <a:gd name="connsiteX118" fmla="*/ 2041224 w 10678681"/>
              <a:gd name="connsiteY118" fmla="*/ 1147536 h 1342734"/>
              <a:gd name="connsiteX119" fmla="*/ 2010157 w 10678681"/>
              <a:gd name="connsiteY119" fmla="*/ 1152767 h 1342734"/>
              <a:gd name="connsiteX120" fmla="*/ 1859213 w 10678681"/>
              <a:gd name="connsiteY120" fmla="*/ 1199540 h 1342734"/>
              <a:gd name="connsiteX121" fmla="*/ 1735877 w 10678681"/>
              <a:gd name="connsiteY121" fmla="*/ 1246527 h 1342734"/>
              <a:gd name="connsiteX122" fmla="*/ 1660167 w 10678681"/>
              <a:gd name="connsiteY122" fmla="*/ 1236849 h 1342734"/>
              <a:gd name="connsiteX123" fmla="*/ 1279827 w 10678681"/>
              <a:gd name="connsiteY123" fmla="*/ 1245307 h 1342734"/>
              <a:gd name="connsiteX124" fmla="*/ 1021737 w 10678681"/>
              <a:gd name="connsiteY124" fmla="*/ 1238739 h 1342734"/>
              <a:gd name="connsiteX125" fmla="*/ 959820 w 10678681"/>
              <a:gd name="connsiteY125" fmla="*/ 1275863 h 1342734"/>
              <a:gd name="connsiteX126" fmla="*/ 929137 w 10678681"/>
              <a:gd name="connsiteY126" fmla="*/ 1273957 h 1342734"/>
              <a:gd name="connsiteX127" fmla="*/ 878849 w 10678681"/>
              <a:gd name="connsiteY127" fmla="*/ 1266740 h 1342734"/>
              <a:gd name="connsiteX128" fmla="*/ 800667 w 10678681"/>
              <a:gd name="connsiteY128" fmla="*/ 1282041 h 1342734"/>
              <a:gd name="connsiteX129" fmla="*/ 644906 w 10678681"/>
              <a:gd name="connsiteY129" fmla="*/ 1273685 h 1342734"/>
              <a:gd name="connsiteX130" fmla="*/ 379869 w 10678681"/>
              <a:gd name="connsiteY130" fmla="*/ 1339165 h 1342734"/>
              <a:gd name="connsiteX131" fmla="*/ 137696 w 10678681"/>
              <a:gd name="connsiteY131" fmla="*/ 1319217 h 1342734"/>
              <a:gd name="connsiteX132" fmla="*/ 54250 w 10678681"/>
              <a:gd name="connsiteY132" fmla="*/ 1315838 h 1342734"/>
              <a:gd name="connsiteX133" fmla="*/ 28042 w 10678681"/>
              <a:gd name="connsiteY133" fmla="*/ 1297822 h 1342734"/>
              <a:gd name="connsiteX134" fmla="*/ 0 w 10678681"/>
              <a:gd name="connsiteY134" fmla="*/ 1294612 h 1342734"/>
              <a:gd name="connsiteX135" fmla="*/ 0 w 10678681"/>
              <a:gd name="connsiteY135" fmla="*/ 0 h 1342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0678681" h="1342734">
                <a:moveTo>
                  <a:pt x="0" y="0"/>
                </a:moveTo>
                <a:lnTo>
                  <a:pt x="10678681" y="0"/>
                </a:lnTo>
                <a:lnTo>
                  <a:pt x="10666019" y="7876"/>
                </a:lnTo>
                <a:cubicBezTo>
                  <a:pt x="10653407" y="16166"/>
                  <a:pt x="10642107" y="24244"/>
                  <a:pt x="10632825" y="32153"/>
                </a:cubicBezTo>
                <a:cubicBezTo>
                  <a:pt x="10592272" y="36323"/>
                  <a:pt x="10556884" y="50892"/>
                  <a:pt x="10516219" y="45588"/>
                </a:cubicBezTo>
                <a:cubicBezTo>
                  <a:pt x="10497465" y="38035"/>
                  <a:pt x="10481313" y="25649"/>
                  <a:pt x="10456989" y="979"/>
                </a:cubicBezTo>
                <a:cubicBezTo>
                  <a:pt x="10458435" y="21260"/>
                  <a:pt x="10448472" y="9612"/>
                  <a:pt x="10438642" y="1524"/>
                </a:cubicBezTo>
                <a:cubicBezTo>
                  <a:pt x="10430119" y="11702"/>
                  <a:pt x="10417632" y="41266"/>
                  <a:pt x="10407146" y="43659"/>
                </a:cubicBezTo>
                <a:cubicBezTo>
                  <a:pt x="10379701" y="2826"/>
                  <a:pt x="10370665" y="125005"/>
                  <a:pt x="10341159" y="103824"/>
                </a:cubicBezTo>
                <a:cubicBezTo>
                  <a:pt x="10332001" y="120367"/>
                  <a:pt x="10274736" y="115685"/>
                  <a:pt x="10244930" y="94599"/>
                </a:cubicBezTo>
                <a:cubicBezTo>
                  <a:pt x="10189350" y="132718"/>
                  <a:pt x="10178914" y="158571"/>
                  <a:pt x="10115334" y="155658"/>
                </a:cubicBezTo>
                <a:cubicBezTo>
                  <a:pt x="10110816" y="185325"/>
                  <a:pt x="10047419" y="166765"/>
                  <a:pt x="10068157" y="215673"/>
                </a:cubicBezTo>
                <a:cubicBezTo>
                  <a:pt x="10047157" y="216184"/>
                  <a:pt x="10029060" y="198149"/>
                  <a:pt x="10045431" y="229568"/>
                </a:cubicBezTo>
                <a:cubicBezTo>
                  <a:pt x="10018897" y="234017"/>
                  <a:pt x="9963426" y="205273"/>
                  <a:pt x="9929077" y="209062"/>
                </a:cubicBezTo>
                <a:cubicBezTo>
                  <a:pt x="9910475" y="224494"/>
                  <a:pt x="9890198" y="272419"/>
                  <a:pt x="9840045" y="223033"/>
                </a:cubicBezTo>
                <a:cubicBezTo>
                  <a:pt x="9789999" y="276055"/>
                  <a:pt x="9744257" y="186744"/>
                  <a:pt x="9679639" y="247182"/>
                </a:cubicBezTo>
                <a:cubicBezTo>
                  <a:pt x="9634736" y="215294"/>
                  <a:pt x="9537501" y="238016"/>
                  <a:pt x="9498347" y="244723"/>
                </a:cubicBezTo>
                <a:cubicBezTo>
                  <a:pt x="9450379" y="244255"/>
                  <a:pt x="9394227" y="293607"/>
                  <a:pt x="9366026" y="299024"/>
                </a:cubicBezTo>
                <a:cubicBezTo>
                  <a:pt x="9341424" y="298595"/>
                  <a:pt x="9297504" y="338146"/>
                  <a:pt x="9316702" y="356523"/>
                </a:cubicBezTo>
                <a:cubicBezTo>
                  <a:pt x="9228105" y="319675"/>
                  <a:pt x="9206375" y="367221"/>
                  <a:pt x="9121744" y="365177"/>
                </a:cubicBezTo>
                <a:cubicBezTo>
                  <a:pt x="9093808" y="425910"/>
                  <a:pt x="9103257" y="373647"/>
                  <a:pt x="9061654" y="393730"/>
                </a:cubicBezTo>
                <a:cubicBezTo>
                  <a:pt x="9060114" y="344357"/>
                  <a:pt x="9015442" y="432718"/>
                  <a:pt x="8997577" y="380865"/>
                </a:cubicBezTo>
                <a:cubicBezTo>
                  <a:pt x="8969550" y="402056"/>
                  <a:pt x="8954076" y="446763"/>
                  <a:pt x="8907968" y="447345"/>
                </a:cubicBezTo>
                <a:cubicBezTo>
                  <a:pt x="8864369" y="428134"/>
                  <a:pt x="8818646" y="497461"/>
                  <a:pt x="8764163" y="471000"/>
                </a:cubicBezTo>
                <a:cubicBezTo>
                  <a:pt x="8744747" y="465539"/>
                  <a:pt x="8688469" y="474754"/>
                  <a:pt x="8680155" y="492404"/>
                </a:cubicBezTo>
                <a:cubicBezTo>
                  <a:pt x="8668902" y="497604"/>
                  <a:pt x="8654338" y="493892"/>
                  <a:pt x="8651436" y="511923"/>
                </a:cubicBezTo>
                <a:cubicBezTo>
                  <a:pt x="8645505" y="533975"/>
                  <a:pt x="8599739" y="507897"/>
                  <a:pt x="8609185" y="531525"/>
                </a:cubicBezTo>
                <a:cubicBezTo>
                  <a:pt x="8576806" y="513805"/>
                  <a:pt x="8560019" y="560634"/>
                  <a:pt x="8537091" y="574933"/>
                </a:cubicBezTo>
                <a:cubicBezTo>
                  <a:pt x="8510928" y="556486"/>
                  <a:pt x="8488623" y="604682"/>
                  <a:pt x="8435931" y="617926"/>
                </a:cubicBezTo>
                <a:cubicBezTo>
                  <a:pt x="8406978" y="596402"/>
                  <a:pt x="8400500" y="627188"/>
                  <a:pt x="8348623" y="600607"/>
                </a:cubicBezTo>
                <a:cubicBezTo>
                  <a:pt x="8347650" y="604255"/>
                  <a:pt x="8320537" y="587451"/>
                  <a:pt x="8276883" y="588214"/>
                </a:cubicBezTo>
                <a:cubicBezTo>
                  <a:pt x="8233229" y="588977"/>
                  <a:pt x="8147007" y="602039"/>
                  <a:pt x="8086698" y="605185"/>
                </a:cubicBezTo>
                <a:cubicBezTo>
                  <a:pt x="8018754" y="612533"/>
                  <a:pt x="8076794" y="658105"/>
                  <a:pt x="7982378" y="629799"/>
                </a:cubicBezTo>
                <a:cubicBezTo>
                  <a:pt x="7978309" y="650417"/>
                  <a:pt x="7968020" y="653434"/>
                  <a:pt x="7947952" y="648003"/>
                </a:cubicBezTo>
                <a:cubicBezTo>
                  <a:pt x="7915301" y="652980"/>
                  <a:pt x="7930086" y="699793"/>
                  <a:pt x="7890112" y="677915"/>
                </a:cubicBezTo>
                <a:cubicBezTo>
                  <a:pt x="7902561" y="702153"/>
                  <a:pt x="7831508" y="700184"/>
                  <a:pt x="7853284" y="723588"/>
                </a:cubicBezTo>
                <a:cubicBezTo>
                  <a:pt x="7838304" y="751013"/>
                  <a:pt x="7817999" y="714992"/>
                  <a:pt x="7802383" y="739359"/>
                </a:cubicBezTo>
                <a:cubicBezTo>
                  <a:pt x="7781922" y="742015"/>
                  <a:pt x="7755431" y="732207"/>
                  <a:pt x="7730518" y="739526"/>
                </a:cubicBezTo>
                <a:cubicBezTo>
                  <a:pt x="7716802" y="743091"/>
                  <a:pt x="7733019" y="753459"/>
                  <a:pt x="7720084" y="760750"/>
                </a:cubicBezTo>
                <a:cubicBezTo>
                  <a:pt x="7707149" y="768041"/>
                  <a:pt x="7671920" y="776612"/>
                  <a:pt x="7652907" y="783273"/>
                </a:cubicBezTo>
                <a:cubicBezTo>
                  <a:pt x="7630163" y="772504"/>
                  <a:pt x="7616976" y="783101"/>
                  <a:pt x="7606008" y="800717"/>
                </a:cubicBezTo>
                <a:cubicBezTo>
                  <a:pt x="7561224" y="806541"/>
                  <a:pt x="7527083" y="837162"/>
                  <a:pt x="7480223" y="856821"/>
                </a:cubicBezTo>
                <a:cubicBezTo>
                  <a:pt x="7422566" y="851729"/>
                  <a:pt x="7406130" y="898621"/>
                  <a:pt x="7356005" y="919462"/>
                </a:cubicBezTo>
                <a:cubicBezTo>
                  <a:pt x="7301710" y="896412"/>
                  <a:pt x="7327853" y="963334"/>
                  <a:pt x="7305396" y="986228"/>
                </a:cubicBezTo>
                <a:lnTo>
                  <a:pt x="7266251" y="967864"/>
                </a:lnTo>
                <a:lnTo>
                  <a:pt x="7258094" y="990679"/>
                </a:lnTo>
                <a:lnTo>
                  <a:pt x="7257893" y="991204"/>
                </a:lnTo>
                <a:lnTo>
                  <a:pt x="7247153" y="991550"/>
                </a:lnTo>
                <a:cubicBezTo>
                  <a:pt x="7228850" y="991013"/>
                  <a:pt x="7210872" y="989423"/>
                  <a:pt x="7193612" y="987042"/>
                </a:cubicBezTo>
                <a:cubicBezTo>
                  <a:pt x="7184018" y="1016185"/>
                  <a:pt x="7117645" y="991054"/>
                  <a:pt x="7132632" y="1042036"/>
                </a:cubicBezTo>
                <a:cubicBezTo>
                  <a:pt x="7109597" y="1040358"/>
                  <a:pt x="7092653" y="1020472"/>
                  <a:pt x="7105610" y="1053537"/>
                </a:cubicBezTo>
                <a:cubicBezTo>
                  <a:pt x="7098186" y="1053959"/>
                  <a:pt x="7071669" y="1042250"/>
                  <a:pt x="7069148" y="1047163"/>
                </a:cubicBezTo>
                <a:lnTo>
                  <a:pt x="7039634" y="1059971"/>
                </a:lnTo>
                <a:lnTo>
                  <a:pt x="7033445" y="1063314"/>
                </a:lnTo>
                <a:lnTo>
                  <a:pt x="6999157" y="1055282"/>
                </a:lnTo>
                <a:lnTo>
                  <a:pt x="6981874" y="1053827"/>
                </a:lnTo>
                <a:lnTo>
                  <a:pt x="6976102" y="1047854"/>
                </a:lnTo>
                <a:cubicBezTo>
                  <a:pt x="6970359" y="1044495"/>
                  <a:pt x="6962768" y="1043656"/>
                  <a:pt x="6951040" y="1048531"/>
                </a:cubicBezTo>
                <a:lnTo>
                  <a:pt x="6948497" y="1050706"/>
                </a:lnTo>
                <a:lnTo>
                  <a:pt x="6926582" y="1043462"/>
                </a:lnTo>
                <a:cubicBezTo>
                  <a:pt x="6919310" y="1039773"/>
                  <a:pt x="6839625" y="1034777"/>
                  <a:pt x="6833743" y="1027960"/>
                </a:cubicBezTo>
                <a:cubicBezTo>
                  <a:pt x="6776335" y="1015119"/>
                  <a:pt x="6761260" y="1047430"/>
                  <a:pt x="6687090" y="1063250"/>
                </a:cubicBezTo>
                <a:cubicBezTo>
                  <a:pt x="6621041" y="1075436"/>
                  <a:pt x="6482366" y="1074217"/>
                  <a:pt x="6431838" y="1063226"/>
                </a:cubicBezTo>
                <a:cubicBezTo>
                  <a:pt x="6405016" y="1060235"/>
                  <a:pt x="6309698" y="1067799"/>
                  <a:pt x="6327795" y="1088142"/>
                </a:cubicBezTo>
                <a:cubicBezTo>
                  <a:pt x="6241699" y="1050273"/>
                  <a:pt x="6228725" y="1111123"/>
                  <a:pt x="6136549" y="1100268"/>
                </a:cubicBezTo>
                <a:cubicBezTo>
                  <a:pt x="6096483" y="1157984"/>
                  <a:pt x="6053277" y="1099229"/>
                  <a:pt x="6004655" y="1114946"/>
                </a:cubicBezTo>
                <a:cubicBezTo>
                  <a:pt x="6010724" y="1065500"/>
                  <a:pt x="5948029" y="1149051"/>
                  <a:pt x="5936643" y="1095428"/>
                </a:cubicBezTo>
                <a:cubicBezTo>
                  <a:pt x="5928154" y="1099986"/>
                  <a:pt x="5920290" y="1106094"/>
                  <a:pt x="5912484" y="1112624"/>
                </a:cubicBezTo>
                <a:lnTo>
                  <a:pt x="5908387" y="1116018"/>
                </a:lnTo>
                <a:lnTo>
                  <a:pt x="5890495" y="1120268"/>
                </a:lnTo>
                <a:lnTo>
                  <a:pt x="5887318" y="1133134"/>
                </a:lnTo>
                <a:lnTo>
                  <a:pt x="5861726" y="1147891"/>
                </a:lnTo>
                <a:cubicBezTo>
                  <a:pt x="5851855" y="1151615"/>
                  <a:pt x="5818443" y="1153513"/>
                  <a:pt x="5805823" y="1152457"/>
                </a:cubicBezTo>
                <a:cubicBezTo>
                  <a:pt x="5761190" y="1128740"/>
                  <a:pt x="5745234" y="1208320"/>
                  <a:pt x="5689841" y="1176232"/>
                </a:cubicBezTo>
                <a:cubicBezTo>
                  <a:pt x="5645165" y="1182523"/>
                  <a:pt x="5638674" y="1185346"/>
                  <a:pt x="5605119" y="1190202"/>
                </a:cubicBezTo>
                <a:cubicBezTo>
                  <a:pt x="5595173" y="1211597"/>
                  <a:pt x="5481899" y="1180798"/>
                  <a:pt x="5488513" y="1205367"/>
                </a:cubicBezTo>
                <a:cubicBezTo>
                  <a:pt x="5455905" y="1184307"/>
                  <a:pt x="5430208" y="1229302"/>
                  <a:pt x="5402905" y="1241191"/>
                </a:cubicBezTo>
                <a:cubicBezTo>
                  <a:pt x="5353635" y="1248161"/>
                  <a:pt x="5228965" y="1244549"/>
                  <a:pt x="5192893" y="1247188"/>
                </a:cubicBezTo>
                <a:cubicBezTo>
                  <a:pt x="5191257" y="1250727"/>
                  <a:pt x="5178909" y="1254361"/>
                  <a:pt x="5164025" y="1257028"/>
                </a:cubicBezTo>
                <a:cubicBezTo>
                  <a:pt x="5149141" y="1259695"/>
                  <a:pt x="5121746" y="1277136"/>
                  <a:pt x="5103589" y="1263189"/>
                </a:cubicBezTo>
                <a:cubicBezTo>
                  <a:pt x="5020856" y="1221392"/>
                  <a:pt x="4961920" y="1251721"/>
                  <a:pt x="4894688" y="1247184"/>
                </a:cubicBezTo>
                <a:cubicBezTo>
                  <a:pt x="4819279" y="1247443"/>
                  <a:pt x="4886780" y="1276272"/>
                  <a:pt x="4788036" y="1238182"/>
                </a:cubicBezTo>
                <a:cubicBezTo>
                  <a:pt x="4780353" y="1258340"/>
                  <a:pt x="4768632" y="1260281"/>
                  <a:pt x="4747555" y="1252768"/>
                </a:cubicBezTo>
                <a:cubicBezTo>
                  <a:pt x="4711089" y="1254336"/>
                  <a:pt x="4719897" y="1302605"/>
                  <a:pt x="4679644" y="1276603"/>
                </a:cubicBezTo>
                <a:cubicBezTo>
                  <a:pt x="4651415" y="1288933"/>
                  <a:pt x="4636594" y="1288316"/>
                  <a:pt x="4617473" y="1296467"/>
                </a:cubicBezTo>
                <a:lnTo>
                  <a:pt x="4564919" y="1325507"/>
                </a:lnTo>
                <a:lnTo>
                  <a:pt x="4566586" y="1316963"/>
                </a:lnTo>
                <a:cubicBezTo>
                  <a:pt x="4569057" y="1308855"/>
                  <a:pt x="4571069" y="1299935"/>
                  <a:pt x="4556303" y="1300262"/>
                </a:cubicBezTo>
                <a:cubicBezTo>
                  <a:pt x="4525488" y="1305073"/>
                  <a:pt x="4517133" y="1269079"/>
                  <a:pt x="4502358" y="1302558"/>
                </a:cubicBezTo>
                <a:lnTo>
                  <a:pt x="4498919" y="1312115"/>
                </a:lnTo>
                <a:lnTo>
                  <a:pt x="4492075" y="1313357"/>
                </a:lnTo>
                <a:cubicBezTo>
                  <a:pt x="4488463" y="1312870"/>
                  <a:pt x="4486534" y="1310394"/>
                  <a:pt x="4487466" y="1304102"/>
                </a:cubicBezTo>
                <a:cubicBezTo>
                  <a:pt x="4457512" y="1328789"/>
                  <a:pt x="4426787" y="1287064"/>
                  <a:pt x="4398292" y="1278410"/>
                </a:cubicBezTo>
                <a:cubicBezTo>
                  <a:pt x="4375210" y="1302378"/>
                  <a:pt x="4366248" y="1283298"/>
                  <a:pt x="4306088" y="1282512"/>
                </a:cubicBezTo>
                <a:cubicBezTo>
                  <a:pt x="4280844" y="1310113"/>
                  <a:pt x="4237476" y="1258925"/>
                  <a:pt x="4188995" y="1296718"/>
                </a:cubicBezTo>
                <a:cubicBezTo>
                  <a:pt x="4186961" y="1293392"/>
                  <a:pt x="4157312" y="1287787"/>
                  <a:pt x="4136582" y="1287687"/>
                </a:cubicBezTo>
                <a:cubicBezTo>
                  <a:pt x="4115852" y="1287587"/>
                  <a:pt x="4081037" y="1280166"/>
                  <a:pt x="4064614" y="1296118"/>
                </a:cubicBezTo>
                <a:cubicBezTo>
                  <a:pt x="3987264" y="1347194"/>
                  <a:pt x="3967205" y="1309881"/>
                  <a:pt x="3900948" y="1322156"/>
                </a:cubicBezTo>
                <a:cubicBezTo>
                  <a:pt x="3826014" y="1330612"/>
                  <a:pt x="3831060" y="1333478"/>
                  <a:pt x="3787890" y="1322164"/>
                </a:cubicBezTo>
                <a:cubicBezTo>
                  <a:pt x="3777929" y="1303028"/>
                  <a:pt x="3766063" y="1332733"/>
                  <a:pt x="3745993" y="1342630"/>
                </a:cubicBezTo>
                <a:cubicBezTo>
                  <a:pt x="3709591" y="1345286"/>
                  <a:pt x="3712765" y="1296323"/>
                  <a:pt x="3675785" y="1326802"/>
                </a:cubicBezTo>
                <a:cubicBezTo>
                  <a:pt x="3682573" y="1300349"/>
                  <a:pt x="3606829" y="1318588"/>
                  <a:pt x="3623856" y="1290804"/>
                </a:cubicBezTo>
                <a:cubicBezTo>
                  <a:pt x="3600335" y="1267550"/>
                  <a:pt x="3588308" y="1307279"/>
                  <a:pt x="3564933" y="1287147"/>
                </a:cubicBezTo>
                <a:cubicBezTo>
                  <a:pt x="3538420" y="1283043"/>
                  <a:pt x="3579946" y="1314789"/>
                  <a:pt x="3550537" y="1317552"/>
                </a:cubicBezTo>
                <a:cubicBezTo>
                  <a:pt x="3514920" y="1316159"/>
                  <a:pt x="3514600" y="1364317"/>
                  <a:pt x="3487736" y="1303493"/>
                </a:cubicBezTo>
                <a:cubicBezTo>
                  <a:pt x="3450312" y="1319195"/>
                  <a:pt x="3443340" y="1291726"/>
                  <a:pt x="3392548" y="1278741"/>
                </a:cubicBezTo>
                <a:cubicBezTo>
                  <a:pt x="3371053" y="1294449"/>
                  <a:pt x="3354022" y="1287164"/>
                  <a:pt x="3337466" y="1272537"/>
                </a:cubicBezTo>
                <a:cubicBezTo>
                  <a:pt x="3287808" y="1277154"/>
                  <a:pt x="3231625" y="1217343"/>
                  <a:pt x="3175981" y="1208973"/>
                </a:cubicBezTo>
                <a:cubicBezTo>
                  <a:pt x="3115467" y="1227175"/>
                  <a:pt x="3096324" y="1223154"/>
                  <a:pt x="3036856" y="1214383"/>
                </a:cubicBezTo>
                <a:cubicBezTo>
                  <a:pt x="2976484" y="1195723"/>
                  <a:pt x="2863716" y="1149668"/>
                  <a:pt x="2824973" y="1134864"/>
                </a:cubicBezTo>
                <a:cubicBezTo>
                  <a:pt x="2817752" y="1140972"/>
                  <a:pt x="2802616" y="1134132"/>
                  <a:pt x="2804398" y="1125556"/>
                </a:cubicBezTo>
                <a:cubicBezTo>
                  <a:pt x="2796364" y="1128008"/>
                  <a:pt x="2737660" y="1151579"/>
                  <a:pt x="2736109" y="1137717"/>
                </a:cubicBezTo>
                <a:cubicBezTo>
                  <a:pt x="2696082" y="1134954"/>
                  <a:pt x="2695314" y="1134322"/>
                  <a:pt x="2659096" y="1150294"/>
                </a:cubicBezTo>
                <a:cubicBezTo>
                  <a:pt x="2582535" y="1124403"/>
                  <a:pt x="2622743" y="1189988"/>
                  <a:pt x="2567088" y="1181781"/>
                </a:cubicBezTo>
                <a:cubicBezTo>
                  <a:pt x="2523074" y="1153322"/>
                  <a:pt x="2505741" y="1175022"/>
                  <a:pt x="2454501" y="1155455"/>
                </a:cubicBezTo>
                <a:cubicBezTo>
                  <a:pt x="2435184" y="1199648"/>
                  <a:pt x="2405890" y="1149324"/>
                  <a:pt x="2385161" y="1161312"/>
                </a:cubicBezTo>
                <a:cubicBezTo>
                  <a:pt x="2329714" y="1166582"/>
                  <a:pt x="2322102" y="1137771"/>
                  <a:pt x="2273361" y="1134090"/>
                </a:cubicBezTo>
                <a:cubicBezTo>
                  <a:pt x="2270204" y="1112590"/>
                  <a:pt x="2164540" y="1136821"/>
                  <a:pt x="2132003" y="1139225"/>
                </a:cubicBezTo>
                <a:cubicBezTo>
                  <a:pt x="2119616" y="1127805"/>
                  <a:pt x="2068429" y="1132839"/>
                  <a:pt x="2041224" y="1147536"/>
                </a:cubicBezTo>
                <a:cubicBezTo>
                  <a:pt x="2072319" y="1178143"/>
                  <a:pt x="2006941" y="1118646"/>
                  <a:pt x="2010157" y="1152767"/>
                </a:cubicBezTo>
                <a:cubicBezTo>
                  <a:pt x="1976080" y="1167742"/>
                  <a:pt x="1904926" y="1183913"/>
                  <a:pt x="1859213" y="1199540"/>
                </a:cubicBezTo>
                <a:cubicBezTo>
                  <a:pt x="1837985" y="1173314"/>
                  <a:pt x="1772946" y="1249813"/>
                  <a:pt x="1735877" y="1246527"/>
                </a:cubicBezTo>
                <a:cubicBezTo>
                  <a:pt x="1727774" y="1263559"/>
                  <a:pt x="1674382" y="1247072"/>
                  <a:pt x="1660167" y="1236849"/>
                </a:cubicBezTo>
                <a:cubicBezTo>
                  <a:pt x="1541640" y="1221134"/>
                  <a:pt x="1352140" y="1267338"/>
                  <a:pt x="1279827" y="1245307"/>
                </a:cubicBezTo>
                <a:lnTo>
                  <a:pt x="1021737" y="1238739"/>
                </a:lnTo>
                <a:cubicBezTo>
                  <a:pt x="1011829" y="1264670"/>
                  <a:pt x="960483" y="1235921"/>
                  <a:pt x="959820" y="1275863"/>
                </a:cubicBezTo>
                <a:cubicBezTo>
                  <a:pt x="950745" y="1291685"/>
                  <a:pt x="934594" y="1289700"/>
                  <a:pt x="929137" y="1273957"/>
                </a:cubicBezTo>
                <a:cubicBezTo>
                  <a:pt x="909281" y="1275184"/>
                  <a:pt x="894620" y="1293444"/>
                  <a:pt x="878849" y="1266740"/>
                </a:cubicBezTo>
                <a:cubicBezTo>
                  <a:pt x="851668" y="1267510"/>
                  <a:pt x="816599" y="1322523"/>
                  <a:pt x="800667" y="1282041"/>
                </a:cubicBezTo>
                <a:cubicBezTo>
                  <a:pt x="741645" y="1285469"/>
                  <a:pt x="699773" y="1269716"/>
                  <a:pt x="644906" y="1273685"/>
                </a:cubicBezTo>
                <a:cubicBezTo>
                  <a:pt x="541527" y="1321342"/>
                  <a:pt x="446058" y="1236106"/>
                  <a:pt x="379869" y="1339165"/>
                </a:cubicBezTo>
                <a:cubicBezTo>
                  <a:pt x="292000" y="1296022"/>
                  <a:pt x="211611" y="1323804"/>
                  <a:pt x="137696" y="1319217"/>
                </a:cubicBezTo>
                <a:cubicBezTo>
                  <a:pt x="102121" y="1327987"/>
                  <a:pt x="88791" y="1285209"/>
                  <a:pt x="54250" y="1315838"/>
                </a:cubicBezTo>
                <a:cubicBezTo>
                  <a:pt x="49461" y="1305340"/>
                  <a:pt x="39595" y="1300426"/>
                  <a:pt x="28042" y="1297822"/>
                </a:cubicBezTo>
                <a:lnTo>
                  <a:pt x="0" y="1294612"/>
                </a:lnTo>
                <a:lnTo>
                  <a:pt x="0" y="0"/>
                </a:lnTo>
                <a:close/>
              </a:path>
            </a:pathLst>
          </a:custGeom>
          <a:solidFill>
            <a:srgbClr val="82766A">
              <a:alpha val="15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Bembo"/>
              <a:ea typeface="+mn-ea"/>
              <a:cs typeface="+mn-cs"/>
            </a:endParaRPr>
          </a:p>
        </p:txBody>
      </p:sp>
      <p:sp>
        <p:nvSpPr>
          <p:cNvPr id="25" name="Freeform: Shape 24">
            <a:extLst>
              <a:ext uri="{FF2B5EF4-FFF2-40B4-BE49-F238E27FC236}">
                <a16:creationId xmlns:a16="http://schemas.microsoft.com/office/drawing/2014/main" id="{8F5C93A3-C2A2-4E5E-8BEB-984B0A7A4AB6}"/>
              </a:ext>
              <a:ext uri="{C183D7F6-B498-43B3-948B-1728B52AA6E4}">
                <adec:decorative xmlns:adec="http://schemas.microsoft.com/office/drawing/2017/decorative" val="1"/>
              </a:ext>
            </a:extLst>
          </p:cNvPr>
          <p:cNvSpPr/>
          <p:nvPr userDrawn="1"/>
        </p:nvSpPr>
        <p:spPr>
          <a:xfrm>
            <a:off x="5307088" y="6114200"/>
            <a:ext cx="6884912" cy="743802"/>
          </a:xfrm>
          <a:custGeom>
            <a:avLst/>
            <a:gdLst>
              <a:gd name="connsiteX0" fmla="*/ 6884912 w 6884912"/>
              <a:gd name="connsiteY0" fmla="*/ 0 h 1161397"/>
              <a:gd name="connsiteX1" fmla="*/ 6884912 w 6884912"/>
              <a:gd name="connsiteY1" fmla="*/ 1161397 h 1161397"/>
              <a:gd name="connsiteX2" fmla="*/ 0 w 6884912"/>
              <a:gd name="connsiteY2" fmla="*/ 1161397 h 1161397"/>
              <a:gd name="connsiteX3" fmla="*/ 27135 w 6884912"/>
              <a:gd name="connsiteY3" fmla="*/ 1147460 h 1161397"/>
              <a:gd name="connsiteX4" fmla="*/ 115388 w 6884912"/>
              <a:gd name="connsiteY4" fmla="*/ 1159043 h 1161397"/>
              <a:gd name="connsiteX5" fmla="*/ 119094 w 6884912"/>
              <a:gd name="connsiteY5" fmla="*/ 1148463 h 1161397"/>
              <a:gd name="connsiteX6" fmla="*/ 171824 w 6884912"/>
              <a:gd name="connsiteY6" fmla="*/ 1133224 h 1161397"/>
              <a:gd name="connsiteX7" fmla="*/ 376455 w 6884912"/>
              <a:gd name="connsiteY7" fmla="*/ 1137381 h 1161397"/>
              <a:gd name="connsiteX8" fmla="*/ 478946 w 6884912"/>
              <a:gd name="connsiteY8" fmla="*/ 1106011 h 1161397"/>
              <a:gd name="connsiteX9" fmla="*/ 512111 w 6884912"/>
              <a:gd name="connsiteY9" fmla="*/ 1085599 h 1161397"/>
              <a:gd name="connsiteX10" fmla="*/ 567875 w 6884912"/>
              <a:gd name="connsiteY10" fmla="*/ 1051976 h 1161397"/>
              <a:gd name="connsiteX11" fmla="*/ 601644 w 6884912"/>
              <a:gd name="connsiteY11" fmla="*/ 1003997 h 1161397"/>
              <a:gd name="connsiteX12" fmla="*/ 651408 w 6884912"/>
              <a:gd name="connsiteY12" fmla="*/ 984938 h 1161397"/>
              <a:gd name="connsiteX13" fmla="*/ 673197 w 6884912"/>
              <a:gd name="connsiteY13" fmla="*/ 1010060 h 1161397"/>
              <a:gd name="connsiteX14" fmla="*/ 723108 w 6884912"/>
              <a:gd name="connsiteY14" fmla="*/ 980081 h 1161397"/>
              <a:gd name="connsiteX15" fmla="*/ 797699 w 6884912"/>
              <a:gd name="connsiteY15" fmla="*/ 931362 h 1161397"/>
              <a:gd name="connsiteX16" fmla="*/ 843359 w 6884912"/>
              <a:gd name="connsiteY16" fmla="*/ 910894 h 1161397"/>
              <a:gd name="connsiteX17" fmla="*/ 965215 w 6884912"/>
              <a:gd name="connsiteY17" fmla="*/ 846701 h 1161397"/>
              <a:gd name="connsiteX18" fmla="*/ 1085080 w 6884912"/>
              <a:gd name="connsiteY18" fmla="*/ 776086 h 1161397"/>
              <a:gd name="connsiteX19" fmla="*/ 1131224 w 6884912"/>
              <a:gd name="connsiteY19" fmla="*/ 706160 h 1161397"/>
              <a:gd name="connsiteX20" fmla="*/ 1138051 w 6884912"/>
              <a:gd name="connsiteY20" fmla="*/ 702034 h 1161397"/>
              <a:gd name="connsiteX21" fmla="*/ 1158800 w 6884912"/>
              <a:gd name="connsiteY21" fmla="*/ 700004 h 1161397"/>
              <a:gd name="connsiteX22" fmla="*/ 1166947 w 6884912"/>
              <a:gd name="connsiteY22" fmla="*/ 700762 h 1161397"/>
              <a:gd name="connsiteX23" fmla="*/ 1178135 w 6884912"/>
              <a:gd name="connsiteY23" fmla="*/ 698631 h 1161397"/>
              <a:gd name="connsiteX24" fmla="*/ 1178301 w 6884912"/>
              <a:gd name="connsiteY24" fmla="*/ 698094 h 1161397"/>
              <a:gd name="connsiteX25" fmla="*/ 1188995 w 6884912"/>
              <a:gd name="connsiteY25" fmla="*/ 697048 h 1161397"/>
              <a:gd name="connsiteX26" fmla="*/ 1242716 w 6884912"/>
              <a:gd name="connsiteY26" fmla="*/ 698052 h 1161397"/>
              <a:gd name="connsiteX27" fmla="*/ 1299977 w 6884912"/>
              <a:gd name="connsiteY27" fmla="*/ 639196 h 1161397"/>
              <a:gd name="connsiteX28" fmla="*/ 1326190 w 6884912"/>
              <a:gd name="connsiteY28" fmla="*/ 625955 h 1161397"/>
              <a:gd name="connsiteX29" fmla="*/ 1339600 w 6884912"/>
              <a:gd name="connsiteY29" fmla="*/ 616295 h 1161397"/>
              <a:gd name="connsiteX30" fmla="*/ 1340054 w 6884912"/>
              <a:gd name="connsiteY30" fmla="*/ 614022 h 1161397"/>
              <a:gd name="connsiteX31" fmla="*/ 1391606 w 6884912"/>
              <a:gd name="connsiteY31" fmla="*/ 615229 h 1161397"/>
              <a:gd name="connsiteX32" fmla="*/ 1397565 w 6884912"/>
              <a:gd name="connsiteY32" fmla="*/ 611490 h 1161397"/>
              <a:gd name="connsiteX33" fmla="*/ 1432302 w 6884912"/>
              <a:gd name="connsiteY33" fmla="*/ 617267 h 1161397"/>
              <a:gd name="connsiteX34" fmla="*/ 1449644 w 6884912"/>
              <a:gd name="connsiteY34" fmla="*/ 617591 h 1161397"/>
              <a:gd name="connsiteX35" fmla="*/ 1455793 w 6884912"/>
              <a:gd name="connsiteY35" fmla="*/ 623174 h 1161397"/>
              <a:gd name="connsiteX36" fmla="*/ 1480758 w 6884912"/>
              <a:gd name="connsiteY36" fmla="*/ 620863 h 1161397"/>
              <a:gd name="connsiteX37" fmla="*/ 1483154 w 6884912"/>
              <a:gd name="connsiteY37" fmla="*/ 618527 h 1161397"/>
              <a:gd name="connsiteX38" fmla="*/ 1505495 w 6884912"/>
              <a:gd name="connsiteY38" fmla="*/ 624325 h 1161397"/>
              <a:gd name="connsiteX39" fmla="*/ 1526340 w 6884912"/>
              <a:gd name="connsiteY39" fmla="*/ 638496 h 1161397"/>
              <a:gd name="connsiteX40" fmla="*/ 1731986 w 6884912"/>
              <a:gd name="connsiteY40" fmla="*/ 589682 h 1161397"/>
              <a:gd name="connsiteX41" fmla="*/ 1927935 w 6884912"/>
              <a:gd name="connsiteY41" fmla="*/ 628540 h 1161397"/>
              <a:gd name="connsiteX42" fmla="*/ 2039075 w 6884912"/>
              <a:gd name="connsiteY42" fmla="*/ 599964 h 1161397"/>
              <a:gd name="connsiteX43" fmla="*/ 2066980 w 6884912"/>
              <a:gd name="connsiteY43" fmla="*/ 550413 h 1161397"/>
              <a:gd name="connsiteX44" fmla="*/ 2352236 w 6884912"/>
              <a:gd name="connsiteY44" fmla="*/ 519602 h 1161397"/>
              <a:gd name="connsiteX45" fmla="*/ 2420791 w 6884912"/>
              <a:gd name="connsiteY45" fmla="*/ 492826 h 1161397"/>
              <a:gd name="connsiteX46" fmla="*/ 2489932 w 6884912"/>
              <a:gd name="connsiteY46" fmla="*/ 507864 h 1161397"/>
              <a:gd name="connsiteX47" fmla="*/ 2512917 w 6884912"/>
              <a:gd name="connsiteY47" fmla="*/ 489127 h 1161397"/>
              <a:gd name="connsiteX48" fmla="*/ 2516783 w 6884912"/>
              <a:gd name="connsiteY48" fmla="*/ 485473 h 1161397"/>
              <a:gd name="connsiteX49" fmla="*/ 2534360 w 6884912"/>
              <a:gd name="connsiteY49" fmla="*/ 480064 h 1161397"/>
              <a:gd name="connsiteX50" fmla="*/ 2536691 w 6884912"/>
              <a:gd name="connsiteY50" fmla="*/ 467018 h 1161397"/>
              <a:gd name="connsiteX51" fmla="*/ 2561265 w 6884912"/>
              <a:gd name="connsiteY51" fmla="*/ 450623 h 1161397"/>
              <a:gd name="connsiteX52" fmla="*/ 2594349 w 6884912"/>
              <a:gd name="connsiteY52" fmla="*/ 443884 h 1161397"/>
              <a:gd name="connsiteX53" fmla="*/ 2754324 w 6884912"/>
              <a:gd name="connsiteY53" fmla="*/ 424766 h 1161397"/>
              <a:gd name="connsiteX54" fmla="*/ 2848470 w 6884912"/>
              <a:gd name="connsiteY54" fmla="*/ 405966 h 1161397"/>
              <a:gd name="connsiteX55" fmla="*/ 2881772 w 6884912"/>
              <a:gd name="connsiteY55" fmla="*/ 387260 h 1161397"/>
              <a:gd name="connsiteX56" fmla="*/ 2929932 w 6884912"/>
              <a:gd name="connsiteY56" fmla="*/ 368912 h 1161397"/>
              <a:gd name="connsiteX57" fmla="*/ 3013020 w 6884912"/>
              <a:gd name="connsiteY57" fmla="*/ 327578 h 1161397"/>
              <a:gd name="connsiteX58" fmla="*/ 3127968 w 6884912"/>
              <a:gd name="connsiteY58" fmla="*/ 287613 h 1161397"/>
              <a:gd name="connsiteX59" fmla="*/ 3222191 w 6884912"/>
              <a:gd name="connsiteY59" fmla="*/ 307887 h 1161397"/>
              <a:gd name="connsiteX60" fmla="*/ 3227953 w 6884912"/>
              <a:gd name="connsiteY60" fmla="*/ 297650 h 1161397"/>
              <a:gd name="connsiteX61" fmla="*/ 3287859 w 6884912"/>
              <a:gd name="connsiteY61" fmla="*/ 287558 h 1161397"/>
              <a:gd name="connsiteX62" fmla="*/ 3510042 w 6884912"/>
              <a:gd name="connsiteY62" fmla="*/ 311820 h 1161397"/>
              <a:gd name="connsiteX63" fmla="*/ 3626773 w 6884912"/>
              <a:gd name="connsiteY63" fmla="*/ 290452 h 1161397"/>
              <a:gd name="connsiteX64" fmla="*/ 3666217 w 6884912"/>
              <a:gd name="connsiteY64" fmla="*/ 273255 h 1161397"/>
              <a:gd name="connsiteX65" fmla="*/ 3732427 w 6884912"/>
              <a:gd name="connsiteY65" fmla="*/ 245039 h 1161397"/>
              <a:gd name="connsiteX66" fmla="*/ 3777022 w 6884912"/>
              <a:gd name="connsiteY66" fmla="*/ 200276 h 1161397"/>
              <a:gd name="connsiteX67" fmla="*/ 3791246 w 6884912"/>
              <a:gd name="connsiteY67" fmla="*/ 189996 h 1161397"/>
              <a:gd name="connsiteX68" fmla="*/ 3819864 w 6884912"/>
              <a:gd name="connsiteY68" fmla="*/ 194605 h 1161397"/>
              <a:gd name="connsiteX69" fmla="*/ 3830398 w 6884912"/>
              <a:gd name="connsiteY69" fmla="*/ 188383 h 1161397"/>
              <a:gd name="connsiteX70" fmla="*/ 3834360 w 6884912"/>
              <a:gd name="connsiteY70" fmla="*/ 188992 h 1161397"/>
              <a:gd name="connsiteX71" fmla="*/ 3843715 w 6884912"/>
              <a:gd name="connsiteY71" fmla="*/ 188752 h 1161397"/>
              <a:gd name="connsiteX72" fmla="*/ 3842609 w 6884912"/>
              <a:gd name="connsiteY72" fmla="*/ 197386 h 1161397"/>
              <a:gd name="connsiteX73" fmla="*/ 3853961 w 6884912"/>
              <a:gd name="connsiteY73" fmla="*/ 213380 h 1161397"/>
              <a:gd name="connsiteX74" fmla="*/ 3907640 w 6884912"/>
              <a:gd name="connsiteY74" fmla="*/ 207568 h 1161397"/>
              <a:gd name="connsiteX75" fmla="*/ 3910449 w 6884912"/>
              <a:gd name="connsiteY75" fmla="*/ 197808 h 1161397"/>
              <a:gd name="connsiteX76" fmla="*/ 3917197 w 6884912"/>
              <a:gd name="connsiteY76" fmla="*/ 196121 h 1161397"/>
              <a:gd name="connsiteX77" fmla="*/ 3922400 w 6884912"/>
              <a:gd name="connsiteY77" fmla="*/ 205056 h 1161397"/>
              <a:gd name="connsiteX78" fmla="*/ 4013061 w 6884912"/>
              <a:gd name="connsiteY78" fmla="*/ 224874 h 1161397"/>
              <a:gd name="connsiteX79" fmla="*/ 4134285 w 6884912"/>
              <a:gd name="connsiteY79" fmla="*/ 235592 h 1161397"/>
              <a:gd name="connsiteX80" fmla="*/ 4220717 w 6884912"/>
              <a:gd name="connsiteY80" fmla="*/ 192946 h 1161397"/>
              <a:gd name="connsiteX81" fmla="*/ 4228802 w 6884912"/>
              <a:gd name="connsiteY81" fmla="*/ 201468 h 1161397"/>
              <a:gd name="connsiteX82" fmla="*/ 4289361 w 6884912"/>
              <a:gd name="connsiteY82" fmla="*/ 196642 h 1161397"/>
              <a:gd name="connsiteX83" fmla="*/ 4498913 w 6884912"/>
              <a:gd name="connsiteY83" fmla="*/ 118915 h 1161397"/>
              <a:gd name="connsiteX84" fmla="*/ 4617330 w 6884912"/>
              <a:gd name="connsiteY84" fmla="*/ 111163 h 1161397"/>
              <a:gd name="connsiteX85" fmla="*/ 4659778 w 6884912"/>
              <a:gd name="connsiteY85" fmla="*/ 118219 h 1161397"/>
              <a:gd name="connsiteX86" fmla="*/ 4730870 w 6884912"/>
              <a:gd name="connsiteY86" fmla="*/ 129432 h 1161397"/>
              <a:gd name="connsiteX87" fmla="*/ 4785037 w 6884912"/>
              <a:gd name="connsiteY87" fmla="*/ 161964 h 1161397"/>
              <a:gd name="connsiteX88" fmla="*/ 4844073 w 6884912"/>
              <a:gd name="connsiteY88" fmla="*/ 161768 h 1161397"/>
              <a:gd name="connsiteX89" fmla="*/ 4856454 w 6884912"/>
              <a:gd name="connsiteY89" fmla="*/ 130488 h 1161397"/>
              <a:gd name="connsiteX90" fmla="*/ 4920038 w 6884912"/>
              <a:gd name="connsiteY90" fmla="*/ 140418 h 1161397"/>
              <a:gd name="connsiteX91" fmla="*/ 5016639 w 6884912"/>
              <a:gd name="connsiteY91" fmla="*/ 158905 h 1161397"/>
              <a:gd name="connsiteX92" fmla="*/ 5072009 w 6884912"/>
              <a:gd name="connsiteY92" fmla="*/ 161502 h 1161397"/>
              <a:gd name="connsiteX93" fmla="*/ 5223626 w 6884912"/>
              <a:gd name="connsiteY93" fmla="*/ 177356 h 1161397"/>
              <a:gd name="connsiteX94" fmla="*/ 5375773 w 6884912"/>
              <a:gd name="connsiteY94" fmla="*/ 199913 h 1161397"/>
              <a:gd name="connsiteX95" fmla="*/ 5467502 w 6884912"/>
              <a:gd name="connsiteY95" fmla="*/ 250963 h 1161397"/>
              <a:gd name="connsiteX96" fmla="*/ 5592395 w 6884912"/>
              <a:gd name="connsiteY96" fmla="*/ 265434 h 1161397"/>
              <a:gd name="connsiteX97" fmla="*/ 5613532 w 6884912"/>
              <a:gd name="connsiteY97" fmla="*/ 273379 h 1161397"/>
              <a:gd name="connsiteX98" fmla="*/ 5642173 w 6884912"/>
              <a:gd name="connsiteY98" fmla="*/ 266904 h 1161397"/>
              <a:gd name="connsiteX99" fmla="*/ 5756910 w 6884912"/>
              <a:gd name="connsiteY99" fmla="*/ 239211 h 1161397"/>
              <a:gd name="connsiteX100" fmla="*/ 5846667 w 6884912"/>
              <a:gd name="connsiteY100" fmla="*/ 201786 h 1161397"/>
              <a:gd name="connsiteX101" fmla="*/ 5960732 w 6884912"/>
              <a:gd name="connsiteY101" fmla="*/ 220708 h 1161397"/>
              <a:gd name="connsiteX102" fmla="*/ 6029542 w 6884912"/>
              <a:gd name="connsiteY102" fmla="*/ 210339 h 1161397"/>
              <a:gd name="connsiteX103" fmla="*/ 6141123 w 6884912"/>
              <a:gd name="connsiteY103" fmla="*/ 159923 h 1161397"/>
              <a:gd name="connsiteX104" fmla="*/ 6290640 w 6884912"/>
              <a:gd name="connsiteY104" fmla="*/ 167441 h 1161397"/>
              <a:gd name="connsiteX105" fmla="*/ 6322806 w 6884912"/>
              <a:gd name="connsiteY105" fmla="*/ 213293 h 1161397"/>
              <a:gd name="connsiteX106" fmla="*/ 6364914 w 6884912"/>
              <a:gd name="connsiteY106" fmla="*/ 240140 h 1161397"/>
              <a:gd name="connsiteX107" fmla="*/ 6380420 w 6884912"/>
              <a:gd name="connsiteY107" fmla="*/ 173195 h 1161397"/>
              <a:gd name="connsiteX108" fmla="*/ 6507891 w 6884912"/>
              <a:gd name="connsiteY108" fmla="*/ 118474 h 1161397"/>
              <a:gd name="connsiteX109" fmla="*/ 6571807 w 6884912"/>
              <a:gd name="connsiteY109" fmla="*/ 98636 h 1161397"/>
              <a:gd name="connsiteX110" fmla="*/ 6671880 w 6884912"/>
              <a:gd name="connsiteY110" fmla="*/ 82931 h 1161397"/>
              <a:gd name="connsiteX111" fmla="*/ 6702266 w 6884912"/>
              <a:gd name="connsiteY111" fmla="*/ 75470 h 1161397"/>
              <a:gd name="connsiteX112" fmla="*/ 6845802 w 6884912"/>
              <a:gd name="connsiteY112" fmla="*/ 24496 h 116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6884912" h="1161397">
                <a:moveTo>
                  <a:pt x="6884912" y="0"/>
                </a:moveTo>
                <a:lnTo>
                  <a:pt x="6884912" y="1161397"/>
                </a:lnTo>
                <a:lnTo>
                  <a:pt x="0" y="1161397"/>
                </a:lnTo>
                <a:lnTo>
                  <a:pt x="27135" y="1147460"/>
                </a:lnTo>
                <a:cubicBezTo>
                  <a:pt x="57431" y="1167048"/>
                  <a:pt x="61886" y="1135904"/>
                  <a:pt x="115388" y="1159043"/>
                </a:cubicBezTo>
                <a:cubicBezTo>
                  <a:pt x="116121" y="1155340"/>
                  <a:pt x="117370" y="1151777"/>
                  <a:pt x="119094" y="1148463"/>
                </a:cubicBezTo>
                <a:cubicBezTo>
                  <a:pt x="129121" y="1129214"/>
                  <a:pt x="152727" y="1122391"/>
                  <a:pt x="171824" y="1133224"/>
                </a:cubicBezTo>
                <a:cubicBezTo>
                  <a:pt x="254344" y="1161369"/>
                  <a:pt x="315458" y="1143220"/>
                  <a:pt x="376455" y="1137381"/>
                </a:cubicBezTo>
                <a:cubicBezTo>
                  <a:pt x="443775" y="1125614"/>
                  <a:pt x="382885" y="1083927"/>
                  <a:pt x="478946" y="1106011"/>
                </a:cubicBezTo>
                <a:cubicBezTo>
                  <a:pt x="481662" y="1085172"/>
                  <a:pt x="491731" y="1081489"/>
                  <a:pt x="512111" y="1085599"/>
                </a:cubicBezTo>
                <a:cubicBezTo>
                  <a:pt x="544368" y="1078502"/>
                  <a:pt x="526559" y="1032754"/>
                  <a:pt x="567875" y="1051976"/>
                </a:cubicBezTo>
                <a:cubicBezTo>
                  <a:pt x="553871" y="1028602"/>
                  <a:pt x="624901" y="1025930"/>
                  <a:pt x="601644" y="1003997"/>
                </a:cubicBezTo>
                <a:cubicBezTo>
                  <a:pt x="614803" y="975652"/>
                  <a:pt x="637415" y="1010272"/>
                  <a:pt x="651408" y="984938"/>
                </a:cubicBezTo>
                <a:cubicBezTo>
                  <a:pt x="673042" y="974024"/>
                  <a:pt x="646948" y="1015207"/>
                  <a:pt x="673197" y="1010060"/>
                </a:cubicBezTo>
                <a:cubicBezTo>
                  <a:pt x="703527" y="999318"/>
                  <a:pt x="718626" y="1045053"/>
                  <a:pt x="723108" y="980081"/>
                </a:cubicBezTo>
                <a:cubicBezTo>
                  <a:pt x="760262" y="985126"/>
                  <a:pt x="757827" y="957145"/>
                  <a:pt x="797699" y="931362"/>
                </a:cubicBezTo>
                <a:cubicBezTo>
                  <a:pt x="821097" y="940623"/>
                  <a:pt x="833565" y="929189"/>
                  <a:pt x="843359" y="910894"/>
                </a:cubicBezTo>
                <a:cubicBezTo>
                  <a:pt x="887668" y="902160"/>
                  <a:pt x="919738" y="869376"/>
                  <a:pt x="965215" y="846701"/>
                </a:cubicBezTo>
                <a:cubicBezTo>
                  <a:pt x="1023081" y="848019"/>
                  <a:pt x="1036422" y="800154"/>
                  <a:pt x="1085080" y="776086"/>
                </a:cubicBezTo>
                <a:cubicBezTo>
                  <a:pt x="1140763" y="795544"/>
                  <a:pt x="1110309" y="730471"/>
                  <a:pt x="1131224" y="706160"/>
                </a:cubicBezTo>
                <a:lnTo>
                  <a:pt x="1138051" y="702034"/>
                </a:lnTo>
                <a:lnTo>
                  <a:pt x="1158800" y="700004"/>
                </a:lnTo>
                <a:lnTo>
                  <a:pt x="1166947" y="700762"/>
                </a:lnTo>
                <a:cubicBezTo>
                  <a:pt x="1172432" y="700717"/>
                  <a:pt x="1175913" y="699961"/>
                  <a:pt x="1178135" y="698631"/>
                </a:cubicBezTo>
                <a:lnTo>
                  <a:pt x="1178301" y="698094"/>
                </a:lnTo>
                <a:lnTo>
                  <a:pt x="1188995" y="697048"/>
                </a:lnTo>
                <a:cubicBezTo>
                  <a:pt x="1207294" y="696390"/>
                  <a:pt x="1225337" y="696802"/>
                  <a:pt x="1242716" y="698052"/>
                </a:cubicBezTo>
                <a:cubicBezTo>
                  <a:pt x="1250387" y="668345"/>
                  <a:pt x="1318259" y="689091"/>
                  <a:pt x="1299977" y="639196"/>
                </a:cubicBezTo>
                <a:cubicBezTo>
                  <a:pt x="1323072" y="639367"/>
                  <a:pt x="1341279" y="658105"/>
                  <a:pt x="1326190" y="625955"/>
                </a:cubicBezTo>
                <a:cubicBezTo>
                  <a:pt x="1333572" y="625050"/>
                  <a:pt x="1337406" y="621362"/>
                  <a:pt x="1339600" y="616295"/>
                </a:cubicBezTo>
                <a:lnTo>
                  <a:pt x="1340054" y="614022"/>
                </a:lnTo>
                <a:lnTo>
                  <a:pt x="1391606" y="615229"/>
                </a:lnTo>
                <a:lnTo>
                  <a:pt x="1397565" y="611490"/>
                </a:lnTo>
                <a:lnTo>
                  <a:pt x="1432302" y="617267"/>
                </a:lnTo>
                <a:lnTo>
                  <a:pt x="1449644" y="617591"/>
                </a:lnTo>
                <a:lnTo>
                  <a:pt x="1455793" y="623174"/>
                </a:lnTo>
                <a:cubicBezTo>
                  <a:pt x="1461744" y="626151"/>
                  <a:pt x="1469373" y="626493"/>
                  <a:pt x="1480758" y="620863"/>
                </a:cubicBezTo>
                <a:lnTo>
                  <a:pt x="1483154" y="618527"/>
                </a:lnTo>
                <a:lnTo>
                  <a:pt x="1505495" y="624325"/>
                </a:lnTo>
                <a:cubicBezTo>
                  <a:pt x="1512992" y="627532"/>
                  <a:pt x="1520025" y="632078"/>
                  <a:pt x="1526340" y="638496"/>
                </a:cubicBezTo>
                <a:cubicBezTo>
                  <a:pt x="1586113" y="586768"/>
                  <a:pt x="1659006" y="610309"/>
                  <a:pt x="1731986" y="589682"/>
                </a:cubicBezTo>
                <a:cubicBezTo>
                  <a:pt x="1750397" y="523106"/>
                  <a:pt x="1896056" y="573257"/>
                  <a:pt x="1927935" y="628540"/>
                </a:cubicBezTo>
                <a:cubicBezTo>
                  <a:pt x="1912854" y="559823"/>
                  <a:pt x="2112261" y="676347"/>
                  <a:pt x="2039075" y="599964"/>
                </a:cubicBezTo>
                <a:cubicBezTo>
                  <a:pt x="2066036" y="601198"/>
                  <a:pt x="2086366" y="569532"/>
                  <a:pt x="2066980" y="550413"/>
                </a:cubicBezTo>
                <a:cubicBezTo>
                  <a:pt x="2155364" y="582582"/>
                  <a:pt x="2259548" y="514786"/>
                  <a:pt x="2352236" y="519602"/>
                </a:cubicBezTo>
                <a:cubicBezTo>
                  <a:pt x="2388450" y="459394"/>
                  <a:pt x="2373298" y="511682"/>
                  <a:pt x="2420791" y="492826"/>
                </a:cubicBezTo>
                <a:cubicBezTo>
                  <a:pt x="2417962" y="542563"/>
                  <a:pt x="2475071" y="455098"/>
                  <a:pt x="2489932" y="507864"/>
                </a:cubicBezTo>
                <a:cubicBezTo>
                  <a:pt x="2498105" y="502761"/>
                  <a:pt x="2505553" y="496153"/>
                  <a:pt x="2512917" y="489127"/>
                </a:cubicBezTo>
                <a:lnTo>
                  <a:pt x="2516783" y="485473"/>
                </a:lnTo>
                <a:lnTo>
                  <a:pt x="2534360" y="480064"/>
                </a:lnTo>
                <a:lnTo>
                  <a:pt x="2536691" y="467018"/>
                </a:lnTo>
                <a:lnTo>
                  <a:pt x="2561265" y="450623"/>
                </a:lnTo>
                <a:cubicBezTo>
                  <a:pt x="2570872" y="446262"/>
                  <a:pt x="2581686" y="443655"/>
                  <a:pt x="2594349" y="443884"/>
                </a:cubicBezTo>
                <a:cubicBezTo>
                  <a:pt x="2640435" y="464638"/>
                  <a:pt x="2696955" y="396361"/>
                  <a:pt x="2754324" y="424766"/>
                </a:cubicBezTo>
                <a:cubicBezTo>
                  <a:pt x="2775130" y="430896"/>
                  <a:pt x="2837731" y="423458"/>
                  <a:pt x="2848470" y="405966"/>
                </a:cubicBezTo>
                <a:cubicBezTo>
                  <a:pt x="2861295" y="401100"/>
                  <a:pt x="2876936" y="405309"/>
                  <a:pt x="2881772" y="387260"/>
                </a:cubicBezTo>
                <a:cubicBezTo>
                  <a:pt x="2890299" y="365261"/>
                  <a:pt x="2938134" y="392997"/>
                  <a:pt x="2929932" y="368912"/>
                </a:cubicBezTo>
                <a:cubicBezTo>
                  <a:pt x="2963844" y="387799"/>
                  <a:pt x="2986550" y="341223"/>
                  <a:pt x="3013020" y="327578"/>
                </a:cubicBezTo>
                <a:cubicBezTo>
                  <a:pt x="3040041" y="346996"/>
                  <a:pt x="3068934" y="299222"/>
                  <a:pt x="3127968" y="287613"/>
                </a:cubicBezTo>
                <a:cubicBezTo>
                  <a:pt x="3157770" y="310215"/>
                  <a:pt x="3167695" y="279445"/>
                  <a:pt x="3222191" y="307887"/>
                </a:cubicBezTo>
                <a:cubicBezTo>
                  <a:pt x="3223593" y="304249"/>
                  <a:pt x="3225533" y="300801"/>
                  <a:pt x="3227953" y="297650"/>
                </a:cubicBezTo>
                <a:cubicBezTo>
                  <a:pt x="3242008" y="279345"/>
                  <a:pt x="3268831" y="274825"/>
                  <a:pt x="3287859" y="287558"/>
                </a:cubicBezTo>
                <a:cubicBezTo>
                  <a:pt x="3373144" y="323866"/>
                  <a:pt x="3442657" y="311681"/>
                  <a:pt x="3510042" y="311820"/>
                </a:cubicBezTo>
                <a:cubicBezTo>
                  <a:pt x="3585274" y="306641"/>
                  <a:pt x="3525753" y="258887"/>
                  <a:pt x="3626773" y="290452"/>
                </a:cubicBezTo>
                <a:cubicBezTo>
                  <a:pt x="3633124" y="269835"/>
                  <a:pt x="3644693" y="267134"/>
                  <a:pt x="3666217" y="273255"/>
                </a:cubicBezTo>
                <a:cubicBezTo>
                  <a:pt x="3702502" y="269310"/>
                  <a:pt x="3690563" y="221720"/>
                  <a:pt x="3732427" y="245039"/>
                </a:cubicBezTo>
                <a:cubicBezTo>
                  <a:pt x="3720985" y="220241"/>
                  <a:pt x="3798776" y="224539"/>
                  <a:pt x="3777022" y="200276"/>
                </a:cubicBezTo>
                <a:cubicBezTo>
                  <a:pt x="3781759" y="193499"/>
                  <a:pt x="3786499" y="190723"/>
                  <a:pt x="3791246" y="189996"/>
                </a:cubicBezTo>
                <a:cubicBezTo>
                  <a:pt x="3800740" y="188542"/>
                  <a:pt x="3810265" y="195284"/>
                  <a:pt x="3819864" y="194605"/>
                </a:cubicBezTo>
                <a:lnTo>
                  <a:pt x="3830398" y="188383"/>
                </a:lnTo>
                <a:lnTo>
                  <a:pt x="3834360" y="188992"/>
                </a:lnTo>
                <a:lnTo>
                  <a:pt x="3843715" y="188752"/>
                </a:lnTo>
                <a:lnTo>
                  <a:pt x="3842609" y="197386"/>
                </a:lnTo>
                <a:cubicBezTo>
                  <a:pt x="3840673" y="205638"/>
                  <a:pt x="3839248" y="214671"/>
                  <a:pt x="3853961" y="213380"/>
                </a:cubicBezTo>
                <a:cubicBezTo>
                  <a:pt x="3884396" y="206569"/>
                  <a:pt x="3895082" y="241941"/>
                  <a:pt x="3907640" y="207568"/>
                </a:cubicBezTo>
                <a:lnTo>
                  <a:pt x="3910449" y="197808"/>
                </a:lnTo>
                <a:lnTo>
                  <a:pt x="3917197" y="196121"/>
                </a:lnTo>
                <a:cubicBezTo>
                  <a:pt x="3920833" y="196372"/>
                  <a:pt x="3922919" y="198717"/>
                  <a:pt x="3922400" y="205056"/>
                </a:cubicBezTo>
                <a:cubicBezTo>
                  <a:pt x="3950680" y="178467"/>
                  <a:pt x="3984062" y="218098"/>
                  <a:pt x="4013061" y="224874"/>
                </a:cubicBezTo>
                <a:cubicBezTo>
                  <a:pt x="4034530" y="199451"/>
                  <a:pt x="4074202" y="238734"/>
                  <a:pt x="4134285" y="235592"/>
                </a:cubicBezTo>
                <a:cubicBezTo>
                  <a:pt x="4157674" y="206403"/>
                  <a:pt x="4174806" y="233822"/>
                  <a:pt x="4220717" y="192946"/>
                </a:cubicBezTo>
                <a:cubicBezTo>
                  <a:pt x="4222964" y="196132"/>
                  <a:pt x="4225687" y="199002"/>
                  <a:pt x="4228802" y="201468"/>
                </a:cubicBezTo>
                <a:cubicBezTo>
                  <a:pt x="4246898" y="215792"/>
                  <a:pt x="4274013" y="213632"/>
                  <a:pt x="4289361" y="196642"/>
                </a:cubicBezTo>
                <a:cubicBezTo>
                  <a:pt x="4363212" y="140627"/>
                  <a:pt x="4433598" y="135488"/>
                  <a:pt x="4498913" y="118915"/>
                </a:cubicBezTo>
                <a:cubicBezTo>
                  <a:pt x="4573135" y="105586"/>
                  <a:pt x="4527062" y="166416"/>
                  <a:pt x="4617330" y="111163"/>
                </a:cubicBezTo>
                <a:cubicBezTo>
                  <a:pt x="4628518" y="129608"/>
                  <a:pt x="4640397" y="129405"/>
                  <a:pt x="4659778" y="118219"/>
                </a:cubicBezTo>
                <a:cubicBezTo>
                  <a:pt x="4695929" y="113193"/>
                  <a:pt x="4695958" y="162259"/>
                  <a:pt x="4730870" y="129432"/>
                </a:cubicBezTo>
                <a:cubicBezTo>
                  <a:pt x="4725822" y="156271"/>
                  <a:pt x="4800214" y="133127"/>
                  <a:pt x="4785037" y="161964"/>
                </a:cubicBezTo>
                <a:cubicBezTo>
                  <a:pt x="4810025" y="183633"/>
                  <a:pt x="4819434" y="143205"/>
                  <a:pt x="4844073" y="161768"/>
                </a:cubicBezTo>
                <a:cubicBezTo>
                  <a:pt x="4870797" y="164132"/>
                  <a:pt x="4827288" y="135164"/>
                  <a:pt x="4856454" y="130488"/>
                </a:cubicBezTo>
                <a:cubicBezTo>
                  <a:pt x="4892086" y="129553"/>
                  <a:pt x="4889263" y="81477"/>
                  <a:pt x="4920038" y="140418"/>
                </a:cubicBezTo>
                <a:cubicBezTo>
                  <a:pt x="4956358" y="122308"/>
                  <a:pt x="4965108" y="149263"/>
                  <a:pt x="5016639" y="158905"/>
                </a:cubicBezTo>
                <a:cubicBezTo>
                  <a:pt x="5037063" y="141828"/>
                  <a:pt x="5054534" y="147986"/>
                  <a:pt x="5072009" y="161502"/>
                </a:cubicBezTo>
                <a:cubicBezTo>
                  <a:pt x="5121260" y="153653"/>
                  <a:pt x="5167555" y="172635"/>
                  <a:pt x="5223626" y="177356"/>
                </a:cubicBezTo>
                <a:cubicBezTo>
                  <a:pt x="5282824" y="155243"/>
                  <a:pt x="5315859" y="195041"/>
                  <a:pt x="5375773" y="199913"/>
                </a:cubicBezTo>
                <a:cubicBezTo>
                  <a:pt x="5432511" y="156218"/>
                  <a:pt x="5417550" y="256036"/>
                  <a:pt x="5467502" y="250963"/>
                </a:cubicBezTo>
                <a:cubicBezTo>
                  <a:pt x="5547124" y="209975"/>
                  <a:pt x="5467171" y="283839"/>
                  <a:pt x="5592395" y="265434"/>
                </a:cubicBezTo>
                <a:cubicBezTo>
                  <a:pt x="5599201" y="258867"/>
                  <a:pt x="5614752" y="264706"/>
                  <a:pt x="5613532" y="273379"/>
                </a:cubicBezTo>
                <a:cubicBezTo>
                  <a:pt x="5621390" y="270408"/>
                  <a:pt x="5639720" y="253173"/>
                  <a:pt x="5642173" y="266904"/>
                </a:cubicBezTo>
                <a:cubicBezTo>
                  <a:pt x="5682296" y="267049"/>
                  <a:pt x="5721812" y="257513"/>
                  <a:pt x="5756910" y="239211"/>
                </a:cubicBezTo>
                <a:cubicBezTo>
                  <a:pt x="5834998" y="260050"/>
                  <a:pt x="5790596" y="197229"/>
                  <a:pt x="5846667" y="201786"/>
                </a:cubicBezTo>
                <a:cubicBezTo>
                  <a:pt x="5892444" y="227312"/>
                  <a:pt x="5908324" y="204527"/>
                  <a:pt x="5960732" y="220708"/>
                </a:cubicBezTo>
                <a:cubicBezTo>
                  <a:pt x="5977124" y="175349"/>
                  <a:pt x="6009640" y="223654"/>
                  <a:pt x="6029542" y="210339"/>
                </a:cubicBezTo>
                <a:cubicBezTo>
                  <a:pt x="6063108" y="261420"/>
                  <a:pt x="6107411" y="160034"/>
                  <a:pt x="6141123" y="159923"/>
                </a:cubicBezTo>
                <a:cubicBezTo>
                  <a:pt x="6198068" y="167749"/>
                  <a:pt x="6260628" y="219715"/>
                  <a:pt x="6290640" y="167441"/>
                </a:cubicBezTo>
                <a:cubicBezTo>
                  <a:pt x="6295193" y="188689"/>
                  <a:pt x="6290494" y="217816"/>
                  <a:pt x="6322806" y="213293"/>
                </a:cubicBezTo>
                <a:cubicBezTo>
                  <a:pt x="6335911" y="223881"/>
                  <a:pt x="6338726" y="256581"/>
                  <a:pt x="6364914" y="240140"/>
                </a:cubicBezTo>
                <a:cubicBezTo>
                  <a:pt x="6331888" y="211628"/>
                  <a:pt x="6385856" y="207033"/>
                  <a:pt x="6380420" y="173195"/>
                </a:cubicBezTo>
                <a:cubicBezTo>
                  <a:pt x="6420580" y="151473"/>
                  <a:pt x="6513519" y="179296"/>
                  <a:pt x="6507891" y="118474"/>
                </a:cubicBezTo>
                <a:cubicBezTo>
                  <a:pt x="6519398" y="82452"/>
                  <a:pt x="6571830" y="137398"/>
                  <a:pt x="6571807" y="98636"/>
                </a:cubicBezTo>
                <a:cubicBezTo>
                  <a:pt x="6594702" y="123421"/>
                  <a:pt x="6634676" y="82071"/>
                  <a:pt x="6671880" y="82931"/>
                </a:cubicBezTo>
                <a:cubicBezTo>
                  <a:pt x="6678855" y="65407"/>
                  <a:pt x="6687415" y="66196"/>
                  <a:pt x="6702266" y="75470"/>
                </a:cubicBezTo>
                <a:cubicBezTo>
                  <a:pt x="6747004" y="78450"/>
                  <a:pt x="6798307" y="53072"/>
                  <a:pt x="6845802" y="24496"/>
                </a:cubicBezTo>
                <a:close/>
              </a:path>
            </a:pathLst>
          </a:custGeom>
          <a:solidFill>
            <a:srgbClr val="82766A">
              <a:alpha val="15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Bembo"/>
              <a:ea typeface="+mn-ea"/>
              <a:cs typeface="+mn-cs"/>
            </a:endParaRPr>
          </a:p>
        </p:txBody>
      </p:sp>
      <p:sp>
        <p:nvSpPr>
          <p:cNvPr id="28" name="Picture Placeholder 27">
            <a:extLst>
              <a:ext uri="{FF2B5EF4-FFF2-40B4-BE49-F238E27FC236}">
                <a16:creationId xmlns:a16="http://schemas.microsoft.com/office/drawing/2014/main" id="{060A91FF-3B21-462D-B567-F4D5ED785DC5}"/>
              </a:ext>
            </a:extLst>
          </p:cNvPr>
          <p:cNvSpPr>
            <a:spLocks noGrp="1"/>
          </p:cNvSpPr>
          <p:nvPr>
            <p:ph type="pic" sz="quarter" idx="13" hasCustomPrompt="1"/>
          </p:nvPr>
        </p:nvSpPr>
        <p:spPr>
          <a:xfrm>
            <a:off x="0" y="0"/>
            <a:ext cx="12192000" cy="6857999"/>
          </a:xfrm>
          <a:custGeom>
            <a:avLst/>
            <a:gdLst>
              <a:gd name="connsiteX0" fmla="*/ 0 w 12191999"/>
              <a:gd name="connsiteY0" fmla="*/ 0 h 6857999"/>
              <a:gd name="connsiteX1" fmla="*/ 2 w 12191999"/>
              <a:gd name="connsiteY1" fmla="*/ 0 h 6857999"/>
              <a:gd name="connsiteX2" fmla="*/ 2 w 12191999"/>
              <a:gd name="connsiteY2" fmla="*/ 709238 h 6857999"/>
              <a:gd name="connsiteX3" fmla="*/ 20721 w 12191999"/>
              <a:gd name="connsiteY3" fmla="*/ 710997 h 6857999"/>
              <a:gd name="connsiteX4" fmla="*/ 40086 w 12191999"/>
              <a:gd name="connsiteY4" fmla="*/ 720866 h 6857999"/>
              <a:gd name="connsiteX5" fmla="*/ 101741 w 12191999"/>
              <a:gd name="connsiteY5" fmla="*/ 722718 h 6857999"/>
              <a:gd name="connsiteX6" fmla="*/ 280675 w 12191999"/>
              <a:gd name="connsiteY6" fmla="*/ 733646 h 6857999"/>
              <a:gd name="connsiteX7" fmla="*/ 476501 w 12191999"/>
              <a:gd name="connsiteY7" fmla="*/ 697773 h 6857999"/>
              <a:gd name="connsiteX8" fmla="*/ 591588 w 12191999"/>
              <a:gd name="connsiteY8" fmla="*/ 702351 h 6857999"/>
              <a:gd name="connsiteX9" fmla="*/ 649354 w 12191999"/>
              <a:gd name="connsiteY9" fmla="*/ 693969 h 6857999"/>
              <a:gd name="connsiteX10" fmla="*/ 686510 w 12191999"/>
              <a:gd name="connsiteY10" fmla="*/ 697922 h 6857999"/>
              <a:gd name="connsiteX11" fmla="*/ 709181 w 12191999"/>
              <a:gd name="connsiteY11" fmla="*/ 698967 h 6857999"/>
              <a:gd name="connsiteX12" fmla="*/ 754929 w 12191999"/>
              <a:gd name="connsiteY12" fmla="*/ 678629 h 6857999"/>
              <a:gd name="connsiteX13" fmla="*/ 945623 w 12191999"/>
              <a:gd name="connsiteY13" fmla="*/ 682227 h 6857999"/>
              <a:gd name="connsiteX14" fmla="*/ 1226644 w 12191999"/>
              <a:gd name="connsiteY14" fmla="*/ 677593 h 6857999"/>
              <a:gd name="connsiteX15" fmla="*/ 1282583 w 12191999"/>
              <a:gd name="connsiteY15" fmla="*/ 682895 h 6857999"/>
              <a:gd name="connsiteX16" fmla="*/ 1373712 w 12191999"/>
              <a:gd name="connsiteY16" fmla="*/ 657154 h 6857999"/>
              <a:gd name="connsiteX17" fmla="*/ 1485240 w 12191999"/>
              <a:gd name="connsiteY17" fmla="*/ 631530 h 6857999"/>
              <a:gd name="connsiteX18" fmla="*/ 1508194 w 12191999"/>
              <a:gd name="connsiteY18" fmla="*/ 628664 h 6857999"/>
              <a:gd name="connsiteX19" fmla="*/ 1575268 w 12191999"/>
              <a:gd name="connsiteY19" fmla="*/ 624111 h 6857999"/>
              <a:gd name="connsiteX20" fmla="*/ 1679712 w 12191999"/>
              <a:gd name="connsiteY20" fmla="*/ 621298 h 6857999"/>
              <a:gd name="connsiteX21" fmla="*/ 1762318 w 12191999"/>
              <a:gd name="connsiteY21" fmla="*/ 636211 h 6857999"/>
              <a:gd name="connsiteX22" fmla="*/ 1813551 w 12191999"/>
              <a:gd name="connsiteY22" fmla="*/ 633002 h 6857999"/>
              <a:gd name="connsiteX23" fmla="*/ 1896737 w 12191999"/>
              <a:gd name="connsiteY23" fmla="*/ 647425 h 6857999"/>
              <a:gd name="connsiteX24" fmla="*/ 1964719 w 12191999"/>
              <a:gd name="connsiteY24" fmla="*/ 630175 h 6857999"/>
              <a:gd name="connsiteX25" fmla="*/ 2021621 w 12191999"/>
              <a:gd name="connsiteY25" fmla="*/ 623285 h 6857999"/>
              <a:gd name="connsiteX26" fmla="*/ 2072078 w 12191999"/>
              <a:gd name="connsiteY26" fmla="*/ 616623 h 6857999"/>
              <a:gd name="connsiteX27" fmla="*/ 2087280 w 12191999"/>
              <a:gd name="connsiteY27" fmla="*/ 621722 h 6857999"/>
              <a:gd name="connsiteX28" fmla="*/ 2243833 w 12191999"/>
              <a:gd name="connsiteY28" fmla="*/ 665285 h 6857999"/>
              <a:gd name="connsiteX29" fmla="*/ 2346628 w 12191999"/>
              <a:gd name="connsiteY29" fmla="*/ 662322 h 6857999"/>
              <a:gd name="connsiteX30" fmla="*/ 2465944 w 12191999"/>
              <a:gd name="connsiteY30" fmla="*/ 697144 h 6857999"/>
              <a:gd name="connsiteX31" fmla="*/ 2506642 w 12191999"/>
              <a:gd name="connsiteY31" fmla="*/ 700543 h 6857999"/>
              <a:gd name="connsiteX32" fmla="*/ 2576974 w 12191999"/>
              <a:gd name="connsiteY32" fmla="*/ 714103 h 6857999"/>
              <a:gd name="connsiteX33" fmla="*/ 2623375 w 12191999"/>
              <a:gd name="connsiteY33" fmla="*/ 721805 h 6857999"/>
              <a:gd name="connsiteX34" fmla="*/ 2634012 w 12191999"/>
              <a:gd name="connsiteY34" fmla="*/ 705148 h 6857999"/>
              <a:gd name="connsiteX35" fmla="*/ 2677548 w 12191999"/>
              <a:gd name="connsiteY35" fmla="*/ 707152 h 6857999"/>
              <a:gd name="connsiteX36" fmla="*/ 2715917 w 12191999"/>
              <a:gd name="connsiteY36" fmla="*/ 726873 h 6857999"/>
              <a:gd name="connsiteX37" fmla="*/ 2767791 w 12191999"/>
              <a:gd name="connsiteY37" fmla="*/ 735544 h 6857999"/>
              <a:gd name="connsiteX38" fmla="*/ 2798747 w 12191999"/>
              <a:gd name="connsiteY38" fmla="*/ 724332 h 6857999"/>
              <a:gd name="connsiteX39" fmla="*/ 2882282 w 12191999"/>
              <a:gd name="connsiteY39" fmla="*/ 724328 h 6857999"/>
              <a:gd name="connsiteX40" fmla="*/ 3003209 w 12191999"/>
              <a:gd name="connsiteY40" fmla="*/ 710063 h 6857999"/>
              <a:gd name="connsiteX41" fmla="*/ 3056384 w 12191999"/>
              <a:gd name="connsiteY41" fmla="*/ 705444 h 6857999"/>
              <a:gd name="connsiteX42" fmla="*/ 3095110 w 12191999"/>
              <a:gd name="connsiteY42" fmla="*/ 710392 h 6857999"/>
              <a:gd name="connsiteX43" fmla="*/ 3181626 w 12191999"/>
              <a:gd name="connsiteY43" fmla="*/ 702609 h 6857999"/>
              <a:gd name="connsiteX44" fmla="*/ 3249753 w 12191999"/>
              <a:gd name="connsiteY44" fmla="*/ 700362 h 6857999"/>
              <a:gd name="connsiteX45" fmla="*/ 3315641 w 12191999"/>
              <a:gd name="connsiteY45" fmla="*/ 714437 h 6857999"/>
              <a:gd name="connsiteX46" fmla="*/ 3319046 w 12191999"/>
              <a:gd name="connsiteY46" fmla="*/ 719507 h 6857999"/>
              <a:gd name="connsiteX47" fmla="*/ 3324103 w 12191999"/>
              <a:gd name="connsiteY47" fmla="*/ 718827 h 6857999"/>
              <a:gd name="connsiteX48" fmla="*/ 3326644 w 12191999"/>
              <a:gd name="connsiteY48" fmla="*/ 713591 h 6857999"/>
              <a:gd name="connsiteX49" fmla="*/ 3366502 w 12191999"/>
              <a:gd name="connsiteY49" fmla="*/ 712333 h 6857999"/>
              <a:gd name="connsiteX50" fmla="*/ 3374100 w 12191999"/>
              <a:gd name="connsiteY50" fmla="*/ 721483 h 6857999"/>
              <a:gd name="connsiteX51" fmla="*/ 3372868 w 12191999"/>
              <a:gd name="connsiteY51" fmla="*/ 726163 h 6857999"/>
              <a:gd name="connsiteX52" fmla="*/ 3411698 w 12191999"/>
              <a:gd name="connsiteY52" fmla="*/ 710254 h 6857999"/>
              <a:gd name="connsiteX53" fmla="*/ 3457634 w 12191999"/>
              <a:gd name="connsiteY53" fmla="*/ 699372 h 6857999"/>
              <a:gd name="connsiteX54" fmla="*/ 3507812 w 12191999"/>
              <a:gd name="connsiteY54" fmla="*/ 686314 h 6857999"/>
              <a:gd name="connsiteX55" fmla="*/ 3537722 w 12191999"/>
              <a:gd name="connsiteY55" fmla="*/ 678323 h 6857999"/>
              <a:gd name="connsiteX56" fmla="*/ 3616523 w 12191999"/>
              <a:gd name="connsiteY56" fmla="*/ 683255 h 6857999"/>
              <a:gd name="connsiteX57" fmla="*/ 3770873 w 12191999"/>
              <a:gd name="connsiteY57" fmla="*/ 692023 h 6857999"/>
              <a:gd name="connsiteX58" fmla="*/ 3815527 w 12191999"/>
              <a:gd name="connsiteY58" fmla="*/ 688648 h 6857999"/>
              <a:gd name="connsiteX59" fmla="*/ 3836857 w 12191999"/>
              <a:gd name="connsiteY59" fmla="*/ 683257 h 6857999"/>
              <a:gd name="connsiteX60" fmla="*/ 3992028 w 12191999"/>
              <a:gd name="connsiteY60" fmla="*/ 679972 h 6857999"/>
              <a:gd name="connsiteX61" fmla="*/ 4055281 w 12191999"/>
              <a:gd name="connsiteY61" fmla="*/ 660346 h 6857999"/>
              <a:gd name="connsiteX62" fmla="*/ 4141437 w 12191999"/>
              <a:gd name="connsiteY62" fmla="*/ 652038 h 6857999"/>
              <a:gd name="connsiteX63" fmla="*/ 4204035 w 12191999"/>
              <a:gd name="connsiteY63" fmla="*/ 644385 h 6857999"/>
              <a:gd name="connsiteX64" fmla="*/ 4289732 w 12191999"/>
              <a:gd name="connsiteY64" fmla="*/ 631360 h 6857999"/>
              <a:gd name="connsiteX65" fmla="*/ 4331035 w 12191999"/>
              <a:gd name="connsiteY65" fmla="*/ 628859 h 6857999"/>
              <a:gd name="connsiteX66" fmla="*/ 4349944 w 12191999"/>
              <a:gd name="connsiteY66" fmla="*/ 620774 h 6857999"/>
              <a:gd name="connsiteX67" fmla="*/ 4352292 w 12191999"/>
              <a:gd name="connsiteY67" fmla="*/ 613726 h 6857999"/>
              <a:gd name="connsiteX68" fmla="*/ 4365513 w 12191999"/>
              <a:gd name="connsiteY68" fmla="*/ 611397 h 6857999"/>
              <a:gd name="connsiteX69" fmla="*/ 4368539 w 12191999"/>
              <a:gd name="connsiteY69" fmla="*/ 609538 h 6857999"/>
              <a:gd name="connsiteX70" fmla="*/ 4386389 w 12191999"/>
              <a:gd name="connsiteY70" fmla="*/ 600117 h 6857999"/>
              <a:gd name="connsiteX71" fmla="*/ 4436641 w 12191999"/>
              <a:gd name="connsiteY71" fmla="*/ 610810 h 6857999"/>
              <a:gd name="connsiteX72" fmla="*/ 4534093 w 12191999"/>
              <a:gd name="connsiteY72" fmla="*/ 602769 h 6857999"/>
              <a:gd name="connsiteX73" fmla="*/ 4675398 w 12191999"/>
              <a:gd name="connsiteY73" fmla="*/ 596126 h 6857999"/>
              <a:gd name="connsiteX74" fmla="*/ 4752273 w 12191999"/>
              <a:gd name="connsiteY74" fmla="*/ 582476 h 6857999"/>
              <a:gd name="connsiteX75" fmla="*/ 4940870 w 12191999"/>
              <a:gd name="connsiteY75" fmla="*/ 582489 h 6857999"/>
              <a:gd name="connsiteX76" fmla="*/ 5049226 w 12191999"/>
              <a:gd name="connsiteY76" fmla="*/ 563156 h 6857999"/>
              <a:gd name="connsiteX77" fmla="*/ 5117822 w 12191999"/>
              <a:gd name="connsiteY77" fmla="*/ 571648 h 6857999"/>
              <a:gd name="connsiteX78" fmla="*/ 5134014 w 12191999"/>
              <a:gd name="connsiteY78" fmla="*/ 575617 h 6857999"/>
              <a:gd name="connsiteX79" fmla="*/ 5135893 w 12191999"/>
              <a:gd name="connsiteY79" fmla="*/ 574425 h 6857999"/>
              <a:gd name="connsiteX80" fmla="*/ 5154412 w 12191999"/>
              <a:gd name="connsiteY80" fmla="*/ 574054 h 6857999"/>
              <a:gd name="connsiteX81" fmla="*/ 5158675 w 12191999"/>
              <a:gd name="connsiteY81" fmla="*/ 577327 h 6857999"/>
              <a:gd name="connsiteX82" fmla="*/ 5171445 w 12191999"/>
              <a:gd name="connsiteY82" fmla="*/ 578124 h 6857999"/>
              <a:gd name="connsiteX83" fmla="*/ 5196779 w 12191999"/>
              <a:gd name="connsiteY83" fmla="*/ 582524 h 6857999"/>
              <a:gd name="connsiteX84" fmla="*/ 5201352 w 12191999"/>
              <a:gd name="connsiteY84" fmla="*/ 580693 h 6857999"/>
              <a:gd name="connsiteX85" fmla="*/ 5223160 w 12191999"/>
              <a:gd name="connsiteY85" fmla="*/ 573676 h 6857999"/>
              <a:gd name="connsiteX86" fmla="*/ 5250101 w 12191999"/>
              <a:gd name="connsiteY86" fmla="*/ 577168 h 6857999"/>
              <a:gd name="connsiteX87" fmla="*/ 5270065 w 12191999"/>
              <a:gd name="connsiteY87" fmla="*/ 570867 h 6857999"/>
              <a:gd name="connsiteX88" fmla="*/ 5315121 w 12191999"/>
              <a:gd name="connsiteY88" fmla="*/ 540739 h 6857999"/>
              <a:gd name="connsiteX89" fmla="*/ 5354682 w 12191999"/>
              <a:gd name="connsiteY89" fmla="*/ 543209 h 6857999"/>
              <a:gd name="connsiteX90" fmla="*/ 5362616 w 12191999"/>
              <a:gd name="connsiteY90" fmla="*/ 543019 h 6857999"/>
              <a:gd name="connsiteX91" fmla="*/ 5362765 w 12191999"/>
              <a:gd name="connsiteY91" fmla="*/ 542732 h 6857999"/>
              <a:gd name="connsiteX92" fmla="*/ 5368793 w 12191999"/>
              <a:gd name="connsiteY92" fmla="*/ 530233 h 6857999"/>
              <a:gd name="connsiteX93" fmla="*/ 5397715 w 12191999"/>
              <a:gd name="connsiteY93" fmla="*/ 540293 h 6857999"/>
              <a:gd name="connsiteX94" fmla="*/ 5435108 w 12191999"/>
              <a:gd name="connsiteY94" fmla="*/ 503716 h 6857999"/>
              <a:gd name="connsiteX95" fmla="*/ 5526889 w 12191999"/>
              <a:gd name="connsiteY95" fmla="*/ 469399 h 6857999"/>
              <a:gd name="connsiteX96" fmla="*/ 5619827 w 12191999"/>
              <a:gd name="connsiteY96" fmla="*/ 438663 h 6857999"/>
              <a:gd name="connsiteX97" fmla="*/ 5654480 w 12191999"/>
              <a:gd name="connsiteY97" fmla="*/ 429107 h 6857999"/>
              <a:gd name="connsiteX98" fmla="*/ 5704114 w 12191999"/>
              <a:gd name="connsiteY98" fmla="*/ 416768 h 6857999"/>
              <a:gd name="connsiteX99" fmla="*/ 5711823 w 12191999"/>
              <a:gd name="connsiteY99" fmla="*/ 405141 h 6857999"/>
              <a:gd name="connsiteX100" fmla="*/ 5764922 w 12191999"/>
              <a:gd name="connsiteY100" fmla="*/ 405049 h 6857999"/>
              <a:gd name="connsiteX101" fmla="*/ 5802531 w 12191999"/>
              <a:gd name="connsiteY101" fmla="*/ 396409 h 6857999"/>
              <a:gd name="connsiteX102" fmla="*/ 5829742 w 12191999"/>
              <a:gd name="connsiteY102" fmla="*/ 371388 h 6857999"/>
              <a:gd name="connsiteX103" fmla="*/ 5872478 w 12191999"/>
              <a:gd name="connsiteY103" fmla="*/ 355001 h 6857999"/>
              <a:gd name="connsiteX104" fmla="*/ 5897914 w 12191999"/>
              <a:gd name="connsiteY104" fmla="*/ 345028 h 6857999"/>
              <a:gd name="connsiteX105" fmla="*/ 5974993 w 12191999"/>
              <a:gd name="connsiteY105" fmla="*/ 331543 h 6857999"/>
              <a:gd name="connsiteX106" fmla="*/ 6115514 w 12191999"/>
              <a:gd name="connsiteY106" fmla="*/ 322246 h 6857999"/>
              <a:gd name="connsiteX107" fmla="*/ 6168520 w 12191999"/>
              <a:gd name="connsiteY107" fmla="*/ 329035 h 6857999"/>
              <a:gd name="connsiteX108" fmla="*/ 6233029 w 12191999"/>
              <a:gd name="connsiteY108" fmla="*/ 338523 h 6857999"/>
              <a:gd name="connsiteX109" fmla="*/ 6307773 w 12191999"/>
              <a:gd name="connsiteY109" fmla="*/ 314970 h 6857999"/>
              <a:gd name="connsiteX110" fmla="*/ 6361041 w 12191999"/>
              <a:gd name="connsiteY110" fmla="*/ 291190 h 6857999"/>
              <a:gd name="connsiteX111" fmla="*/ 6392259 w 12191999"/>
              <a:gd name="connsiteY111" fmla="*/ 280451 h 6857999"/>
              <a:gd name="connsiteX112" fmla="*/ 6413478 w 12191999"/>
              <a:gd name="connsiteY112" fmla="*/ 269758 h 6857999"/>
              <a:gd name="connsiteX113" fmla="*/ 6475549 w 12191999"/>
              <a:gd name="connsiteY113" fmla="*/ 258032 h 6857999"/>
              <a:gd name="connsiteX114" fmla="*/ 6581802 w 12191999"/>
              <a:gd name="connsiteY114" fmla="*/ 245073 h 6857999"/>
              <a:gd name="connsiteX115" fmla="*/ 6648011 w 12191999"/>
              <a:gd name="connsiteY115" fmla="*/ 208652 h 6857999"/>
              <a:gd name="connsiteX116" fmla="*/ 6695355 w 12191999"/>
              <a:gd name="connsiteY116" fmla="*/ 215700 h 6857999"/>
              <a:gd name="connsiteX117" fmla="*/ 6739754 w 12191999"/>
              <a:gd name="connsiteY117" fmla="*/ 200058 h 6857999"/>
              <a:gd name="connsiteX118" fmla="*/ 6883802 w 12191999"/>
              <a:gd name="connsiteY118" fmla="*/ 195317 h 6857999"/>
              <a:gd name="connsiteX119" fmla="*/ 6920245 w 12191999"/>
              <a:gd name="connsiteY119" fmla="*/ 163817 h 6857999"/>
              <a:gd name="connsiteX120" fmla="*/ 7018013 w 12191999"/>
              <a:gd name="connsiteY120" fmla="*/ 134069 h 6857999"/>
              <a:gd name="connsiteX121" fmla="*/ 7151964 w 12191999"/>
              <a:gd name="connsiteY121" fmla="*/ 135416 h 6857999"/>
              <a:gd name="connsiteX122" fmla="*/ 7270482 w 12191999"/>
              <a:gd name="connsiteY122" fmla="*/ 122186 h 6857999"/>
              <a:gd name="connsiteX123" fmla="*/ 7336265 w 12191999"/>
              <a:gd name="connsiteY123" fmla="*/ 114532 h 6857999"/>
              <a:gd name="connsiteX124" fmla="*/ 7422235 w 12191999"/>
              <a:gd name="connsiteY124" fmla="*/ 125766 h 6857999"/>
              <a:gd name="connsiteX125" fmla="*/ 7439026 w 12191999"/>
              <a:gd name="connsiteY125" fmla="*/ 118154 h 6857999"/>
              <a:gd name="connsiteX126" fmla="*/ 7473884 w 12191999"/>
              <a:gd name="connsiteY126" fmla="*/ 85275 h 6857999"/>
              <a:gd name="connsiteX127" fmla="*/ 7569638 w 12191999"/>
              <a:gd name="connsiteY127" fmla="*/ 51825 h 6857999"/>
              <a:gd name="connsiteX128" fmla="*/ 7640739 w 12191999"/>
              <a:gd name="connsiteY128" fmla="*/ 56879 h 6857999"/>
              <a:gd name="connsiteX129" fmla="*/ 7689494 w 12191999"/>
              <a:gd name="connsiteY129" fmla="*/ 23918 h 6857999"/>
              <a:gd name="connsiteX130" fmla="*/ 7712765 w 12191999"/>
              <a:gd name="connsiteY130" fmla="*/ 835 h 6857999"/>
              <a:gd name="connsiteX131" fmla="*/ 7726321 w 12191999"/>
              <a:gd name="connsiteY131" fmla="*/ 536 h 6857999"/>
              <a:gd name="connsiteX132" fmla="*/ 7770085 w 12191999"/>
              <a:gd name="connsiteY132" fmla="*/ 24975 h 6857999"/>
              <a:gd name="connsiteX133" fmla="*/ 7856241 w 12191999"/>
              <a:gd name="connsiteY133" fmla="*/ 17615 h 6857999"/>
              <a:gd name="connsiteX134" fmla="*/ 7880767 w 12191999"/>
              <a:gd name="connsiteY134" fmla="*/ 4315 h 6857999"/>
              <a:gd name="connsiteX135" fmla="*/ 7890122 w 12191999"/>
              <a:gd name="connsiteY135" fmla="*/ 0 h 6857999"/>
              <a:gd name="connsiteX136" fmla="*/ 12191999 w 12191999"/>
              <a:gd name="connsiteY136" fmla="*/ 0 h 6857999"/>
              <a:gd name="connsiteX137" fmla="*/ 12191999 w 12191999"/>
              <a:gd name="connsiteY137" fmla="*/ 6114201 h 6857999"/>
              <a:gd name="connsiteX138" fmla="*/ 12152890 w 12191999"/>
              <a:gd name="connsiteY138" fmla="*/ 6129888 h 6857999"/>
              <a:gd name="connsiteX139" fmla="*/ 12009354 w 12191999"/>
              <a:gd name="connsiteY139" fmla="*/ 6162534 h 6857999"/>
              <a:gd name="connsiteX140" fmla="*/ 11978968 w 12191999"/>
              <a:gd name="connsiteY140" fmla="*/ 6167312 h 6857999"/>
              <a:gd name="connsiteX141" fmla="*/ 11878895 w 12191999"/>
              <a:gd name="connsiteY141" fmla="*/ 6177370 h 6857999"/>
              <a:gd name="connsiteX142" fmla="*/ 11814979 w 12191999"/>
              <a:gd name="connsiteY142" fmla="*/ 6190075 h 6857999"/>
              <a:gd name="connsiteX143" fmla="*/ 11687508 w 12191999"/>
              <a:gd name="connsiteY143" fmla="*/ 6225121 h 6857999"/>
              <a:gd name="connsiteX144" fmla="*/ 11672002 w 12191999"/>
              <a:gd name="connsiteY144" fmla="*/ 6267995 h 6857999"/>
              <a:gd name="connsiteX145" fmla="*/ 11629894 w 12191999"/>
              <a:gd name="connsiteY145" fmla="*/ 6250801 h 6857999"/>
              <a:gd name="connsiteX146" fmla="*/ 11597728 w 12191999"/>
              <a:gd name="connsiteY146" fmla="*/ 6221436 h 6857999"/>
              <a:gd name="connsiteX147" fmla="*/ 11448211 w 12191999"/>
              <a:gd name="connsiteY147" fmla="*/ 6216621 h 6857999"/>
              <a:gd name="connsiteX148" fmla="*/ 11336630 w 12191999"/>
              <a:gd name="connsiteY148" fmla="*/ 6248909 h 6857999"/>
              <a:gd name="connsiteX149" fmla="*/ 11267820 w 12191999"/>
              <a:gd name="connsiteY149" fmla="*/ 6255550 h 6857999"/>
              <a:gd name="connsiteX150" fmla="*/ 11153755 w 12191999"/>
              <a:gd name="connsiteY150" fmla="*/ 6243432 h 6857999"/>
              <a:gd name="connsiteX151" fmla="*/ 11063998 w 12191999"/>
              <a:gd name="connsiteY151" fmla="*/ 6267400 h 6857999"/>
              <a:gd name="connsiteX152" fmla="*/ 10949261 w 12191999"/>
              <a:gd name="connsiteY152" fmla="*/ 6285136 h 6857999"/>
              <a:gd name="connsiteX153" fmla="*/ 10920620 w 12191999"/>
              <a:gd name="connsiteY153" fmla="*/ 6289282 h 6857999"/>
              <a:gd name="connsiteX154" fmla="*/ 10899483 w 12191999"/>
              <a:gd name="connsiteY154" fmla="*/ 6284194 h 6857999"/>
              <a:gd name="connsiteX155" fmla="*/ 10774590 w 12191999"/>
              <a:gd name="connsiteY155" fmla="*/ 6274926 h 6857999"/>
              <a:gd name="connsiteX156" fmla="*/ 10682861 w 12191999"/>
              <a:gd name="connsiteY156" fmla="*/ 6242232 h 6857999"/>
              <a:gd name="connsiteX157" fmla="*/ 10530714 w 12191999"/>
              <a:gd name="connsiteY157" fmla="*/ 6227786 h 6857999"/>
              <a:gd name="connsiteX158" fmla="*/ 10379097 w 12191999"/>
              <a:gd name="connsiteY158" fmla="*/ 6217632 h 6857999"/>
              <a:gd name="connsiteX159" fmla="*/ 10323727 w 12191999"/>
              <a:gd name="connsiteY159" fmla="*/ 6215969 h 6857999"/>
              <a:gd name="connsiteX160" fmla="*/ 10227126 w 12191999"/>
              <a:gd name="connsiteY160" fmla="*/ 6204129 h 6857999"/>
              <a:gd name="connsiteX161" fmla="*/ 10163542 w 12191999"/>
              <a:gd name="connsiteY161" fmla="*/ 6197770 h 6857999"/>
              <a:gd name="connsiteX162" fmla="*/ 10151161 w 12191999"/>
              <a:gd name="connsiteY162" fmla="*/ 6217803 h 6857999"/>
              <a:gd name="connsiteX163" fmla="*/ 10092125 w 12191999"/>
              <a:gd name="connsiteY163" fmla="*/ 6217928 h 6857999"/>
              <a:gd name="connsiteX164" fmla="*/ 10037958 w 12191999"/>
              <a:gd name="connsiteY164" fmla="*/ 6197093 h 6857999"/>
              <a:gd name="connsiteX165" fmla="*/ 9966866 w 12191999"/>
              <a:gd name="connsiteY165" fmla="*/ 6189912 h 6857999"/>
              <a:gd name="connsiteX166" fmla="*/ 9924418 w 12191999"/>
              <a:gd name="connsiteY166" fmla="*/ 6185393 h 6857999"/>
              <a:gd name="connsiteX167" fmla="*/ 9806001 w 12191999"/>
              <a:gd name="connsiteY167" fmla="*/ 6190358 h 6857999"/>
              <a:gd name="connsiteX168" fmla="*/ 9596449 w 12191999"/>
              <a:gd name="connsiteY168" fmla="*/ 6240137 h 6857999"/>
              <a:gd name="connsiteX169" fmla="*/ 9535890 w 12191999"/>
              <a:gd name="connsiteY169" fmla="*/ 6243228 h 6857999"/>
              <a:gd name="connsiteX170" fmla="*/ 9527805 w 12191999"/>
              <a:gd name="connsiteY170" fmla="*/ 6237770 h 6857999"/>
              <a:gd name="connsiteX171" fmla="*/ 9441373 w 12191999"/>
              <a:gd name="connsiteY171" fmla="*/ 6265082 h 6857999"/>
              <a:gd name="connsiteX172" fmla="*/ 9320149 w 12191999"/>
              <a:gd name="connsiteY172" fmla="*/ 6258218 h 6857999"/>
              <a:gd name="connsiteX173" fmla="*/ 9229488 w 12191999"/>
              <a:gd name="connsiteY173" fmla="*/ 6245526 h 6857999"/>
              <a:gd name="connsiteX174" fmla="*/ 9224285 w 12191999"/>
              <a:gd name="connsiteY174" fmla="*/ 6239803 h 6857999"/>
              <a:gd name="connsiteX175" fmla="*/ 9217537 w 12191999"/>
              <a:gd name="connsiteY175" fmla="*/ 6240884 h 6857999"/>
              <a:gd name="connsiteX176" fmla="*/ 9214728 w 12191999"/>
              <a:gd name="connsiteY176" fmla="*/ 6247135 h 6857999"/>
              <a:gd name="connsiteX177" fmla="*/ 9161049 w 12191999"/>
              <a:gd name="connsiteY177" fmla="*/ 6250857 h 6857999"/>
              <a:gd name="connsiteX178" fmla="*/ 9149697 w 12191999"/>
              <a:gd name="connsiteY178" fmla="*/ 6240614 h 6857999"/>
              <a:gd name="connsiteX179" fmla="*/ 9150803 w 12191999"/>
              <a:gd name="connsiteY179" fmla="*/ 6235084 h 6857999"/>
              <a:gd name="connsiteX180" fmla="*/ 9141448 w 12191999"/>
              <a:gd name="connsiteY180" fmla="*/ 6235238 h 6857999"/>
              <a:gd name="connsiteX181" fmla="*/ 9137486 w 12191999"/>
              <a:gd name="connsiteY181" fmla="*/ 6234848 h 6857999"/>
              <a:gd name="connsiteX182" fmla="*/ 9126952 w 12191999"/>
              <a:gd name="connsiteY182" fmla="*/ 6238833 h 6857999"/>
              <a:gd name="connsiteX183" fmla="*/ 9098334 w 12191999"/>
              <a:gd name="connsiteY183" fmla="*/ 6235881 h 6857999"/>
              <a:gd name="connsiteX184" fmla="*/ 9084110 w 12191999"/>
              <a:gd name="connsiteY184" fmla="*/ 6242464 h 6857999"/>
              <a:gd name="connsiteX185" fmla="*/ 9039515 w 12191999"/>
              <a:gd name="connsiteY185" fmla="*/ 6271132 h 6857999"/>
              <a:gd name="connsiteX186" fmla="*/ 8973305 w 12191999"/>
              <a:gd name="connsiteY186" fmla="*/ 6289203 h 6857999"/>
              <a:gd name="connsiteX187" fmla="*/ 8933861 w 12191999"/>
              <a:gd name="connsiteY187" fmla="*/ 6300217 h 6857999"/>
              <a:gd name="connsiteX188" fmla="*/ 8817130 w 12191999"/>
              <a:gd name="connsiteY188" fmla="*/ 6313901 h 6857999"/>
              <a:gd name="connsiteX189" fmla="*/ 8594947 w 12191999"/>
              <a:gd name="connsiteY189" fmla="*/ 6298363 h 6857999"/>
              <a:gd name="connsiteX190" fmla="*/ 8535041 w 12191999"/>
              <a:gd name="connsiteY190" fmla="*/ 6304826 h 6857999"/>
              <a:gd name="connsiteX191" fmla="*/ 8529279 w 12191999"/>
              <a:gd name="connsiteY191" fmla="*/ 6311383 h 6857999"/>
              <a:gd name="connsiteX192" fmla="*/ 8435056 w 12191999"/>
              <a:gd name="connsiteY192" fmla="*/ 6298398 h 6857999"/>
              <a:gd name="connsiteX193" fmla="*/ 8320108 w 12191999"/>
              <a:gd name="connsiteY193" fmla="*/ 6323993 h 6857999"/>
              <a:gd name="connsiteX194" fmla="*/ 8237020 w 12191999"/>
              <a:gd name="connsiteY194" fmla="*/ 6350465 h 6857999"/>
              <a:gd name="connsiteX195" fmla="*/ 8188860 w 12191999"/>
              <a:gd name="connsiteY195" fmla="*/ 6362216 h 6857999"/>
              <a:gd name="connsiteX196" fmla="*/ 8155558 w 12191999"/>
              <a:gd name="connsiteY196" fmla="*/ 6374196 h 6857999"/>
              <a:gd name="connsiteX197" fmla="*/ 8061412 w 12191999"/>
              <a:gd name="connsiteY197" fmla="*/ 6386236 h 6857999"/>
              <a:gd name="connsiteX198" fmla="*/ 7901437 w 12191999"/>
              <a:gd name="connsiteY198" fmla="*/ 6398480 h 6857999"/>
              <a:gd name="connsiteX199" fmla="*/ 7868353 w 12191999"/>
              <a:gd name="connsiteY199" fmla="*/ 6402796 h 6857999"/>
              <a:gd name="connsiteX200" fmla="*/ 7843779 w 12191999"/>
              <a:gd name="connsiteY200" fmla="*/ 6413296 h 6857999"/>
              <a:gd name="connsiteX201" fmla="*/ 7841448 w 12191999"/>
              <a:gd name="connsiteY201" fmla="*/ 6421651 h 6857999"/>
              <a:gd name="connsiteX202" fmla="*/ 7823871 w 12191999"/>
              <a:gd name="connsiteY202" fmla="*/ 6425115 h 6857999"/>
              <a:gd name="connsiteX203" fmla="*/ 7820005 w 12191999"/>
              <a:gd name="connsiteY203" fmla="*/ 6427455 h 6857999"/>
              <a:gd name="connsiteX204" fmla="*/ 7797020 w 12191999"/>
              <a:gd name="connsiteY204" fmla="*/ 6439455 h 6857999"/>
              <a:gd name="connsiteX205" fmla="*/ 7727879 w 12191999"/>
              <a:gd name="connsiteY205" fmla="*/ 6429824 h 6857999"/>
              <a:gd name="connsiteX206" fmla="*/ 7659324 w 12191999"/>
              <a:gd name="connsiteY206" fmla="*/ 6446973 h 6857999"/>
              <a:gd name="connsiteX207" fmla="*/ 7374068 w 12191999"/>
              <a:gd name="connsiteY207" fmla="*/ 6466705 h 6857999"/>
              <a:gd name="connsiteX208" fmla="*/ 7346163 w 12191999"/>
              <a:gd name="connsiteY208" fmla="*/ 6498440 h 6857999"/>
              <a:gd name="connsiteX209" fmla="*/ 7235023 w 12191999"/>
              <a:gd name="connsiteY209" fmla="*/ 6516741 h 6857999"/>
              <a:gd name="connsiteX210" fmla="*/ 7039074 w 12191999"/>
              <a:gd name="connsiteY210" fmla="*/ 6491855 h 6857999"/>
              <a:gd name="connsiteX211" fmla="*/ 6833428 w 12191999"/>
              <a:gd name="connsiteY211" fmla="*/ 6523117 h 6857999"/>
              <a:gd name="connsiteX212" fmla="*/ 6812583 w 12191999"/>
              <a:gd name="connsiteY212" fmla="*/ 6514041 h 6857999"/>
              <a:gd name="connsiteX213" fmla="*/ 6790242 w 12191999"/>
              <a:gd name="connsiteY213" fmla="*/ 6510328 h 6857999"/>
              <a:gd name="connsiteX214" fmla="*/ 6787846 w 12191999"/>
              <a:gd name="connsiteY214" fmla="*/ 6511824 h 6857999"/>
              <a:gd name="connsiteX215" fmla="*/ 6762881 w 12191999"/>
              <a:gd name="connsiteY215" fmla="*/ 6513304 h 6857999"/>
              <a:gd name="connsiteX216" fmla="*/ 6756732 w 12191999"/>
              <a:gd name="connsiteY216" fmla="*/ 6509729 h 6857999"/>
              <a:gd name="connsiteX217" fmla="*/ 6739390 w 12191999"/>
              <a:gd name="connsiteY217" fmla="*/ 6509521 h 6857999"/>
              <a:gd name="connsiteX218" fmla="*/ 6704653 w 12191999"/>
              <a:gd name="connsiteY218" fmla="*/ 6505821 h 6857999"/>
              <a:gd name="connsiteX219" fmla="*/ 6698694 w 12191999"/>
              <a:gd name="connsiteY219" fmla="*/ 6508216 h 6857999"/>
              <a:gd name="connsiteX220" fmla="*/ 6647142 w 12191999"/>
              <a:gd name="connsiteY220" fmla="*/ 6507443 h 6857999"/>
              <a:gd name="connsiteX221" fmla="*/ 6646688 w 12191999"/>
              <a:gd name="connsiteY221" fmla="*/ 6508899 h 6857999"/>
              <a:gd name="connsiteX222" fmla="*/ 6633278 w 12191999"/>
              <a:gd name="connsiteY222" fmla="*/ 6515085 h 6857999"/>
              <a:gd name="connsiteX223" fmla="*/ 6607065 w 12191999"/>
              <a:gd name="connsiteY223" fmla="*/ 6523565 h 6857999"/>
              <a:gd name="connsiteX224" fmla="*/ 6549804 w 12191999"/>
              <a:gd name="connsiteY224" fmla="*/ 6561259 h 6857999"/>
              <a:gd name="connsiteX225" fmla="*/ 6496083 w 12191999"/>
              <a:gd name="connsiteY225" fmla="*/ 6560616 h 6857999"/>
              <a:gd name="connsiteX226" fmla="*/ 6485389 w 12191999"/>
              <a:gd name="connsiteY226" fmla="*/ 6561286 h 6857999"/>
              <a:gd name="connsiteX227" fmla="*/ 6485223 w 12191999"/>
              <a:gd name="connsiteY227" fmla="*/ 6561630 h 6857999"/>
              <a:gd name="connsiteX228" fmla="*/ 6474035 w 12191999"/>
              <a:gd name="connsiteY228" fmla="*/ 6562994 h 6857999"/>
              <a:gd name="connsiteX229" fmla="*/ 6465888 w 12191999"/>
              <a:gd name="connsiteY229" fmla="*/ 6562509 h 6857999"/>
              <a:gd name="connsiteX230" fmla="*/ 6445139 w 12191999"/>
              <a:gd name="connsiteY230" fmla="*/ 6563809 h 6857999"/>
              <a:gd name="connsiteX231" fmla="*/ 6438312 w 12191999"/>
              <a:gd name="connsiteY231" fmla="*/ 6566451 h 6857999"/>
              <a:gd name="connsiteX232" fmla="*/ 6392168 w 12191999"/>
              <a:gd name="connsiteY232" fmla="*/ 6611235 h 6857999"/>
              <a:gd name="connsiteX233" fmla="*/ 6272303 w 12191999"/>
              <a:gd name="connsiteY233" fmla="*/ 6656459 h 6857999"/>
              <a:gd name="connsiteX234" fmla="*/ 6150447 w 12191999"/>
              <a:gd name="connsiteY234" fmla="*/ 6697571 h 6857999"/>
              <a:gd name="connsiteX235" fmla="*/ 6104787 w 12191999"/>
              <a:gd name="connsiteY235" fmla="*/ 6710679 h 6857999"/>
              <a:gd name="connsiteX236" fmla="*/ 6030196 w 12191999"/>
              <a:gd name="connsiteY236" fmla="*/ 6741881 h 6857999"/>
              <a:gd name="connsiteX237" fmla="*/ 5980285 w 12191999"/>
              <a:gd name="connsiteY237" fmla="*/ 6761080 h 6857999"/>
              <a:gd name="connsiteX238" fmla="*/ 5958496 w 12191999"/>
              <a:gd name="connsiteY238" fmla="*/ 6744991 h 6857999"/>
              <a:gd name="connsiteX239" fmla="*/ 5908732 w 12191999"/>
              <a:gd name="connsiteY239" fmla="*/ 6757197 h 6857999"/>
              <a:gd name="connsiteX240" fmla="*/ 5874963 w 12191999"/>
              <a:gd name="connsiteY240" fmla="*/ 6787925 h 6857999"/>
              <a:gd name="connsiteX241" fmla="*/ 5819199 w 12191999"/>
              <a:gd name="connsiteY241" fmla="*/ 6809458 h 6857999"/>
              <a:gd name="connsiteX242" fmla="*/ 5786034 w 12191999"/>
              <a:gd name="connsiteY242" fmla="*/ 6822531 h 6857999"/>
              <a:gd name="connsiteX243" fmla="*/ 5683543 w 12191999"/>
              <a:gd name="connsiteY243" fmla="*/ 6842621 h 6857999"/>
              <a:gd name="connsiteX244" fmla="*/ 5478912 w 12191999"/>
              <a:gd name="connsiteY244" fmla="*/ 6839959 h 6857999"/>
              <a:gd name="connsiteX245" fmla="*/ 5426183 w 12191999"/>
              <a:gd name="connsiteY245" fmla="*/ 6849719 h 6857999"/>
              <a:gd name="connsiteX246" fmla="*/ 5422476 w 12191999"/>
              <a:gd name="connsiteY246" fmla="*/ 6856495 h 6857999"/>
              <a:gd name="connsiteX247" fmla="*/ 5334223 w 12191999"/>
              <a:gd name="connsiteY247" fmla="*/ 6849076 h 6857999"/>
              <a:gd name="connsiteX248" fmla="*/ 5307097 w 12191999"/>
              <a:gd name="connsiteY248" fmla="*/ 6857999 h 6857999"/>
              <a:gd name="connsiteX249" fmla="*/ 0 w 12191999"/>
              <a:gd name="connsiteY249"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12191999" h="6857999">
                <a:moveTo>
                  <a:pt x="0" y="0"/>
                </a:moveTo>
                <a:lnTo>
                  <a:pt x="2" y="0"/>
                </a:lnTo>
                <a:lnTo>
                  <a:pt x="2" y="709238"/>
                </a:lnTo>
                <a:lnTo>
                  <a:pt x="20721" y="710997"/>
                </a:lnTo>
                <a:cubicBezTo>
                  <a:pt x="29257" y="712423"/>
                  <a:pt x="36547" y="715115"/>
                  <a:pt x="40086" y="720866"/>
                </a:cubicBezTo>
                <a:cubicBezTo>
                  <a:pt x="65607" y="704087"/>
                  <a:pt x="75456" y="727522"/>
                  <a:pt x="101741" y="722718"/>
                </a:cubicBezTo>
                <a:cubicBezTo>
                  <a:pt x="156354" y="725230"/>
                  <a:pt x="215751" y="710010"/>
                  <a:pt x="280675" y="733646"/>
                </a:cubicBezTo>
                <a:cubicBezTo>
                  <a:pt x="329579" y="677186"/>
                  <a:pt x="400118" y="723882"/>
                  <a:pt x="476501" y="697773"/>
                </a:cubicBezTo>
                <a:cubicBezTo>
                  <a:pt x="517041" y="695599"/>
                  <a:pt x="547979" y="704229"/>
                  <a:pt x="591588" y="702351"/>
                </a:cubicBezTo>
                <a:cubicBezTo>
                  <a:pt x="603360" y="724529"/>
                  <a:pt x="629271" y="694390"/>
                  <a:pt x="649354" y="693969"/>
                </a:cubicBezTo>
                <a:cubicBezTo>
                  <a:pt x="661007" y="708598"/>
                  <a:pt x="671839" y="698595"/>
                  <a:pt x="686510" y="697922"/>
                </a:cubicBezTo>
                <a:cubicBezTo>
                  <a:pt x="690542" y="706547"/>
                  <a:pt x="702476" y="707634"/>
                  <a:pt x="709181" y="698967"/>
                </a:cubicBezTo>
                <a:cubicBezTo>
                  <a:pt x="709671" y="677085"/>
                  <a:pt x="747609" y="692835"/>
                  <a:pt x="754929" y="678629"/>
                </a:cubicBezTo>
                <a:lnTo>
                  <a:pt x="945623" y="682227"/>
                </a:lnTo>
                <a:cubicBezTo>
                  <a:pt x="999053" y="694296"/>
                  <a:pt x="1139068" y="668984"/>
                  <a:pt x="1226644" y="677593"/>
                </a:cubicBezTo>
                <a:cubicBezTo>
                  <a:pt x="1237147" y="683194"/>
                  <a:pt x="1276596" y="692226"/>
                  <a:pt x="1282583" y="682895"/>
                </a:cubicBezTo>
                <a:cubicBezTo>
                  <a:pt x="1309973" y="684695"/>
                  <a:pt x="1358028" y="642786"/>
                  <a:pt x="1373712" y="657154"/>
                </a:cubicBezTo>
                <a:cubicBezTo>
                  <a:pt x="1407488" y="648593"/>
                  <a:pt x="1460061" y="639734"/>
                  <a:pt x="1485240" y="631530"/>
                </a:cubicBezTo>
                <a:cubicBezTo>
                  <a:pt x="1482864" y="612837"/>
                  <a:pt x="1531169" y="645432"/>
                  <a:pt x="1508194" y="628664"/>
                </a:cubicBezTo>
                <a:cubicBezTo>
                  <a:pt x="1528295" y="620613"/>
                  <a:pt x="1566115" y="617855"/>
                  <a:pt x="1575268" y="624111"/>
                </a:cubicBezTo>
                <a:cubicBezTo>
                  <a:pt x="1599308" y="622794"/>
                  <a:pt x="1677380" y="609519"/>
                  <a:pt x="1679712" y="621298"/>
                </a:cubicBezTo>
                <a:cubicBezTo>
                  <a:pt x="1715726" y="623314"/>
                  <a:pt x="1721350" y="639098"/>
                  <a:pt x="1762318" y="636211"/>
                </a:cubicBezTo>
                <a:cubicBezTo>
                  <a:pt x="1777634" y="629644"/>
                  <a:pt x="1799278" y="657213"/>
                  <a:pt x="1813551" y="633002"/>
                </a:cubicBezTo>
                <a:cubicBezTo>
                  <a:pt x="1851410" y="643722"/>
                  <a:pt x="1864217" y="631834"/>
                  <a:pt x="1896737" y="647425"/>
                </a:cubicBezTo>
                <a:cubicBezTo>
                  <a:pt x="1937859" y="651921"/>
                  <a:pt x="1908151" y="615991"/>
                  <a:pt x="1964719" y="630175"/>
                </a:cubicBezTo>
                <a:cubicBezTo>
                  <a:pt x="1991479" y="621425"/>
                  <a:pt x="1992047" y="621771"/>
                  <a:pt x="2021621" y="623285"/>
                </a:cubicBezTo>
                <a:cubicBezTo>
                  <a:pt x="2022767" y="630879"/>
                  <a:pt x="2066142" y="617966"/>
                  <a:pt x="2072078" y="616623"/>
                </a:cubicBezTo>
                <a:cubicBezTo>
                  <a:pt x="2070761" y="621321"/>
                  <a:pt x="2081945" y="625068"/>
                  <a:pt x="2087280" y="621722"/>
                </a:cubicBezTo>
                <a:cubicBezTo>
                  <a:pt x="2115906" y="629832"/>
                  <a:pt x="2199227" y="655063"/>
                  <a:pt x="2243833" y="665285"/>
                </a:cubicBezTo>
                <a:cubicBezTo>
                  <a:pt x="2287772" y="670091"/>
                  <a:pt x="2301916" y="672293"/>
                  <a:pt x="2346628" y="662322"/>
                </a:cubicBezTo>
                <a:cubicBezTo>
                  <a:pt x="2387742" y="666907"/>
                  <a:pt x="2429253" y="699674"/>
                  <a:pt x="2465944" y="697144"/>
                </a:cubicBezTo>
                <a:cubicBezTo>
                  <a:pt x="2478177" y="705158"/>
                  <a:pt x="2490760" y="709149"/>
                  <a:pt x="2506642" y="700543"/>
                </a:cubicBezTo>
                <a:cubicBezTo>
                  <a:pt x="2544171" y="707657"/>
                  <a:pt x="2549322" y="722705"/>
                  <a:pt x="2576974" y="714103"/>
                </a:cubicBezTo>
                <a:cubicBezTo>
                  <a:pt x="2596822" y="747425"/>
                  <a:pt x="2597059" y="721042"/>
                  <a:pt x="2623375" y="721805"/>
                </a:cubicBezTo>
                <a:cubicBezTo>
                  <a:pt x="2645104" y="720292"/>
                  <a:pt x="2614422" y="702900"/>
                  <a:pt x="2634012" y="705148"/>
                </a:cubicBezTo>
                <a:cubicBezTo>
                  <a:pt x="2651283" y="716177"/>
                  <a:pt x="2660169" y="694412"/>
                  <a:pt x="2677548" y="707152"/>
                </a:cubicBezTo>
                <a:cubicBezTo>
                  <a:pt x="2664967" y="722373"/>
                  <a:pt x="2720932" y="712381"/>
                  <a:pt x="2715917" y="726873"/>
                </a:cubicBezTo>
                <a:cubicBezTo>
                  <a:pt x="2743240" y="710175"/>
                  <a:pt x="2740895" y="736999"/>
                  <a:pt x="2767791" y="735544"/>
                </a:cubicBezTo>
                <a:cubicBezTo>
                  <a:pt x="2782620" y="730122"/>
                  <a:pt x="2791387" y="713849"/>
                  <a:pt x="2798747" y="724332"/>
                </a:cubicBezTo>
                <a:cubicBezTo>
                  <a:pt x="2830644" y="730530"/>
                  <a:pt x="2826916" y="728960"/>
                  <a:pt x="2882282" y="724328"/>
                </a:cubicBezTo>
                <a:cubicBezTo>
                  <a:pt x="2931237" y="717603"/>
                  <a:pt x="2946058" y="738044"/>
                  <a:pt x="3003209" y="710063"/>
                </a:cubicBezTo>
                <a:cubicBezTo>
                  <a:pt x="3015344" y="701324"/>
                  <a:pt x="3041067" y="705389"/>
                  <a:pt x="3056384" y="705444"/>
                </a:cubicBezTo>
                <a:cubicBezTo>
                  <a:pt x="3071701" y="705499"/>
                  <a:pt x="3093607" y="708570"/>
                  <a:pt x="3095110" y="710392"/>
                </a:cubicBezTo>
                <a:cubicBezTo>
                  <a:pt x="3130931" y="689687"/>
                  <a:pt x="3162974" y="717730"/>
                  <a:pt x="3181626" y="702609"/>
                </a:cubicBezTo>
                <a:cubicBezTo>
                  <a:pt x="3226077" y="703040"/>
                  <a:pt x="3232698" y="713492"/>
                  <a:pt x="3249753" y="700362"/>
                </a:cubicBezTo>
                <a:cubicBezTo>
                  <a:pt x="3270807" y="705103"/>
                  <a:pt x="3293509" y="727961"/>
                  <a:pt x="3315641" y="714437"/>
                </a:cubicBezTo>
                <a:cubicBezTo>
                  <a:pt x="3314952" y="717884"/>
                  <a:pt x="3316377" y="719240"/>
                  <a:pt x="3319046" y="719507"/>
                </a:cubicBezTo>
                <a:lnTo>
                  <a:pt x="3324103" y="718827"/>
                </a:lnTo>
                <a:lnTo>
                  <a:pt x="3326644" y="713591"/>
                </a:lnTo>
                <a:cubicBezTo>
                  <a:pt x="3337561" y="695250"/>
                  <a:pt x="3343734" y="714969"/>
                  <a:pt x="3366502" y="712333"/>
                </a:cubicBezTo>
                <a:cubicBezTo>
                  <a:pt x="3377412" y="712154"/>
                  <a:pt x="3375925" y="717041"/>
                  <a:pt x="3374100" y="721483"/>
                </a:cubicBezTo>
                <a:lnTo>
                  <a:pt x="3372868" y="726163"/>
                </a:lnTo>
                <a:lnTo>
                  <a:pt x="3411698" y="710254"/>
                </a:lnTo>
                <a:cubicBezTo>
                  <a:pt x="3425826" y="705789"/>
                  <a:pt x="3436777" y="706127"/>
                  <a:pt x="3457634" y="699372"/>
                </a:cubicBezTo>
                <a:cubicBezTo>
                  <a:pt x="3487376" y="713617"/>
                  <a:pt x="3480868" y="687173"/>
                  <a:pt x="3507812" y="686314"/>
                </a:cubicBezTo>
                <a:cubicBezTo>
                  <a:pt x="3523385" y="690430"/>
                  <a:pt x="3532045" y="689367"/>
                  <a:pt x="3537722" y="678323"/>
                </a:cubicBezTo>
                <a:cubicBezTo>
                  <a:pt x="3610680" y="699191"/>
                  <a:pt x="3560806" y="683397"/>
                  <a:pt x="3616523" y="683255"/>
                </a:cubicBezTo>
                <a:cubicBezTo>
                  <a:pt x="3666199" y="685741"/>
                  <a:pt x="3709745" y="669125"/>
                  <a:pt x="3770873" y="692023"/>
                </a:cubicBezTo>
                <a:cubicBezTo>
                  <a:pt x="3784289" y="699664"/>
                  <a:pt x="3804530" y="690109"/>
                  <a:pt x="3815527" y="688648"/>
                </a:cubicBezTo>
                <a:cubicBezTo>
                  <a:pt x="3826525" y="687187"/>
                  <a:pt x="3835648" y="685196"/>
                  <a:pt x="3836857" y="683257"/>
                </a:cubicBezTo>
                <a:cubicBezTo>
                  <a:pt x="3863509" y="681812"/>
                  <a:pt x="3955624" y="683790"/>
                  <a:pt x="3992028" y="679972"/>
                </a:cubicBezTo>
                <a:cubicBezTo>
                  <a:pt x="4012201" y="673459"/>
                  <a:pt x="4031188" y="648809"/>
                  <a:pt x="4055281" y="660346"/>
                </a:cubicBezTo>
                <a:cubicBezTo>
                  <a:pt x="4050394" y="646886"/>
                  <a:pt x="4134088" y="663759"/>
                  <a:pt x="4141437" y="652038"/>
                </a:cubicBezTo>
                <a:cubicBezTo>
                  <a:pt x="4166230" y="649378"/>
                  <a:pt x="4171026" y="647831"/>
                  <a:pt x="4204035" y="644385"/>
                </a:cubicBezTo>
                <a:cubicBezTo>
                  <a:pt x="4244963" y="661964"/>
                  <a:pt x="4256753" y="618367"/>
                  <a:pt x="4289732" y="631360"/>
                </a:cubicBezTo>
                <a:cubicBezTo>
                  <a:pt x="4299055" y="631939"/>
                  <a:pt x="4323743" y="630899"/>
                  <a:pt x="4331035" y="628859"/>
                </a:cubicBezTo>
                <a:lnTo>
                  <a:pt x="4349944" y="620774"/>
                </a:lnTo>
                <a:lnTo>
                  <a:pt x="4352292" y="613726"/>
                </a:lnTo>
                <a:lnTo>
                  <a:pt x="4365513" y="611397"/>
                </a:lnTo>
                <a:lnTo>
                  <a:pt x="4368539" y="609538"/>
                </a:lnTo>
                <a:cubicBezTo>
                  <a:pt x="4374306" y="605961"/>
                  <a:pt x="4380117" y="602614"/>
                  <a:pt x="4386389" y="600117"/>
                </a:cubicBezTo>
                <a:cubicBezTo>
                  <a:pt x="4394802" y="629494"/>
                  <a:pt x="4441125" y="583722"/>
                  <a:pt x="4436641" y="610810"/>
                </a:cubicBezTo>
                <a:cubicBezTo>
                  <a:pt x="4472566" y="602200"/>
                  <a:pt x="4504490" y="634388"/>
                  <a:pt x="4534093" y="602769"/>
                </a:cubicBezTo>
                <a:cubicBezTo>
                  <a:pt x="4602199" y="608716"/>
                  <a:pt x="4611785" y="575380"/>
                  <a:pt x="4675398" y="596126"/>
                </a:cubicBezTo>
                <a:cubicBezTo>
                  <a:pt x="4662028" y="584981"/>
                  <a:pt x="4732454" y="580837"/>
                  <a:pt x="4752273" y="582476"/>
                </a:cubicBezTo>
                <a:cubicBezTo>
                  <a:pt x="4789606" y="588497"/>
                  <a:pt x="4892068" y="589165"/>
                  <a:pt x="4940870" y="582489"/>
                </a:cubicBezTo>
                <a:cubicBezTo>
                  <a:pt x="4995672" y="573822"/>
                  <a:pt x="5006809" y="556121"/>
                  <a:pt x="5049226" y="563156"/>
                </a:cubicBezTo>
                <a:cubicBezTo>
                  <a:pt x="5053572" y="566890"/>
                  <a:pt x="5112449" y="569627"/>
                  <a:pt x="5117822" y="571648"/>
                </a:cubicBezTo>
                <a:lnTo>
                  <a:pt x="5134014" y="575617"/>
                </a:lnTo>
                <a:lnTo>
                  <a:pt x="5135893" y="574425"/>
                </a:lnTo>
                <a:cubicBezTo>
                  <a:pt x="5144559" y="571755"/>
                  <a:pt x="5150168" y="572214"/>
                  <a:pt x="5154412" y="574054"/>
                </a:cubicBezTo>
                <a:lnTo>
                  <a:pt x="5158675" y="577327"/>
                </a:lnTo>
                <a:lnTo>
                  <a:pt x="5171445" y="578124"/>
                </a:lnTo>
                <a:lnTo>
                  <a:pt x="5196779" y="582524"/>
                </a:lnTo>
                <a:lnTo>
                  <a:pt x="5201352" y="580693"/>
                </a:lnTo>
                <a:lnTo>
                  <a:pt x="5223160" y="573676"/>
                </a:lnTo>
                <a:cubicBezTo>
                  <a:pt x="5225022" y="570984"/>
                  <a:pt x="5244614" y="577399"/>
                  <a:pt x="5250101" y="577168"/>
                </a:cubicBezTo>
                <a:cubicBezTo>
                  <a:pt x="5240526" y="559054"/>
                  <a:pt x="5253047" y="569948"/>
                  <a:pt x="5270065" y="570867"/>
                </a:cubicBezTo>
                <a:cubicBezTo>
                  <a:pt x="5258993" y="542937"/>
                  <a:pt x="5308033" y="556705"/>
                  <a:pt x="5315121" y="540739"/>
                </a:cubicBezTo>
                <a:cubicBezTo>
                  <a:pt x="5327874" y="542044"/>
                  <a:pt x="5341158" y="542915"/>
                  <a:pt x="5354682" y="543209"/>
                </a:cubicBezTo>
                <a:lnTo>
                  <a:pt x="5362616" y="543019"/>
                </a:lnTo>
                <a:lnTo>
                  <a:pt x="5362765" y="542732"/>
                </a:lnTo>
                <a:lnTo>
                  <a:pt x="5368793" y="530233"/>
                </a:lnTo>
                <a:lnTo>
                  <a:pt x="5397715" y="540293"/>
                </a:lnTo>
                <a:cubicBezTo>
                  <a:pt x="5414308" y="527751"/>
                  <a:pt x="5394992" y="491089"/>
                  <a:pt x="5435108" y="503716"/>
                </a:cubicBezTo>
                <a:cubicBezTo>
                  <a:pt x="5472145" y="492299"/>
                  <a:pt x="5484288" y="466610"/>
                  <a:pt x="5526889" y="469399"/>
                </a:cubicBezTo>
                <a:cubicBezTo>
                  <a:pt x="5561513" y="458629"/>
                  <a:pt x="5586738" y="441854"/>
                  <a:pt x="5619827" y="438663"/>
                </a:cubicBezTo>
                <a:cubicBezTo>
                  <a:pt x="5627931" y="429013"/>
                  <a:pt x="5637674" y="423207"/>
                  <a:pt x="5654480" y="429107"/>
                </a:cubicBezTo>
                <a:cubicBezTo>
                  <a:pt x="5668527" y="425458"/>
                  <a:pt x="5694557" y="420762"/>
                  <a:pt x="5704114" y="416768"/>
                </a:cubicBezTo>
                <a:cubicBezTo>
                  <a:pt x="5713671" y="412774"/>
                  <a:pt x="5701689" y="407094"/>
                  <a:pt x="5711823" y="405141"/>
                </a:cubicBezTo>
                <a:cubicBezTo>
                  <a:pt x="5730231" y="401131"/>
                  <a:pt x="5749804" y="406504"/>
                  <a:pt x="5764922" y="405049"/>
                </a:cubicBezTo>
                <a:cubicBezTo>
                  <a:pt x="5776460" y="391700"/>
                  <a:pt x="5791463" y="411434"/>
                  <a:pt x="5802531" y="396409"/>
                </a:cubicBezTo>
                <a:cubicBezTo>
                  <a:pt x="5786441" y="383588"/>
                  <a:pt x="5838940" y="384666"/>
                  <a:pt x="5829742" y="371388"/>
                </a:cubicBezTo>
                <a:cubicBezTo>
                  <a:pt x="5859277" y="383373"/>
                  <a:pt x="5848353" y="357727"/>
                  <a:pt x="5872478" y="355001"/>
                </a:cubicBezTo>
                <a:cubicBezTo>
                  <a:pt x="5887306" y="357976"/>
                  <a:pt x="5894908" y="356323"/>
                  <a:pt x="5897914" y="345028"/>
                </a:cubicBezTo>
                <a:cubicBezTo>
                  <a:pt x="5967675" y="360535"/>
                  <a:pt x="5924791" y="335569"/>
                  <a:pt x="5974993" y="331543"/>
                </a:cubicBezTo>
                <a:cubicBezTo>
                  <a:pt x="6019553" y="329820"/>
                  <a:pt x="6083260" y="322664"/>
                  <a:pt x="6115514" y="322246"/>
                </a:cubicBezTo>
                <a:cubicBezTo>
                  <a:pt x="6147769" y="321828"/>
                  <a:pt x="6167801" y="331034"/>
                  <a:pt x="6168520" y="329035"/>
                </a:cubicBezTo>
                <a:cubicBezTo>
                  <a:pt x="6206851" y="343598"/>
                  <a:pt x="6211637" y="326732"/>
                  <a:pt x="6233029" y="338523"/>
                </a:cubicBezTo>
                <a:cubicBezTo>
                  <a:pt x="6271962" y="331268"/>
                  <a:pt x="6288442" y="304864"/>
                  <a:pt x="6307773" y="314970"/>
                </a:cubicBezTo>
                <a:cubicBezTo>
                  <a:pt x="6324714" y="307137"/>
                  <a:pt x="6337117" y="281482"/>
                  <a:pt x="6361041" y="291190"/>
                </a:cubicBezTo>
                <a:cubicBezTo>
                  <a:pt x="6354062" y="278245"/>
                  <a:pt x="6387877" y="292532"/>
                  <a:pt x="6392259" y="280451"/>
                </a:cubicBezTo>
                <a:cubicBezTo>
                  <a:pt x="6394403" y="270573"/>
                  <a:pt x="6405164" y="272607"/>
                  <a:pt x="6413478" y="269758"/>
                </a:cubicBezTo>
                <a:cubicBezTo>
                  <a:pt x="6419621" y="260088"/>
                  <a:pt x="6461203" y="255040"/>
                  <a:pt x="6475549" y="258032"/>
                </a:cubicBezTo>
                <a:cubicBezTo>
                  <a:pt x="6515805" y="272528"/>
                  <a:pt x="6549588" y="234548"/>
                  <a:pt x="6581802" y="245073"/>
                </a:cubicBezTo>
                <a:cubicBezTo>
                  <a:pt x="6615869" y="244754"/>
                  <a:pt x="6627303" y="220262"/>
                  <a:pt x="6648011" y="208652"/>
                </a:cubicBezTo>
                <a:cubicBezTo>
                  <a:pt x="6661211" y="237059"/>
                  <a:pt x="6694217" y="188652"/>
                  <a:pt x="6695355" y="215700"/>
                </a:cubicBezTo>
                <a:cubicBezTo>
                  <a:pt x="6726094" y="204698"/>
                  <a:pt x="6719113" y="233330"/>
                  <a:pt x="6739754" y="200058"/>
                </a:cubicBezTo>
                <a:cubicBezTo>
                  <a:pt x="6802285" y="201178"/>
                  <a:pt x="6818340" y="175130"/>
                  <a:pt x="6883802" y="195317"/>
                </a:cubicBezTo>
                <a:cubicBezTo>
                  <a:pt x="6869617" y="185249"/>
                  <a:pt x="6902068" y="163582"/>
                  <a:pt x="6920245" y="163817"/>
                </a:cubicBezTo>
                <a:cubicBezTo>
                  <a:pt x="6941082" y="160849"/>
                  <a:pt x="6982571" y="133812"/>
                  <a:pt x="7018013" y="134069"/>
                </a:cubicBezTo>
                <a:cubicBezTo>
                  <a:pt x="7046943" y="130394"/>
                  <a:pt x="7118786" y="117946"/>
                  <a:pt x="7151964" y="135416"/>
                </a:cubicBezTo>
                <a:cubicBezTo>
                  <a:pt x="7199708" y="102306"/>
                  <a:pt x="7233505" y="151233"/>
                  <a:pt x="7270482" y="122186"/>
                </a:cubicBezTo>
                <a:cubicBezTo>
                  <a:pt x="7307539" y="149242"/>
                  <a:pt x="7322521" y="122986"/>
                  <a:pt x="7336265" y="114532"/>
                </a:cubicBezTo>
                <a:cubicBezTo>
                  <a:pt x="7361644" y="112456"/>
                  <a:pt x="7402630" y="128203"/>
                  <a:pt x="7422235" y="125766"/>
                </a:cubicBezTo>
                <a:cubicBezTo>
                  <a:pt x="7410139" y="108554"/>
                  <a:pt x="7423510" y="118434"/>
                  <a:pt x="7439026" y="118154"/>
                </a:cubicBezTo>
                <a:cubicBezTo>
                  <a:pt x="7423704" y="91360"/>
                  <a:pt x="7470546" y="101528"/>
                  <a:pt x="7473884" y="85275"/>
                </a:cubicBezTo>
                <a:cubicBezTo>
                  <a:pt x="7520861" y="86871"/>
                  <a:pt x="7528572" y="72708"/>
                  <a:pt x="7569638" y="51825"/>
                </a:cubicBezTo>
                <a:cubicBezTo>
                  <a:pt x="7591661" y="63377"/>
                  <a:pt x="7633972" y="65942"/>
                  <a:pt x="7640739" y="56879"/>
                </a:cubicBezTo>
                <a:cubicBezTo>
                  <a:pt x="7662540" y="68483"/>
                  <a:pt x="7669216" y="1548"/>
                  <a:pt x="7689494" y="23918"/>
                </a:cubicBezTo>
                <a:cubicBezTo>
                  <a:pt x="7697242" y="22607"/>
                  <a:pt x="7706468" y="6411"/>
                  <a:pt x="7712765" y="835"/>
                </a:cubicBezTo>
                <a:cubicBezTo>
                  <a:pt x="7720029" y="5266"/>
                  <a:pt x="7727390" y="11647"/>
                  <a:pt x="7726321" y="536"/>
                </a:cubicBezTo>
                <a:cubicBezTo>
                  <a:pt x="7744294" y="14052"/>
                  <a:pt x="7756228" y="20837"/>
                  <a:pt x="7770085" y="24975"/>
                </a:cubicBezTo>
                <a:cubicBezTo>
                  <a:pt x="7800131" y="27881"/>
                  <a:pt x="7826278" y="19899"/>
                  <a:pt x="7856241" y="17615"/>
                </a:cubicBezTo>
                <a:cubicBezTo>
                  <a:pt x="7863099" y="13282"/>
                  <a:pt x="7871448" y="8856"/>
                  <a:pt x="7880767" y="4315"/>
                </a:cubicBezTo>
                <a:lnTo>
                  <a:pt x="7890122" y="0"/>
                </a:lnTo>
                <a:lnTo>
                  <a:pt x="12191999" y="0"/>
                </a:lnTo>
                <a:lnTo>
                  <a:pt x="12191999" y="6114201"/>
                </a:lnTo>
                <a:lnTo>
                  <a:pt x="12152890" y="6129888"/>
                </a:lnTo>
                <a:cubicBezTo>
                  <a:pt x="12105395" y="6148190"/>
                  <a:pt x="12054092" y="6164443"/>
                  <a:pt x="12009354" y="6162534"/>
                </a:cubicBezTo>
                <a:cubicBezTo>
                  <a:pt x="11994503" y="6156595"/>
                  <a:pt x="11985943" y="6156089"/>
                  <a:pt x="11978968" y="6167312"/>
                </a:cubicBezTo>
                <a:cubicBezTo>
                  <a:pt x="11941764" y="6166762"/>
                  <a:pt x="11901790" y="6193244"/>
                  <a:pt x="11878895" y="6177370"/>
                </a:cubicBezTo>
                <a:cubicBezTo>
                  <a:pt x="11878918" y="6202195"/>
                  <a:pt x="11826486" y="6167006"/>
                  <a:pt x="11814979" y="6190075"/>
                </a:cubicBezTo>
                <a:cubicBezTo>
                  <a:pt x="11820607" y="6229028"/>
                  <a:pt x="11727668" y="6211209"/>
                  <a:pt x="11687508" y="6225121"/>
                </a:cubicBezTo>
                <a:cubicBezTo>
                  <a:pt x="11692944" y="6246792"/>
                  <a:pt x="11638976" y="6249735"/>
                  <a:pt x="11672002" y="6267995"/>
                </a:cubicBezTo>
                <a:cubicBezTo>
                  <a:pt x="11645814" y="6278524"/>
                  <a:pt x="11642999" y="6257582"/>
                  <a:pt x="11629894" y="6250801"/>
                </a:cubicBezTo>
                <a:cubicBezTo>
                  <a:pt x="11597582" y="6253698"/>
                  <a:pt x="11602281" y="6235044"/>
                  <a:pt x="11597728" y="6221436"/>
                </a:cubicBezTo>
                <a:cubicBezTo>
                  <a:pt x="11567716" y="6254914"/>
                  <a:pt x="11505156" y="6221633"/>
                  <a:pt x="11448211" y="6216621"/>
                </a:cubicBezTo>
                <a:cubicBezTo>
                  <a:pt x="11414499" y="6216692"/>
                  <a:pt x="11370196" y="6281623"/>
                  <a:pt x="11336630" y="6248909"/>
                </a:cubicBezTo>
                <a:cubicBezTo>
                  <a:pt x="11316728" y="6257437"/>
                  <a:pt x="11284212" y="6226500"/>
                  <a:pt x="11267820" y="6255550"/>
                </a:cubicBezTo>
                <a:cubicBezTo>
                  <a:pt x="11215412" y="6245187"/>
                  <a:pt x="11199532" y="6259779"/>
                  <a:pt x="11153755" y="6243432"/>
                </a:cubicBezTo>
                <a:cubicBezTo>
                  <a:pt x="11097684" y="6240513"/>
                  <a:pt x="11142086" y="6280746"/>
                  <a:pt x="11063998" y="6267400"/>
                </a:cubicBezTo>
                <a:cubicBezTo>
                  <a:pt x="11028900" y="6279121"/>
                  <a:pt x="10989384" y="6285228"/>
                  <a:pt x="10949261" y="6285136"/>
                </a:cubicBezTo>
                <a:cubicBezTo>
                  <a:pt x="10946808" y="6276342"/>
                  <a:pt x="10928478" y="6287380"/>
                  <a:pt x="10920620" y="6289282"/>
                </a:cubicBezTo>
                <a:cubicBezTo>
                  <a:pt x="10921840" y="6283728"/>
                  <a:pt x="10906289" y="6279988"/>
                  <a:pt x="10899483" y="6284194"/>
                </a:cubicBezTo>
                <a:cubicBezTo>
                  <a:pt x="10774259" y="6295981"/>
                  <a:pt x="10854212" y="6248676"/>
                  <a:pt x="10774590" y="6274926"/>
                </a:cubicBezTo>
                <a:cubicBezTo>
                  <a:pt x="10724638" y="6278175"/>
                  <a:pt x="10739599" y="6214248"/>
                  <a:pt x="10682861" y="6242232"/>
                </a:cubicBezTo>
                <a:cubicBezTo>
                  <a:pt x="10622947" y="6239112"/>
                  <a:pt x="10589912" y="6213624"/>
                  <a:pt x="10530714" y="6227786"/>
                </a:cubicBezTo>
                <a:cubicBezTo>
                  <a:pt x="10474643" y="6224762"/>
                  <a:pt x="10428348" y="6212605"/>
                  <a:pt x="10379097" y="6217632"/>
                </a:cubicBezTo>
                <a:cubicBezTo>
                  <a:pt x="10361622" y="6208976"/>
                  <a:pt x="10344151" y="6205032"/>
                  <a:pt x="10323727" y="6215969"/>
                </a:cubicBezTo>
                <a:cubicBezTo>
                  <a:pt x="10272196" y="6209794"/>
                  <a:pt x="10263446" y="6192531"/>
                  <a:pt x="10227126" y="6204129"/>
                </a:cubicBezTo>
                <a:cubicBezTo>
                  <a:pt x="10196351" y="6166381"/>
                  <a:pt x="10199174" y="6197171"/>
                  <a:pt x="10163542" y="6197770"/>
                </a:cubicBezTo>
                <a:cubicBezTo>
                  <a:pt x="10134376" y="6200764"/>
                  <a:pt x="10177885" y="6219317"/>
                  <a:pt x="10151161" y="6217803"/>
                </a:cubicBezTo>
                <a:cubicBezTo>
                  <a:pt x="10126522" y="6205914"/>
                  <a:pt x="10117113" y="6231806"/>
                  <a:pt x="10092125" y="6217928"/>
                </a:cubicBezTo>
                <a:cubicBezTo>
                  <a:pt x="10107302" y="6199460"/>
                  <a:pt x="10032910" y="6214282"/>
                  <a:pt x="10037958" y="6197093"/>
                </a:cubicBezTo>
                <a:cubicBezTo>
                  <a:pt x="10003046" y="6218117"/>
                  <a:pt x="10003017" y="6186693"/>
                  <a:pt x="9966866" y="6189912"/>
                </a:cubicBezTo>
                <a:cubicBezTo>
                  <a:pt x="9947485" y="6197076"/>
                  <a:pt x="9935606" y="6197206"/>
                  <a:pt x="9924418" y="6185393"/>
                </a:cubicBezTo>
                <a:cubicBezTo>
                  <a:pt x="9834150" y="6220779"/>
                  <a:pt x="9880223" y="6181821"/>
                  <a:pt x="9806001" y="6190358"/>
                </a:cubicBezTo>
                <a:cubicBezTo>
                  <a:pt x="9740686" y="6200972"/>
                  <a:pt x="9670300" y="6204263"/>
                  <a:pt x="9596449" y="6240137"/>
                </a:cubicBezTo>
                <a:cubicBezTo>
                  <a:pt x="9581101" y="6251018"/>
                  <a:pt x="9553986" y="6252401"/>
                  <a:pt x="9535890" y="6243228"/>
                </a:cubicBezTo>
                <a:cubicBezTo>
                  <a:pt x="9532775" y="6241649"/>
                  <a:pt x="9530052" y="6239811"/>
                  <a:pt x="9527805" y="6237770"/>
                </a:cubicBezTo>
                <a:cubicBezTo>
                  <a:pt x="9481894" y="6263949"/>
                  <a:pt x="9464762" y="6246388"/>
                  <a:pt x="9441373" y="6265082"/>
                </a:cubicBezTo>
                <a:cubicBezTo>
                  <a:pt x="9381290" y="6267094"/>
                  <a:pt x="9341618" y="6241936"/>
                  <a:pt x="9320149" y="6258218"/>
                </a:cubicBezTo>
                <a:cubicBezTo>
                  <a:pt x="9291150" y="6253878"/>
                  <a:pt x="9257768" y="6228497"/>
                  <a:pt x="9229488" y="6245526"/>
                </a:cubicBezTo>
                <a:cubicBezTo>
                  <a:pt x="9230007" y="6241466"/>
                  <a:pt x="9227921" y="6239964"/>
                  <a:pt x="9224285" y="6239803"/>
                </a:cubicBezTo>
                <a:lnTo>
                  <a:pt x="9217537" y="6240884"/>
                </a:lnTo>
                <a:lnTo>
                  <a:pt x="9214728" y="6247135"/>
                </a:lnTo>
                <a:cubicBezTo>
                  <a:pt x="9202170" y="6269148"/>
                  <a:pt x="9191484" y="6246495"/>
                  <a:pt x="9161049" y="6250857"/>
                </a:cubicBezTo>
                <a:cubicBezTo>
                  <a:pt x="9146336" y="6251684"/>
                  <a:pt x="9147761" y="6245898"/>
                  <a:pt x="9149697" y="6240614"/>
                </a:cubicBezTo>
                <a:lnTo>
                  <a:pt x="9150803" y="6235084"/>
                </a:lnTo>
                <a:lnTo>
                  <a:pt x="9141448" y="6235238"/>
                </a:lnTo>
                <a:lnTo>
                  <a:pt x="9137486" y="6234848"/>
                </a:lnTo>
                <a:lnTo>
                  <a:pt x="9126952" y="6238833"/>
                </a:lnTo>
                <a:cubicBezTo>
                  <a:pt x="9117353" y="6239267"/>
                  <a:pt x="9107828" y="6234950"/>
                  <a:pt x="9098334" y="6235881"/>
                </a:cubicBezTo>
                <a:cubicBezTo>
                  <a:pt x="9093587" y="6236346"/>
                  <a:pt x="9088847" y="6238124"/>
                  <a:pt x="9084110" y="6242464"/>
                </a:cubicBezTo>
                <a:cubicBezTo>
                  <a:pt x="9105864" y="6258003"/>
                  <a:pt x="9028073" y="6255251"/>
                  <a:pt x="9039515" y="6271132"/>
                </a:cubicBezTo>
                <a:cubicBezTo>
                  <a:pt x="8997651" y="6256198"/>
                  <a:pt x="9009590" y="6286676"/>
                  <a:pt x="8973305" y="6289203"/>
                </a:cubicBezTo>
                <a:cubicBezTo>
                  <a:pt x="8951781" y="6285283"/>
                  <a:pt x="8940212" y="6287013"/>
                  <a:pt x="8933861" y="6300217"/>
                </a:cubicBezTo>
                <a:cubicBezTo>
                  <a:pt x="8832841" y="6280001"/>
                  <a:pt x="8892362" y="6310585"/>
                  <a:pt x="8817130" y="6313901"/>
                </a:cubicBezTo>
                <a:cubicBezTo>
                  <a:pt x="8749745" y="6313812"/>
                  <a:pt x="8680232" y="6321616"/>
                  <a:pt x="8594947" y="6298363"/>
                </a:cubicBezTo>
                <a:cubicBezTo>
                  <a:pt x="8575919" y="6290208"/>
                  <a:pt x="8549096" y="6293103"/>
                  <a:pt x="8535041" y="6304826"/>
                </a:cubicBezTo>
                <a:cubicBezTo>
                  <a:pt x="8532621" y="6306844"/>
                  <a:pt x="8530681" y="6309053"/>
                  <a:pt x="8529279" y="6311383"/>
                </a:cubicBezTo>
                <a:cubicBezTo>
                  <a:pt x="8474783" y="6293167"/>
                  <a:pt x="8464858" y="6312874"/>
                  <a:pt x="8435056" y="6298398"/>
                </a:cubicBezTo>
                <a:cubicBezTo>
                  <a:pt x="8376022" y="6305833"/>
                  <a:pt x="8347129" y="6336429"/>
                  <a:pt x="8320108" y="6323993"/>
                </a:cubicBezTo>
                <a:cubicBezTo>
                  <a:pt x="8293638" y="6332732"/>
                  <a:pt x="8270932" y="6362561"/>
                  <a:pt x="8237020" y="6350465"/>
                </a:cubicBezTo>
                <a:cubicBezTo>
                  <a:pt x="8245222" y="6365890"/>
                  <a:pt x="8197387" y="6348127"/>
                  <a:pt x="8188860" y="6362216"/>
                </a:cubicBezTo>
                <a:cubicBezTo>
                  <a:pt x="8184024" y="6373775"/>
                  <a:pt x="8168383" y="6371080"/>
                  <a:pt x="8155558" y="6374196"/>
                </a:cubicBezTo>
                <a:cubicBezTo>
                  <a:pt x="8144819" y="6385399"/>
                  <a:pt x="8082218" y="6390162"/>
                  <a:pt x="8061412" y="6386236"/>
                </a:cubicBezTo>
                <a:cubicBezTo>
                  <a:pt x="8004043" y="6368045"/>
                  <a:pt x="7947523" y="6411772"/>
                  <a:pt x="7901437" y="6398480"/>
                </a:cubicBezTo>
                <a:cubicBezTo>
                  <a:pt x="7888774" y="6398333"/>
                  <a:pt x="7877960" y="6400003"/>
                  <a:pt x="7868353" y="6402796"/>
                </a:cubicBezTo>
                <a:lnTo>
                  <a:pt x="7843779" y="6413296"/>
                </a:lnTo>
                <a:lnTo>
                  <a:pt x="7841448" y="6421651"/>
                </a:lnTo>
                <a:lnTo>
                  <a:pt x="7823871" y="6425115"/>
                </a:lnTo>
                <a:lnTo>
                  <a:pt x="7820005" y="6427455"/>
                </a:lnTo>
                <a:cubicBezTo>
                  <a:pt x="7812641" y="6431955"/>
                  <a:pt x="7805193" y="6436187"/>
                  <a:pt x="7797020" y="6439455"/>
                </a:cubicBezTo>
                <a:cubicBezTo>
                  <a:pt x="7782159" y="6405662"/>
                  <a:pt x="7725050" y="6461678"/>
                  <a:pt x="7727879" y="6429824"/>
                </a:cubicBezTo>
                <a:cubicBezTo>
                  <a:pt x="7680386" y="6441900"/>
                  <a:pt x="7695538" y="6408413"/>
                  <a:pt x="7659324" y="6446973"/>
                </a:cubicBezTo>
                <a:cubicBezTo>
                  <a:pt x="7566636" y="6443888"/>
                  <a:pt x="7462452" y="6487307"/>
                  <a:pt x="7374068" y="6466705"/>
                </a:cubicBezTo>
                <a:cubicBezTo>
                  <a:pt x="7393454" y="6478950"/>
                  <a:pt x="7373124" y="6499230"/>
                  <a:pt x="7346163" y="6498440"/>
                </a:cubicBezTo>
                <a:cubicBezTo>
                  <a:pt x="7419349" y="6547358"/>
                  <a:pt x="7219942" y="6472732"/>
                  <a:pt x="7235023" y="6516741"/>
                </a:cubicBezTo>
                <a:cubicBezTo>
                  <a:pt x="7203144" y="6481335"/>
                  <a:pt x="7057485" y="6449217"/>
                  <a:pt x="7039074" y="6491855"/>
                </a:cubicBezTo>
                <a:cubicBezTo>
                  <a:pt x="6966094" y="6505065"/>
                  <a:pt x="6893201" y="6489988"/>
                  <a:pt x="6833428" y="6523117"/>
                </a:cubicBezTo>
                <a:cubicBezTo>
                  <a:pt x="6827113" y="6519007"/>
                  <a:pt x="6820080" y="6516095"/>
                  <a:pt x="6812583" y="6514041"/>
                </a:cubicBezTo>
                <a:lnTo>
                  <a:pt x="6790242" y="6510328"/>
                </a:lnTo>
                <a:lnTo>
                  <a:pt x="6787846" y="6511824"/>
                </a:lnTo>
                <a:cubicBezTo>
                  <a:pt x="6776461" y="6515430"/>
                  <a:pt x="6768832" y="6515211"/>
                  <a:pt x="6762881" y="6513304"/>
                </a:cubicBezTo>
                <a:lnTo>
                  <a:pt x="6756732" y="6509729"/>
                </a:lnTo>
                <a:lnTo>
                  <a:pt x="6739390" y="6509521"/>
                </a:lnTo>
                <a:lnTo>
                  <a:pt x="6704653" y="6505821"/>
                </a:lnTo>
                <a:lnTo>
                  <a:pt x="6698694" y="6508216"/>
                </a:lnTo>
                <a:lnTo>
                  <a:pt x="6647142" y="6507443"/>
                </a:lnTo>
                <a:lnTo>
                  <a:pt x="6646688" y="6508899"/>
                </a:lnTo>
                <a:cubicBezTo>
                  <a:pt x="6644494" y="6512144"/>
                  <a:pt x="6640660" y="6514506"/>
                  <a:pt x="6633278" y="6515085"/>
                </a:cubicBezTo>
                <a:cubicBezTo>
                  <a:pt x="6648367" y="6535675"/>
                  <a:pt x="6630160" y="6523675"/>
                  <a:pt x="6607065" y="6523565"/>
                </a:cubicBezTo>
                <a:cubicBezTo>
                  <a:pt x="6625347" y="6555520"/>
                  <a:pt x="6557475" y="6542233"/>
                  <a:pt x="6549804" y="6561259"/>
                </a:cubicBezTo>
                <a:cubicBezTo>
                  <a:pt x="6532425" y="6560458"/>
                  <a:pt x="6514382" y="6560194"/>
                  <a:pt x="6496083" y="6560616"/>
                </a:cubicBezTo>
                <a:lnTo>
                  <a:pt x="6485389" y="6561286"/>
                </a:lnTo>
                <a:lnTo>
                  <a:pt x="6485223" y="6561630"/>
                </a:lnTo>
                <a:cubicBezTo>
                  <a:pt x="6483001" y="6562481"/>
                  <a:pt x="6479520" y="6562966"/>
                  <a:pt x="6474035" y="6562994"/>
                </a:cubicBezTo>
                <a:lnTo>
                  <a:pt x="6465888" y="6562509"/>
                </a:lnTo>
                <a:lnTo>
                  <a:pt x="6445139" y="6563809"/>
                </a:lnTo>
                <a:lnTo>
                  <a:pt x="6438312" y="6566451"/>
                </a:lnTo>
                <a:cubicBezTo>
                  <a:pt x="6417397" y="6582021"/>
                  <a:pt x="6447851" y="6623696"/>
                  <a:pt x="6392168" y="6611235"/>
                </a:cubicBezTo>
                <a:cubicBezTo>
                  <a:pt x="6343510" y="6626649"/>
                  <a:pt x="6330169" y="6657303"/>
                  <a:pt x="6272303" y="6656459"/>
                </a:cubicBezTo>
                <a:cubicBezTo>
                  <a:pt x="6226826" y="6670981"/>
                  <a:pt x="6194756" y="6691977"/>
                  <a:pt x="6150447" y="6697571"/>
                </a:cubicBezTo>
                <a:cubicBezTo>
                  <a:pt x="6140653" y="6709288"/>
                  <a:pt x="6128185" y="6716610"/>
                  <a:pt x="6104787" y="6710679"/>
                </a:cubicBezTo>
                <a:cubicBezTo>
                  <a:pt x="6064915" y="6727192"/>
                  <a:pt x="6067350" y="6745112"/>
                  <a:pt x="6030196" y="6741881"/>
                </a:cubicBezTo>
                <a:cubicBezTo>
                  <a:pt x="6025714" y="6783491"/>
                  <a:pt x="6010615" y="6754201"/>
                  <a:pt x="5980285" y="6761080"/>
                </a:cubicBezTo>
                <a:cubicBezTo>
                  <a:pt x="5954036" y="6764377"/>
                  <a:pt x="5980130" y="6738002"/>
                  <a:pt x="5958496" y="6744991"/>
                </a:cubicBezTo>
                <a:cubicBezTo>
                  <a:pt x="5944503" y="6761216"/>
                  <a:pt x="5921891" y="6739044"/>
                  <a:pt x="5908732" y="6757197"/>
                </a:cubicBezTo>
                <a:cubicBezTo>
                  <a:pt x="5931989" y="6771244"/>
                  <a:pt x="5860959" y="6772955"/>
                  <a:pt x="5874963" y="6787925"/>
                </a:cubicBezTo>
                <a:cubicBezTo>
                  <a:pt x="5833647" y="6775614"/>
                  <a:pt x="5851456" y="6804913"/>
                  <a:pt x="5819199" y="6809458"/>
                </a:cubicBezTo>
                <a:cubicBezTo>
                  <a:pt x="5798819" y="6806826"/>
                  <a:pt x="5788750" y="6809185"/>
                  <a:pt x="5786034" y="6822531"/>
                </a:cubicBezTo>
                <a:cubicBezTo>
                  <a:pt x="5689973" y="6808388"/>
                  <a:pt x="5750863" y="6835085"/>
                  <a:pt x="5683543" y="6842621"/>
                </a:cubicBezTo>
                <a:cubicBezTo>
                  <a:pt x="5622547" y="6846361"/>
                  <a:pt x="5561432" y="6857984"/>
                  <a:pt x="5478912" y="6839959"/>
                </a:cubicBezTo>
                <a:cubicBezTo>
                  <a:pt x="5459815" y="6833021"/>
                  <a:pt x="5436209" y="6837391"/>
                  <a:pt x="5426183" y="6849719"/>
                </a:cubicBezTo>
                <a:cubicBezTo>
                  <a:pt x="5424458" y="6851841"/>
                  <a:pt x="5423209" y="6854123"/>
                  <a:pt x="5422476" y="6856495"/>
                </a:cubicBezTo>
                <a:cubicBezTo>
                  <a:pt x="5368974" y="6841676"/>
                  <a:pt x="5364520" y="6861621"/>
                  <a:pt x="5334223" y="6849076"/>
                </a:cubicBezTo>
                <a:lnTo>
                  <a:pt x="5307097" y="6857999"/>
                </a:lnTo>
                <a:lnTo>
                  <a:pt x="0" y="6857999"/>
                </a:lnTo>
                <a:close/>
              </a:path>
            </a:pathLst>
          </a:custGeom>
        </p:spPr>
        <p:txBody>
          <a:bodyPr wrap="square" anchor="ctr">
            <a:noAutofit/>
          </a:bodyPr>
          <a:lstStyle>
            <a:lvl1pPr marL="0" indent="0" algn="ctr">
              <a:buNone/>
              <a:defRPr/>
            </a:lvl1pPr>
          </a:lstStyle>
          <a:p>
            <a:r>
              <a:rPr lang="en-US" dirty="0"/>
              <a:t>Click to add photo</a:t>
            </a:r>
          </a:p>
        </p:txBody>
      </p:sp>
      <p:sp>
        <p:nvSpPr>
          <p:cNvPr id="8" name="Title 1">
            <a:extLst>
              <a:ext uri="{FF2B5EF4-FFF2-40B4-BE49-F238E27FC236}">
                <a16:creationId xmlns:a16="http://schemas.microsoft.com/office/drawing/2014/main" id="{03447B93-0DB9-496E-BB75-D6D4CB3987D0}"/>
              </a:ext>
            </a:extLst>
          </p:cNvPr>
          <p:cNvSpPr>
            <a:spLocks noGrp="1"/>
          </p:cNvSpPr>
          <p:nvPr>
            <p:ph type="ctrTitle"/>
          </p:nvPr>
        </p:nvSpPr>
        <p:spPr>
          <a:xfrm>
            <a:off x="1711302" y="953027"/>
            <a:ext cx="8769396" cy="2494295"/>
          </a:xfrm>
        </p:spPr>
        <p:txBody>
          <a:bodyPr>
            <a:normAutofit/>
          </a:bodyPr>
          <a:lstStyle>
            <a:lvl1pPr algn="ctr">
              <a:defRPr sz="4000">
                <a:solidFill>
                  <a:schemeClr val="bg1"/>
                </a:solidFill>
              </a:defRPr>
            </a:lvl1pPr>
          </a:lstStyle>
          <a:p>
            <a:r>
              <a:rPr lang="en-US">
                <a:solidFill>
                  <a:srgbClr val="FFFFFF"/>
                </a:solidFill>
                <a:effectLst>
                  <a:outerShdw blurRad="38100" dist="38100" dir="2700000" algn="tl">
                    <a:srgbClr val="000000">
                      <a:alpha val="43137"/>
                    </a:srgbClr>
                  </a:outerShdw>
                </a:effectLst>
              </a:rPr>
              <a:t>Click to edit Master title style</a:t>
            </a:r>
            <a:endParaRPr lang="en-US" dirty="0">
              <a:solidFill>
                <a:srgbClr val="FFFFFF"/>
              </a:solidFill>
              <a:effectLst>
                <a:outerShdw blurRad="38100" dist="38100" dir="2700000" algn="tl">
                  <a:srgbClr val="000000">
                    <a:alpha val="43137"/>
                  </a:srgbClr>
                </a:outerShdw>
              </a:effectLst>
            </a:endParaRPr>
          </a:p>
        </p:txBody>
      </p:sp>
      <p:sp>
        <p:nvSpPr>
          <p:cNvPr id="9" name="Subtitle 2">
            <a:extLst>
              <a:ext uri="{FF2B5EF4-FFF2-40B4-BE49-F238E27FC236}">
                <a16:creationId xmlns:a16="http://schemas.microsoft.com/office/drawing/2014/main" id="{5E130FEC-33A0-496A-8EC2-BD298C85EE42}"/>
              </a:ext>
            </a:extLst>
          </p:cNvPr>
          <p:cNvSpPr>
            <a:spLocks noGrp="1"/>
          </p:cNvSpPr>
          <p:nvPr>
            <p:ph type="subTitle" idx="1"/>
          </p:nvPr>
        </p:nvSpPr>
        <p:spPr>
          <a:xfrm>
            <a:off x="4438735" y="3603454"/>
            <a:ext cx="6041963" cy="1215470"/>
          </a:xfrm>
        </p:spPr>
        <p:txBody>
          <a:bodyPr>
            <a:normAutofit/>
          </a:bodyPr>
          <a:lstStyle>
            <a:lvl1pPr marL="0" indent="0" algn="r">
              <a:buNone/>
              <a:defRPr sz="2800">
                <a:solidFill>
                  <a:schemeClr val="bg1"/>
                </a:solidFill>
              </a:defRPr>
            </a:lvl1pPr>
          </a:lstStyle>
          <a:p>
            <a:r>
              <a:rPr lang="en-US">
                <a:solidFill>
                  <a:srgbClr val="FFFFFF"/>
                </a:solidFill>
                <a:effectLst>
                  <a:outerShdw blurRad="38100" dist="38100" dir="2700000" algn="tl">
                    <a:srgbClr val="000000">
                      <a:alpha val="43137"/>
                    </a:srgbClr>
                  </a:outerShdw>
                </a:effectLst>
              </a:rPr>
              <a:t>Click to edit Master subtitle style</a:t>
            </a:r>
            <a:endParaRPr lang="en-US" dirty="0">
              <a:solidFill>
                <a:srgbClr val="FFFFFF"/>
              </a:solidFill>
              <a:effectLst>
                <a:outerShdw blurRad="38100" dist="38100" dir="2700000" algn="tl">
                  <a:srgbClr val="000000">
                    <a:alpha val="43137"/>
                  </a:srgbClr>
                </a:outerShdw>
              </a:effectLst>
            </a:endParaRPr>
          </a:p>
        </p:txBody>
      </p:sp>
      <p:sp>
        <p:nvSpPr>
          <p:cNvPr id="3" name="Footer Placeholder 2">
            <a:extLst>
              <a:ext uri="{FF2B5EF4-FFF2-40B4-BE49-F238E27FC236}">
                <a16:creationId xmlns:a16="http://schemas.microsoft.com/office/drawing/2014/main" id="{16357B86-EC22-49C6-BBC6-639D57D1AFBA}"/>
              </a:ext>
            </a:extLst>
          </p:cNvPr>
          <p:cNvSpPr>
            <a:spLocks noGrp="1"/>
          </p:cNvSpPr>
          <p:nvPr>
            <p:ph type="ftr" sz="quarter" idx="11"/>
          </p:nvPr>
        </p:nvSpPr>
        <p:spPr/>
        <p:txBody>
          <a:bodyPr/>
          <a:lstStyle/>
          <a:p>
            <a:r>
              <a:rPr lang="en-US" dirty="0"/>
              <a:t>PRESENTATION TITLE</a:t>
            </a:r>
          </a:p>
        </p:txBody>
      </p:sp>
      <p:sp>
        <p:nvSpPr>
          <p:cNvPr id="27" name="Slide Number Placeholder 5">
            <a:extLst>
              <a:ext uri="{FF2B5EF4-FFF2-40B4-BE49-F238E27FC236}">
                <a16:creationId xmlns:a16="http://schemas.microsoft.com/office/drawing/2014/main" id="{225233E2-C3A8-4F82-B3D6-B9E4B1622D38}"/>
              </a:ext>
            </a:extLst>
          </p:cNvPr>
          <p:cNvSpPr>
            <a:spLocks noGrp="1"/>
          </p:cNvSpPr>
          <p:nvPr>
            <p:ph type="sldNum" sz="quarter" idx="12"/>
          </p:nvPr>
        </p:nvSpPr>
        <p:spPr>
          <a:xfrm>
            <a:off x="11558016" y="3136392"/>
            <a:ext cx="545911" cy="58002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4F66505-CBE9-4DDE-B6B8-8F5BDC18C943}" type="slidenum">
              <a:rPr kumimoji="0" lang="en-US" sz="1600" b="0" i="0" u="none" strike="noStrike" kern="1200" cap="none" spc="0" normalizeH="0" baseline="0" noProof="0" smtClean="0">
                <a:ln>
                  <a:noFill/>
                </a:ln>
                <a:solidFill>
                  <a:prstClr val="black">
                    <a:lumMod val="85000"/>
                    <a:lumOff val="15000"/>
                  </a:prstClr>
                </a:solidFill>
                <a:effectLst/>
                <a:uLnTx/>
                <a:uFillTx/>
                <a:latin typeface="Bembo"/>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prstClr val="black">
                  <a:lumMod val="85000"/>
                  <a:lumOff val="15000"/>
                </a:prstClr>
              </a:solidFill>
              <a:effectLst/>
              <a:uLnTx/>
              <a:uFillTx/>
              <a:latin typeface="Bembo"/>
              <a:ea typeface="+mn-ea"/>
              <a:cs typeface="+mn-cs"/>
            </a:endParaRPr>
          </a:p>
        </p:txBody>
      </p:sp>
      <p:sp>
        <p:nvSpPr>
          <p:cNvPr id="29" name="Date Placeholder 3">
            <a:extLst>
              <a:ext uri="{FF2B5EF4-FFF2-40B4-BE49-F238E27FC236}">
                <a16:creationId xmlns:a16="http://schemas.microsoft.com/office/drawing/2014/main" id="{97F40738-8D05-4386-863D-A8D23A41A0C8}"/>
              </a:ext>
            </a:extLst>
          </p:cNvPr>
          <p:cNvSpPr>
            <a:spLocks noGrp="1"/>
          </p:cNvSpPr>
          <p:nvPr>
            <p:ph type="dt" sz="half" idx="10"/>
          </p:nvPr>
        </p:nvSpPr>
        <p:spPr>
          <a:xfrm rot="5400000">
            <a:off x="10506456" y="5074920"/>
            <a:ext cx="264766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all" spc="300" normalizeH="0" baseline="0" noProof="0" dirty="0">
                <a:ln>
                  <a:noFill/>
                </a:ln>
                <a:solidFill>
                  <a:prstClr val="black">
                    <a:lumMod val="85000"/>
                    <a:lumOff val="15000"/>
                  </a:prstClr>
                </a:solidFill>
                <a:effectLst/>
                <a:uLnTx/>
                <a:uFillTx/>
                <a:latin typeface="Bembo"/>
                <a:ea typeface="+mn-ea"/>
                <a:cs typeface="+mn-cs"/>
              </a:rPr>
              <a:t>20XX</a:t>
            </a:r>
          </a:p>
        </p:txBody>
      </p:sp>
    </p:spTree>
    <p:extLst>
      <p:ext uri="{BB962C8B-B14F-4D97-AF65-F5344CB8AC3E}">
        <p14:creationId xmlns:p14="http://schemas.microsoft.com/office/powerpoint/2010/main" val="20594064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2D3E95E-C3B3-4242-95F9-FBDEA263081E}"/>
              </a:ext>
            </a:extLst>
          </p:cNvPr>
          <p:cNvSpPr>
            <a:spLocks noGrp="1"/>
          </p:cNvSpPr>
          <p:nvPr>
            <p:ph type="title"/>
          </p:nvPr>
        </p:nvSpPr>
        <p:spPr>
          <a:xfrm>
            <a:off x="1050879" y="609601"/>
            <a:ext cx="9505664" cy="1216024"/>
          </a:xfrm>
        </p:spPr>
        <p:txBody>
          <a:bodyPr/>
          <a:lstStyle/>
          <a:p>
            <a:r>
              <a:rPr lang="en-US"/>
              <a:t>Click to edit Master title style</a:t>
            </a:r>
            <a:endParaRPr lang="en-US" dirty="0"/>
          </a:p>
        </p:txBody>
      </p:sp>
      <p:sp>
        <p:nvSpPr>
          <p:cNvPr id="11" name="Footer Placeholder 4">
            <a:extLst>
              <a:ext uri="{FF2B5EF4-FFF2-40B4-BE49-F238E27FC236}">
                <a16:creationId xmlns:a16="http://schemas.microsoft.com/office/drawing/2014/main" id="{0978699A-03B3-418F-8303-D2DD8EBF5363}"/>
              </a:ext>
            </a:extLst>
          </p:cNvPr>
          <p:cNvSpPr>
            <a:spLocks noGrp="1"/>
          </p:cNvSpPr>
          <p:nvPr>
            <p:ph type="ftr" sz="quarter" idx="11"/>
          </p:nvPr>
        </p:nvSpPr>
        <p:spPr>
          <a:xfrm rot="5400000">
            <a:off x="10451592" y="1408176"/>
            <a:ext cx="2770499"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all" spc="300" normalizeH="0" baseline="0" noProof="0" dirty="0">
                <a:ln>
                  <a:noFill/>
                </a:ln>
                <a:solidFill>
                  <a:prstClr val="black">
                    <a:lumMod val="85000"/>
                    <a:lumOff val="15000"/>
                  </a:prstClr>
                </a:solidFill>
                <a:effectLst/>
                <a:uLnTx/>
                <a:uFillTx/>
                <a:latin typeface="Bembo"/>
                <a:ea typeface="+mn-ea"/>
                <a:cs typeface="+mn-cs"/>
              </a:rPr>
              <a:t>PRESENTATION TITLE</a:t>
            </a:r>
          </a:p>
        </p:txBody>
      </p:sp>
      <p:sp>
        <p:nvSpPr>
          <p:cNvPr id="12" name="Slide Number Placeholder 5">
            <a:extLst>
              <a:ext uri="{FF2B5EF4-FFF2-40B4-BE49-F238E27FC236}">
                <a16:creationId xmlns:a16="http://schemas.microsoft.com/office/drawing/2014/main" id="{8CE632E6-C5BB-4739-9B25-7271EC8C2857}"/>
              </a:ext>
            </a:extLst>
          </p:cNvPr>
          <p:cNvSpPr>
            <a:spLocks noGrp="1"/>
          </p:cNvSpPr>
          <p:nvPr>
            <p:ph type="sldNum" sz="quarter" idx="12"/>
          </p:nvPr>
        </p:nvSpPr>
        <p:spPr>
          <a:xfrm>
            <a:off x="11558016" y="3136392"/>
            <a:ext cx="545911" cy="58002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4F66505-CBE9-4DDE-B6B8-8F5BDC18C943}" type="slidenum">
              <a:rPr kumimoji="0" lang="en-US" sz="1600" b="0" i="0" u="none" strike="noStrike" kern="1200" cap="none" spc="0" normalizeH="0" baseline="0" noProof="0" smtClean="0">
                <a:ln>
                  <a:noFill/>
                </a:ln>
                <a:solidFill>
                  <a:prstClr val="black">
                    <a:lumMod val="85000"/>
                    <a:lumOff val="15000"/>
                  </a:prstClr>
                </a:solidFill>
                <a:effectLst/>
                <a:uLnTx/>
                <a:uFillTx/>
                <a:latin typeface="Bembo"/>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prstClr val="black">
                  <a:lumMod val="85000"/>
                  <a:lumOff val="15000"/>
                </a:prstClr>
              </a:solidFill>
              <a:effectLst/>
              <a:uLnTx/>
              <a:uFillTx/>
              <a:latin typeface="Bembo"/>
              <a:ea typeface="+mn-ea"/>
              <a:cs typeface="+mn-cs"/>
            </a:endParaRPr>
          </a:p>
        </p:txBody>
      </p:sp>
      <p:sp>
        <p:nvSpPr>
          <p:cNvPr id="3" name="Content Placeholder 2">
            <a:extLst>
              <a:ext uri="{FF2B5EF4-FFF2-40B4-BE49-F238E27FC236}">
                <a16:creationId xmlns:a16="http://schemas.microsoft.com/office/drawing/2014/main" id="{7EC410D3-9658-4F73-B03B-6A48D80F7B0E}"/>
              </a:ext>
            </a:extLst>
          </p:cNvPr>
          <p:cNvSpPr>
            <a:spLocks noGrp="1"/>
          </p:cNvSpPr>
          <p:nvPr>
            <p:ph sz="quarter" idx="13" hasCustomPrompt="1"/>
          </p:nvPr>
        </p:nvSpPr>
        <p:spPr>
          <a:xfrm>
            <a:off x="755650" y="1995488"/>
            <a:ext cx="10166350" cy="3876675"/>
          </a:xfrm>
        </p:spPr>
        <p:txBody>
          <a:bodyPr/>
          <a:lstStyle>
            <a:lvl1pPr>
              <a:defRPr/>
            </a:lvl1pPr>
          </a:lstStyle>
          <a:p>
            <a:pPr lvl="0"/>
            <a:r>
              <a:rPr lang="en-US" dirty="0"/>
              <a:t>Click to add content</a:t>
            </a:r>
          </a:p>
        </p:txBody>
      </p:sp>
      <p:sp>
        <p:nvSpPr>
          <p:cNvPr id="13" name="Date Placeholder 3">
            <a:extLst>
              <a:ext uri="{FF2B5EF4-FFF2-40B4-BE49-F238E27FC236}">
                <a16:creationId xmlns:a16="http://schemas.microsoft.com/office/drawing/2014/main" id="{1413CC52-74FB-4A3A-9400-683CB916F09D}"/>
              </a:ext>
            </a:extLst>
          </p:cNvPr>
          <p:cNvSpPr>
            <a:spLocks noGrp="1"/>
          </p:cNvSpPr>
          <p:nvPr>
            <p:ph type="dt" sz="half" idx="10"/>
          </p:nvPr>
        </p:nvSpPr>
        <p:spPr>
          <a:xfrm rot="5400000">
            <a:off x="10506456" y="5074920"/>
            <a:ext cx="264766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all" spc="300" normalizeH="0" baseline="0" noProof="0" dirty="0">
                <a:ln>
                  <a:noFill/>
                </a:ln>
                <a:solidFill>
                  <a:prstClr val="black">
                    <a:lumMod val="85000"/>
                    <a:lumOff val="15000"/>
                  </a:prstClr>
                </a:solidFill>
                <a:effectLst/>
                <a:uLnTx/>
                <a:uFillTx/>
                <a:latin typeface="Bembo"/>
                <a:ea typeface="+mn-ea"/>
                <a:cs typeface="+mn-cs"/>
              </a:rPr>
              <a:t>20XX</a:t>
            </a:r>
          </a:p>
        </p:txBody>
      </p:sp>
      <p:sp>
        <p:nvSpPr>
          <p:cNvPr id="15" name="Rectangle 6">
            <a:extLst>
              <a:ext uri="{FF2B5EF4-FFF2-40B4-BE49-F238E27FC236}">
                <a16:creationId xmlns:a16="http://schemas.microsoft.com/office/drawing/2014/main" id="{8366FB3C-9B36-4970-A0B3-0A599FB5B3F0}"/>
              </a:ext>
              <a:ext uri="{C183D7F6-B498-43B3-948B-1728B52AA6E4}">
                <adec:decorative xmlns:adec="http://schemas.microsoft.com/office/drawing/2017/decorative" val="1"/>
              </a:ext>
            </a:extLst>
          </p:cNvPr>
          <p:cNvSpPr/>
          <p:nvPr userDrawn="1"/>
        </p:nvSpPr>
        <p:spPr>
          <a:xfrm>
            <a:off x="1353495" y="2162719"/>
            <a:ext cx="1185648" cy="428984"/>
          </a:xfrm>
          <a:custGeom>
            <a:avLst/>
            <a:gdLst>
              <a:gd name="connsiteX0" fmla="*/ 0 w 2142503"/>
              <a:gd name="connsiteY0" fmla="*/ 0 h 571500"/>
              <a:gd name="connsiteX1" fmla="*/ 2142503 w 2142503"/>
              <a:gd name="connsiteY1" fmla="*/ 0 h 571500"/>
              <a:gd name="connsiteX2" fmla="*/ 2142503 w 2142503"/>
              <a:gd name="connsiteY2" fmla="*/ 571500 h 571500"/>
              <a:gd name="connsiteX3" fmla="*/ 0 w 2142503"/>
              <a:gd name="connsiteY3" fmla="*/ 571500 h 571500"/>
              <a:gd name="connsiteX4" fmla="*/ 0 w 2142503"/>
              <a:gd name="connsiteY4" fmla="*/ 0 h 571500"/>
              <a:gd name="connsiteX0" fmla="*/ 0 w 2142503"/>
              <a:gd name="connsiteY0" fmla="*/ 0 h 582145"/>
              <a:gd name="connsiteX1" fmla="*/ 2142503 w 2142503"/>
              <a:gd name="connsiteY1" fmla="*/ 0 h 582145"/>
              <a:gd name="connsiteX2" fmla="*/ 2142503 w 2142503"/>
              <a:gd name="connsiteY2" fmla="*/ 571500 h 582145"/>
              <a:gd name="connsiteX3" fmla="*/ 2050917 w 2142503"/>
              <a:gd name="connsiteY3" fmla="*/ 582088 h 582145"/>
              <a:gd name="connsiteX4" fmla="*/ 0 w 2142503"/>
              <a:gd name="connsiteY4" fmla="*/ 571500 h 582145"/>
              <a:gd name="connsiteX5" fmla="*/ 0 w 2142503"/>
              <a:gd name="connsiteY5" fmla="*/ 0 h 582145"/>
              <a:gd name="connsiteX0" fmla="*/ 0 w 2159832"/>
              <a:gd name="connsiteY0" fmla="*/ 0 h 582145"/>
              <a:gd name="connsiteX1" fmla="*/ 2142503 w 2159832"/>
              <a:gd name="connsiteY1" fmla="*/ 0 h 582145"/>
              <a:gd name="connsiteX2" fmla="*/ 2159829 w 2159832"/>
              <a:gd name="connsiteY2" fmla="*/ 96526 h 582145"/>
              <a:gd name="connsiteX3" fmla="*/ 2142503 w 2159832"/>
              <a:gd name="connsiteY3" fmla="*/ 571500 h 582145"/>
              <a:gd name="connsiteX4" fmla="*/ 2050917 w 2159832"/>
              <a:gd name="connsiteY4" fmla="*/ 582088 h 582145"/>
              <a:gd name="connsiteX5" fmla="*/ 0 w 2159832"/>
              <a:gd name="connsiteY5" fmla="*/ 571500 h 582145"/>
              <a:gd name="connsiteX6" fmla="*/ 0 w 2159832"/>
              <a:gd name="connsiteY6" fmla="*/ 0 h 582145"/>
              <a:gd name="connsiteX0" fmla="*/ 0 w 2159832"/>
              <a:gd name="connsiteY0" fmla="*/ 12386 h 594531"/>
              <a:gd name="connsiteX1" fmla="*/ 67826 w 2159832"/>
              <a:gd name="connsiteY1" fmla="*/ 0 h 594531"/>
              <a:gd name="connsiteX2" fmla="*/ 2142503 w 2159832"/>
              <a:gd name="connsiteY2" fmla="*/ 12386 h 594531"/>
              <a:gd name="connsiteX3" fmla="*/ 2159829 w 2159832"/>
              <a:gd name="connsiteY3" fmla="*/ 108912 h 594531"/>
              <a:gd name="connsiteX4" fmla="*/ 2142503 w 2159832"/>
              <a:gd name="connsiteY4" fmla="*/ 583886 h 594531"/>
              <a:gd name="connsiteX5" fmla="*/ 2050917 w 2159832"/>
              <a:gd name="connsiteY5" fmla="*/ 594474 h 594531"/>
              <a:gd name="connsiteX6" fmla="*/ 0 w 2159832"/>
              <a:gd name="connsiteY6" fmla="*/ 583886 h 594531"/>
              <a:gd name="connsiteX7" fmla="*/ 0 w 2159832"/>
              <a:gd name="connsiteY7" fmla="*/ 12386 h 594531"/>
              <a:gd name="connsiteX0" fmla="*/ 0 w 2168908"/>
              <a:gd name="connsiteY0" fmla="*/ 26000 h 594531"/>
              <a:gd name="connsiteX1" fmla="*/ 76902 w 2168908"/>
              <a:gd name="connsiteY1" fmla="*/ 0 h 594531"/>
              <a:gd name="connsiteX2" fmla="*/ 2151579 w 2168908"/>
              <a:gd name="connsiteY2" fmla="*/ 12386 h 594531"/>
              <a:gd name="connsiteX3" fmla="*/ 2168905 w 2168908"/>
              <a:gd name="connsiteY3" fmla="*/ 108912 h 594531"/>
              <a:gd name="connsiteX4" fmla="*/ 2151579 w 2168908"/>
              <a:gd name="connsiteY4" fmla="*/ 583886 h 594531"/>
              <a:gd name="connsiteX5" fmla="*/ 2059993 w 2168908"/>
              <a:gd name="connsiteY5" fmla="*/ 594474 h 594531"/>
              <a:gd name="connsiteX6" fmla="*/ 9076 w 2168908"/>
              <a:gd name="connsiteY6" fmla="*/ 583886 h 594531"/>
              <a:gd name="connsiteX7" fmla="*/ 0 w 2168908"/>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147197 w 2316105"/>
              <a:gd name="connsiteY0" fmla="*/ 26000 h 594531"/>
              <a:gd name="connsiteX1" fmla="*/ 224099 w 2316105"/>
              <a:gd name="connsiteY1" fmla="*/ 0 h 594531"/>
              <a:gd name="connsiteX2" fmla="*/ 2298776 w 2316105"/>
              <a:gd name="connsiteY2" fmla="*/ 12386 h 594531"/>
              <a:gd name="connsiteX3" fmla="*/ 2316102 w 2316105"/>
              <a:gd name="connsiteY3" fmla="*/ 108912 h 594531"/>
              <a:gd name="connsiteX4" fmla="*/ 2298776 w 2316105"/>
              <a:gd name="connsiteY4" fmla="*/ 583886 h 594531"/>
              <a:gd name="connsiteX5" fmla="*/ 2207190 w 2316105"/>
              <a:gd name="connsiteY5" fmla="*/ 594474 h 594531"/>
              <a:gd name="connsiteX6" fmla="*/ 156273 w 2316105"/>
              <a:gd name="connsiteY6" fmla="*/ 583886 h 594531"/>
              <a:gd name="connsiteX7" fmla="*/ 142416 w 2316105"/>
              <a:gd name="connsiteY7" fmla="*/ 235975 h 594531"/>
              <a:gd name="connsiteX8" fmla="*/ 147197 w 2316105"/>
              <a:gd name="connsiteY8" fmla="*/ 26000 h 594531"/>
              <a:gd name="connsiteX0" fmla="*/ 154684 w 2323592"/>
              <a:gd name="connsiteY0" fmla="*/ 26000 h 594531"/>
              <a:gd name="connsiteX1" fmla="*/ 231586 w 2323592"/>
              <a:gd name="connsiteY1" fmla="*/ 0 h 594531"/>
              <a:gd name="connsiteX2" fmla="*/ 2306263 w 2323592"/>
              <a:gd name="connsiteY2" fmla="*/ 12386 h 594531"/>
              <a:gd name="connsiteX3" fmla="*/ 2323589 w 2323592"/>
              <a:gd name="connsiteY3" fmla="*/ 108912 h 594531"/>
              <a:gd name="connsiteX4" fmla="*/ 2306263 w 2323592"/>
              <a:gd name="connsiteY4" fmla="*/ 583886 h 594531"/>
              <a:gd name="connsiteX5" fmla="*/ 2214677 w 2323592"/>
              <a:gd name="connsiteY5" fmla="*/ 594474 h 594531"/>
              <a:gd name="connsiteX6" fmla="*/ 163760 w 2323592"/>
              <a:gd name="connsiteY6" fmla="*/ 583886 h 594531"/>
              <a:gd name="connsiteX7" fmla="*/ 158979 w 2323592"/>
              <a:gd name="connsiteY7" fmla="*/ 403879 h 594531"/>
              <a:gd name="connsiteX8" fmla="*/ 149903 w 2323592"/>
              <a:gd name="connsiteY8" fmla="*/ 235975 h 594531"/>
              <a:gd name="connsiteX9" fmla="*/ 154684 w 2323592"/>
              <a:gd name="connsiteY9" fmla="*/ 26000 h 594531"/>
              <a:gd name="connsiteX0" fmla="*/ 13665 w 2182573"/>
              <a:gd name="connsiteY0" fmla="*/ 26000 h 594531"/>
              <a:gd name="connsiteX1" fmla="*/ 90567 w 2182573"/>
              <a:gd name="connsiteY1" fmla="*/ 0 h 594531"/>
              <a:gd name="connsiteX2" fmla="*/ 2165244 w 2182573"/>
              <a:gd name="connsiteY2" fmla="*/ 12386 h 594531"/>
              <a:gd name="connsiteX3" fmla="*/ 2182570 w 2182573"/>
              <a:gd name="connsiteY3" fmla="*/ 108912 h 594531"/>
              <a:gd name="connsiteX4" fmla="*/ 2165244 w 2182573"/>
              <a:gd name="connsiteY4" fmla="*/ 583886 h 594531"/>
              <a:gd name="connsiteX5" fmla="*/ 2073658 w 2182573"/>
              <a:gd name="connsiteY5" fmla="*/ 594474 h 594531"/>
              <a:gd name="connsiteX6" fmla="*/ 22741 w 2182573"/>
              <a:gd name="connsiteY6" fmla="*/ 583886 h 594531"/>
              <a:gd name="connsiteX7" fmla="*/ 17960 w 2182573"/>
              <a:gd name="connsiteY7" fmla="*/ 403879 h 594531"/>
              <a:gd name="connsiteX8" fmla="*/ 8884 w 2182573"/>
              <a:gd name="connsiteY8" fmla="*/ 235975 h 594531"/>
              <a:gd name="connsiteX9" fmla="*/ 13665 w 2182573"/>
              <a:gd name="connsiteY9" fmla="*/ 26000 h 594531"/>
              <a:gd name="connsiteX0" fmla="*/ 13665 w 2202120"/>
              <a:gd name="connsiteY0" fmla="*/ 26000 h 594531"/>
              <a:gd name="connsiteX1" fmla="*/ 90567 w 2202120"/>
              <a:gd name="connsiteY1" fmla="*/ 0 h 594531"/>
              <a:gd name="connsiteX2" fmla="*/ 2165244 w 2202120"/>
              <a:gd name="connsiteY2" fmla="*/ 12386 h 594531"/>
              <a:gd name="connsiteX3" fmla="*/ 2182570 w 2202120"/>
              <a:gd name="connsiteY3" fmla="*/ 108912 h 594531"/>
              <a:gd name="connsiteX4" fmla="*/ 2192471 w 2202120"/>
              <a:gd name="connsiteY4" fmla="*/ 583886 h 594531"/>
              <a:gd name="connsiteX5" fmla="*/ 2073658 w 2202120"/>
              <a:gd name="connsiteY5" fmla="*/ 594474 h 594531"/>
              <a:gd name="connsiteX6" fmla="*/ 22741 w 2202120"/>
              <a:gd name="connsiteY6" fmla="*/ 583886 h 594531"/>
              <a:gd name="connsiteX7" fmla="*/ 17960 w 2202120"/>
              <a:gd name="connsiteY7" fmla="*/ 403879 h 594531"/>
              <a:gd name="connsiteX8" fmla="*/ 8884 w 2202120"/>
              <a:gd name="connsiteY8" fmla="*/ 235975 h 594531"/>
              <a:gd name="connsiteX9" fmla="*/ 13665 w 2202120"/>
              <a:gd name="connsiteY9" fmla="*/ 26000 h 594531"/>
              <a:gd name="connsiteX0" fmla="*/ 13665 w 2202036"/>
              <a:gd name="connsiteY0" fmla="*/ 26000 h 594531"/>
              <a:gd name="connsiteX1" fmla="*/ 90567 w 2202036"/>
              <a:gd name="connsiteY1" fmla="*/ 0 h 594531"/>
              <a:gd name="connsiteX2" fmla="*/ 2165244 w 2202036"/>
              <a:gd name="connsiteY2" fmla="*/ 12386 h 594531"/>
              <a:gd name="connsiteX3" fmla="*/ 2182570 w 2202036"/>
              <a:gd name="connsiteY3" fmla="*/ 108912 h 594531"/>
              <a:gd name="connsiteX4" fmla="*/ 2191645 w 2202036"/>
              <a:gd name="connsiteY4" fmla="*/ 422031 h 594531"/>
              <a:gd name="connsiteX5" fmla="*/ 2192471 w 2202036"/>
              <a:gd name="connsiteY5" fmla="*/ 583886 h 594531"/>
              <a:gd name="connsiteX6" fmla="*/ 2073658 w 2202036"/>
              <a:gd name="connsiteY6" fmla="*/ 594474 h 594531"/>
              <a:gd name="connsiteX7" fmla="*/ 22741 w 2202036"/>
              <a:gd name="connsiteY7" fmla="*/ 583886 h 594531"/>
              <a:gd name="connsiteX8" fmla="*/ 17960 w 2202036"/>
              <a:gd name="connsiteY8" fmla="*/ 403879 h 594531"/>
              <a:gd name="connsiteX9" fmla="*/ 8884 w 2202036"/>
              <a:gd name="connsiteY9" fmla="*/ 235975 h 594531"/>
              <a:gd name="connsiteX10" fmla="*/ 13665 w 2202036"/>
              <a:gd name="connsiteY10" fmla="*/ 26000 h 594531"/>
              <a:gd name="connsiteX0" fmla="*/ 142254 w 2330625"/>
              <a:gd name="connsiteY0" fmla="*/ 26000 h 594531"/>
              <a:gd name="connsiteX1" fmla="*/ 219156 w 2330625"/>
              <a:gd name="connsiteY1" fmla="*/ 0 h 594531"/>
              <a:gd name="connsiteX2" fmla="*/ 2293833 w 2330625"/>
              <a:gd name="connsiteY2" fmla="*/ 12386 h 594531"/>
              <a:gd name="connsiteX3" fmla="*/ 2311159 w 2330625"/>
              <a:gd name="connsiteY3" fmla="*/ 108912 h 594531"/>
              <a:gd name="connsiteX4" fmla="*/ 2320234 w 2330625"/>
              <a:gd name="connsiteY4" fmla="*/ 422031 h 594531"/>
              <a:gd name="connsiteX5" fmla="*/ 2321060 w 2330625"/>
              <a:gd name="connsiteY5" fmla="*/ 583886 h 594531"/>
              <a:gd name="connsiteX6" fmla="*/ 2202247 w 2330625"/>
              <a:gd name="connsiteY6" fmla="*/ 594474 h 594531"/>
              <a:gd name="connsiteX7" fmla="*/ 151330 w 2330625"/>
              <a:gd name="connsiteY7" fmla="*/ 583886 h 594531"/>
              <a:gd name="connsiteX8" fmla="*/ 155624 w 2330625"/>
              <a:gd name="connsiteY8" fmla="*/ 512790 h 594531"/>
              <a:gd name="connsiteX9" fmla="*/ 146549 w 2330625"/>
              <a:gd name="connsiteY9" fmla="*/ 403879 h 594531"/>
              <a:gd name="connsiteX10" fmla="*/ 137473 w 2330625"/>
              <a:gd name="connsiteY10" fmla="*/ 235975 h 594531"/>
              <a:gd name="connsiteX11" fmla="*/ 142254 w 2330625"/>
              <a:gd name="connsiteY11" fmla="*/ 26000 h 594531"/>
              <a:gd name="connsiteX0" fmla="*/ 13413 w 2201784"/>
              <a:gd name="connsiteY0" fmla="*/ 26000 h 594531"/>
              <a:gd name="connsiteX1" fmla="*/ 90315 w 2201784"/>
              <a:gd name="connsiteY1" fmla="*/ 0 h 594531"/>
              <a:gd name="connsiteX2" fmla="*/ 2164992 w 2201784"/>
              <a:gd name="connsiteY2" fmla="*/ 12386 h 594531"/>
              <a:gd name="connsiteX3" fmla="*/ 2182318 w 2201784"/>
              <a:gd name="connsiteY3" fmla="*/ 108912 h 594531"/>
              <a:gd name="connsiteX4" fmla="*/ 2191393 w 2201784"/>
              <a:gd name="connsiteY4" fmla="*/ 422031 h 594531"/>
              <a:gd name="connsiteX5" fmla="*/ 2192219 w 2201784"/>
              <a:gd name="connsiteY5" fmla="*/ 583886 h 594531"/>
              <a:gd name="connsiteX6" fmla="*/ 2073406 w 2201784"/>
              <a:gd name="connsiteY6" fmla="*/ 594474 h 594531"/>
              <a:gd name="connsiteX7" fmla="*/ 22489 w 2201784"/>
              <a:gd name="connsiteY7" fmla="*/ 583886 h 594531"/>
              <a:gd name="connsiteX8" fmla="*/ 26783 w 2201784"/>
              <a:gd name="connsiteY8" fmla="*/ 512790 h 594531"/>
              <a:gd name="connsiteX9" fmla="*/ 17708 w 2201784"/>
              <a:gd name="connsiteY9" fmla="*/ 403879 h 594531"/>
              <a:gd name="connsiteX10" fmla="*/ 8632 w 2201784"/>
              <a:gd name="connsiteY10" fmla="*/ 235975 h 594531"/>
              <a:gd name="connsiteX11" fmla="*/ 13413 w 2201784"/>
              <a:gd name="connsiteY11" fmla="*/ 26000 h 59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784" h="594531">
                <a:moveTo>
                  <a:pt x="13413" y="26000"/>
                </a:moveTo>
                <a:cubicBezTo>
                  <a:pt x="37534" y="24897"/>
                  <a:pt x="66194" y="1103"/>
                  <a:pt x="90315" y="0"/>
                </a:cubicBezTo>
                <a:lnTo>
                  <a:pt x="2164992" y="12386"/>
                </a:lnTo>
                <a:cubicBezTo>
                  <a:pt x="2164717" y="43049"/>
                  <a:pt x="2182593" y="78249"/>
                  <a:pt x="2182318" y="108912"/>
                </a:cubicBezTo>
                <a:cubicBezTo>
                  <a:pt x="2188231" y="177186"/>
                  <a:pt x="2189743" y="342869"/>
                  <a:pt x="2191393" y="422031"/>
                </a:cubicBezTo>
                <a:cubicBezTo>
                  <a:pt x="2193043" y="501193"/>
                  <a:pt x="2213396" y="555146"/>
                  <a:pt x="2192219" y="583886"/>
                </a:cubicBezTo>
                <a:cubicBezTo>
                  <a:pt x="2172279" y="582877"/>
                  <a:pt x="2093346" y="595483"/>
                  <a:pt x="2073406" y="594474"/>
                </a:cubicBezTo>
                <a:lnTo>
                  <a:pt x="22489" y="583886"/>
                </a:lnTo>
                <a:cubicBezTo>
                  <a:pt x="5849" y="592962"/>
                  <a:pt x="27580" y="542791"/>
                  <a:pt x="26783" y="512790"/>
                </a:cubicBezTo>
                <a:cubicBezTo>
                  <a:pt x="25986" y="482789"/>
                  <a:pt x="18464" y="450015"/>
                  <a:pt x="17708" y="403879"/>
                </a:cubicBezTo>
                <a:cubicBezTo>
                  <a:pt x="16952" y="357743"/>
                  <a:pt x="-14855" y="308787"/>
                  <a:pt x="8632" y="235975"/>
                </a:cubicBezTo>
                <a:cubicBezTo>
                  <a:pt x="7119" y="142994"/>
                  <a:pt x="-201" y="65329"/>
                  <a:pt x="13413" y="26000"/>
                </a:cubicBezTo>
                <a:close/>
              </a:path>
            </a:pathLst>
          </a:custGeom>
          <a:solidFill>
            <a:srgbClr val="D9D4D0">
              <a:alpha val="50000"/>
            </a:srgbClr>
          </a:solidFill>
          <a:ln>
            <a:noFill/>
          </a:ln>
          <a:effectLst>
            <a:softEdge rad="63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Bembo"/>
              <a:ea typeface="+mn-ea"/>
              <a:cs typeface="+mn-cs"/>
            </a:endParaRPr>
          </a:p>
        </p:txBody>
      </p:sp>
      <p:sp>
        <p:nvSpPr>
          <p:cNvPr id="16" name="Rectangle 6">
            <a:extLst>
              <a:ext uri="{FF2B5EF4-FFF2-40B4-BE49-F238E27FC236}">
                <a16:creationId xmlns:a16="http://schemas.microsoft.com/office/drawing/2014/main" id="{42D597FE-E139-4E5E-956B-2F0D1BE21A25}"/>
              </a:ext>
              <a:ext uri="{C183D7F6-B498-43B3-948B-1728B52AA6E4}">
                <adec:decorative xmlns:adec="http://schemas.microsoft.com/office/drawing/2017/decorative" val="1"/>
              </a:ext>
            </a:extLst>
          </p:cNvPr>
          <p:cNvSpPr/>
          <p:nvPr userDrawn="1"/>
        </p:nvSpPr>
        <p:spPr>
          <a:xfrm>
            <a:off x="3827675" y="2162719"/>
            <a:ext cx="1185648" cy="428984"/>
          </a:xfrm>
          <a:custGeom>
            <a:avLst/>
            <a:gdLst>
              <a:gd name="connsiteX0" fmla="*/ 0 w 2142503"/>
              <a:gd name="connsiteY0" fmla="*/ 0 h 571500"/>
              <a:gd name="connsiteX1" fmla="*/ 2142503 w 2142503"/>
              <a:gd name="connsiteY1" fmla="*/ 0 h 571500"/>
              <a:gd name="connsiteX2" fmla="*/ 2142503 w 2142503"/>
              <a:gd name="connsiteY2" fmla="*/ 571500 h 571500"/>
              <a:gd name="connsiteX3" fmla="*/ 0 w 2142503"/>
              <a:gd name="connsiteY3" fmla="*/ 571500 h 571500"/>
              <a:gd name="connsiteX4" fmla="*/ 0 w 2142503"/>
              <a:gd name="connsiteY4" fmla="*/ 0 h 571500"/>
              <a:gd name="connsiteX0" fmla="*/ 0 w 2142503"/>
              <a:gd name="connsiteY0" fmla="*/ 0 h 582145"/>
              <a:gd name="connsiteX1" fmla="*/ 2142503 w 2142503"/>
              <a:gd name="connsiteY1" fmla="*/ 0 h 582145"/>
              <a:gd name="connsiteX2" fmla="*/ 2142503 w 2142503"/>
              <a:gd name="connsiteY2" fmla="*/ 571500 h 582145"/>
              <a:gd name="connsiteX3" fmla="*/ 2050917 w 2142503"/>
              <a:gd name="connsiteY3" fmla="*/ 582088 h 582145"/>
              <a:gd name="connsiteX4" fmla="*/ 0 w 2142503"/>
              <a:gd name="connsiteY4" fmla="*/ 571500 h 582145"/>
              <a:gd name="connsiteX5" fmla="*/ 0 w 2142503"/>
              <a:gd name="connsiteY5" fmla="*/ 0 h 582145"/>
              <a:gd name="connsiteX0" fmla="*/ 0 w 2159832"/>
              <a:gd name="connsiteY0" fmla="*/ 0 h 582145"/>
              <a:gd name="connsiteX1" fmla="*/ 2142503 w 2159832"/>
              <a:gd name="connsiteY1" fmla="*/ 0 h 582145"/>
              <a:gd name="connsiteX2" fmla="*/ 2159829 w 2159832"/>
              <a:gd name="connsiteY2" fmla="*/ 96526 h 582145"/>
              <a:gd name="connsiteX3" fmla="*/ 2142503 w 2159832"/>
              <a:gd name="connsiteY3" fmla="*/ 571500 h 582145"/>
              <a:gd name="connsiteX4" fmla="*/ 2050917 w 2159832"/>
              <a:gd name="connsiteY4" fmla="*/ 582088 h 582145"/>
              <a:gd name="connsiteX5" fmla="*/ 0 w 2159832"/>
              <a:gd name="connsiteY5" fmla="*/ 571500 h 582145"/>
              <a:gd name="connsiteX6" fmla="*/ 0 w 2159832"/>
              <a:gd name="connsiteY6" fmla="*/ 0 h 582145"/>
              <a:gd name="connsiteX0" fmla="*/ 0 w 2159832"/>
              <a:gd name="connsiteY0" fmla="*/ 12386 h 594531"/>
              <a:gd name="connsiteX1" fmla="*/ 67826 w 2159832"/>
              <a:gd name="connsiteY1" fmla="*/ 0 h 594531"/>
              <a:gd name="connsiteX2" fmla="*/ 2142503 w 2159832"/>
              <a:gd name="connsiteY2" fmla="*/ 12386 h 594531"/>
              <a:gd name="connsiteX3" fmla="*/ 2159829 w 2159832"/>
              <a:gd name="connsiteY3" fmla="*/ 108912 h 594531"/>
              <a:gd name="connsiteX4" fmla="*/ 2142503 w 2159832"/>
              <a:gd name="connsiteY4" fmla="*/ 583886 h 594531"/>
              <a:gd name="connsiteX5" fmla="*/ 2050917 w 2159832"/>
              <a:gd name="connsiteY5" fmla="*/ 594474 h 594531"/>
              <a:gd name="connsiteX6" fmla="*/ 0 w 2159832"/>
              <a:gd name="connsiteY6" fmla="*/ 583886 h 594531"/>
              <a:gd name="connsiteX7" fmla="*/ 0 w 2159832"/>
              <a:gd name="connsiteY7" fmla="*/ 12386 h 594531"/>
              <a:gd name="connsiteX0" fmla="*/ 0 w 2168908"/>
              <a:gd name="connsiteY0" fmla="*/ 26000 h 594531"/>
              <a:gd name="connsiteX1" fmla="*/ 76902 w 2168908"/>
              <a:gd name="connsiteY1" fmla="*/ 0 h 594531"/>
              <a:gd name="connsiteX2" fmla="*/ 2151579 w 2168908"/>
              <a:gd name="connsiteY2" fmla="*/ 12386 h 594531"/>
              <a:gd name="connsiteX3" fmla="*/ 2168905 w 2168908"/>
              <a:gd name="connsiteY3" fmla="*/ 108912 h 594531"/>
              <a:gd name="connsiteX4" fmla="*/ 2151579 w 2168908"/>
              <a:gd name="connsiteY4" fmla="*/ 583886 h 594531"/>
              <a:gd name="connsiteX5" fmla="*/ 2059993 w 2168908"/>
              <a:gd name="connsiteY5" fmla="*/ 594474 h 594531"/>
              <a:gd name="connsiteX6" fmla="*/ 9076 w 2168908"/>
              <a:gd name="connsiteY6" fmla="*/ 583886 h 594531"/>
              <a:gd name="connsiteX7" fmla="*/ 0 w 2168908"/>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147197 w 2316105"/>
              <a:gd name="connsiteY0" fmla="*/ 26000 h 594531"/>
              <a:gd name="connsiteX1" fmla="*/ 224099 w 2316105"/>
              <a:gd name="connsiteY1" fmla="*/ 0 h 594531"/>
              <a:gd name="connsiteX2" fmla="*/ 2298776 w 2316105"/>
              <a:gd name="connsiteY2" fmla="*/ 12386 h 594531"/>
              <a:gd name="connsiteX3" fmla="*/ 2316102 w 2316105"/>
              <a:gd name="connsiteY3" fmla="*/ 108912 h 594531"/>
              <a:gd name="connsiteX4" fmla="*/ 2298776 w 2316105"/>
              <a:gd name="connsiteY4" fmla="*/ 583886 h 594531"/>
              <a:gd name="connsiteX5" fmla="*/ 2207190 w 2316105"/>
              <a:gd name="connsiteY5" fmla="*/ 594474 h 594531"/>
              <a:gd name="connsiteX6" fmla="*/ 156273 w 2316105"/>
              <a:gd name="connsiteY6" fmla="*/ 583886 h 594531"/>
              <a:gd name="connsiteX7" fmla="*/ 142416 w 2316105"/>
              <a:gd name="connsiteY7" fmla="*/ 235975 h 594531"/>
              <a:gd name="connsiteX8" fmla="*/ 147197 w 2316105"/>
              <a:gd name="connsiteY8" fmla="*/ 26000 h 594531"/>
              <a:gd name="connsiteX0" fmla="*/ 154684 w 2323592"/>
              <a:gd name="connsiteY0" fmla="*/ 26000 h 594531"/>
              <a:gd name="connsiteX1" fmla="*/ 231586 w 2323592"/>
              <a:gd name="connsiteY1" fmla="*/ 0 h 594531"/>
              <a:gd name="connsiteX2" fmla="*/ 2306263 w 2323592"/>
              <a:gd name="connsiteY2" fmla="*/ 12386 h 594531"/>
              <a:gd name="connsiteX3" fmla="*/ 2323589 w 2323592"/>
              <a:gd name="connsiteY3" fmla="*/ 108912 h 594531"/>
              <a:gd name="connsiteX4" fmla="*/ 2306263 w 2323592"/>
              <a:gd name="connsiteY4" fmla="*/ 583886 h 594531"/>
              <a:gd name="connsiteX5" fmla="*/ 2214677 w 2323592"/>
              <a:gd name="connsiteY5" fmla="*/ 594474 h 594531"/>
              <a:gd name="connsiteX6" fmla="*/ 163760 w 2323592"/>
              <a:gd name="connsiteY6" fmla="*/ 583886 h 594531"/>
              <a:gd name="connsiteX7" fmla="*/ 158979 w 2323592"/>
              <a:gd name="connsiteY7" fmla="*/ 403879 h 594531"/>
              <a:gd name="connsiteX8" fmla="*/ 149903 w 2323592"/>
              <a:gd name="connsiteY8" fmla="*/ 235975 h 594531"/>
              <a:gd name="connsiteX9" fmla="*/ 154684 w 2323592"/>
              <a:gd name="connsiteY9" fmla="*/ 26000 h 594531"/>
              <a:gd name="connsiteX0" fmla="*/ 13665 w 2182573"/>
              <a:gd name="connsiteY0" fmla="*/ 26000 h 594531"/>
              <a:gd name="connsiteX1" fmla="*/ 90567 w 2182573"/>
              <a:gd name="connsiteY1" fmla="*/ 0 h 594531"/>
              <a:gd name="connsiteX2" fmla="*/ 2165244 w 2182573"/>
              <a:gd name="connsiteY2" fmla="*/ 12386 h 594531"/>
              <a:gd name="connsiteX3" fmla="*/ 2182570 w 2182573"/>
              <a:gd name="connsiteY3" fmla="*/ 108912 h 594531"/>
              <a:gd name="connsiteX4" fmla="*/ 2165244 w 2182573"/>
              <a:gd name="connsiteY4" fmla="*/ 583886 h 594531"/>
              <a:gd name="connsiteX5" fmla="*/ 2073658 w 2182573"/>
              <a:gd name="connsiteY5" fmla="*/ 594474 h 594531"/>
              <a:gd name="connsiteX6" fmla="*/ 22741 w 2182573"/>
              <a:gd name="connsiteY6" fmla="*/ 583886 h 594531"/>
              <a:gd name="connsiteX7" fmla="*/ 17960 w 2182573"/>
              <a:gd name="connsiteY7" fmla="*/ 403879 h 594531"/>
              <a:gd name="connsiteX8" fmla="*/ 8884 w 2182573"/>
              <a:gd name="connsiteY8" fmla="*/ 235975 h 594531"/>
              <a:gd name="connsiteX9" fmla="*/ 13665 w 2182573"/>
              <a:gd name="connsiteY9" fmla="*/ 26000 h 594531"/>
              <a:gd name="connsiteX0" fmla="*/ 13665 w 2202120"/>
              <a:gd name="connsiteY0" fmla="*/ 26000 h 594531"/>
              <a:gd name="connsiteX1" fmla="*/ 90567 w 2202120"/>
              <a:gd name="connsiteY1" fmla="*/ 0 h 594531"/>
              <a:gd name="connsiteX2" fmla="*/ 2165244 w 2202120"/>
              <a:gd name="connsiteY2" fmla="*/ 12386 h 594531"/>
              <a:gd name="connsiteX3" fmla="*/ 2182570 w 2202120"/>
              <a:gd name="connsiteY3" fmla="*/ 108912 h 594531"/>
              <a:gd name="connsiteX4" fmla="*/ 2192471 w 2202120"/>
              <a:gd name="connsiteY4" fmla="*/ 583886 h 594531"/>
              <a:gd name="connsiteX5" fmla="*/ 2073658 w 2202120"/>
              <a:gd name="connsiteY5" fmla="*/ 594474 h 594531"/>
              <a:gd name="connsiteX6" fmla="*/ 22741 w 2202120"/>
              <a:gd name="connsiteY6" fmla="*/ 583886 h 594531"/>
              <a:gd name="connsiteX7" fmla="*/ 17960 w 2202120"/>
              <a:gd name="connsiteY7" fmla="*/ 403879 h 594531"/>
              <a:gd name="connsiteX8" fmla="*/ 8884 w 2202120"/>
              <a:gd name="connsiteY8" fmla="*/ 235975 h 594531"/>
              <a:gd name="connsiteX9" fmla="*/ 13665 w 2202120"/>
              <a:gd name="connsiteY9" fmla="*/ 26000 h 594531"/>
              <a:gd name="connsiteX0" fmla="*/ 13665 w 2202036"/>
              <a:gd name="connsiteY0" fmla="*/ 26000 h 594531"/>
              <a:gd name="connsiteX1" fmla="*/ 90567 w 2202036"/>
              <a:gd name="connsiteY1" fmla="*/ 0 h 594531"/>
              <a:gd name="connsiteX2" fmla="*/ 2165244 w 2202036"/>
              <a:gd name="connsiteY2" fmla="*/ 12386 h 594531"/>
              <a:gd name="connsiteX3" fmla="*/ 2182570 w 2202036"/>
              <a:gd name="connsiteY3" fmla="*/ 108912 h 594531"/>
              <a:gd name="connsiteX4" fmla="*/ 2191645 w 2202036"/>
              <a:gd name="connsiteY4" fmla="*/ 422031 h 594531"/>
              <a:gd name="connsiteX5" fmla="*/ 2192471 w 2202036"/>
              <a:gd name="connsiteY5" fmla="*/ 583886 h 594531"/>
              <a:gd name="connsiteX6" fmla="*/ 2073658 w 2202036"/>
              <a:gd name="connsiteY6" fmla="*/ 594474 h 594531"/>
              <a:gd name="connsiteX7" fmla="*/ 22741 w 2202036"/>
              <a:gd name="connsiteY7" fmla="*/ 583886 h 594531"/>
              <a:gd name="connsiteX8" fmla="*/ 17960 w 2202036"/>
              <a:gd name="connsiteY8" fmla="*/ 403879 h 594531"/>
              <a:gd name="connsiteX9" fmla="*/ 8884 w 2202036"/>
              <a:gd name="connsiteY9" fmla="*/ 235975 h 594531"/>
              <a:gd name="connsiteX10" fmla="*/ 13665 w 2202036"/>
              <a:gd name="connsiteY10" fmla="*/ 26000 h 594531"/>
              <a:gd name="connsiteX0" fmla="*/ 142254 w 2330625"/>
              <a:gd name="connsiteY0" fmla="*/ 26000 h 594531"/>
              <a:gd name="connsiteX1" fmla="*/ 219156 w 2330625"/>
              <a:gd name="connsiteY1" fmla="*/ 0 h 594531"/>
              <a:gd name="connsiteX2" fmla="*/ 2293833 w 2330625"/>
              <a:gd name="connsiteY2" fmla="*/ 12386 h 594531"/>
              <a:gd name="connsiteX3" fmla="*/ 2311159 w 2330625"/>
              <a:gd name="connsiteY3" fmla="*/ 108912 h 594531"/>
              <a:gd name="connsiteX4" fmla="*/ 2320234 w 2330625"/>
              <a:gd name="connsiteY4" fmla="*/ 422031 h 594531"/>
              <a:gd name="connsiteX5" fmla="*/ 2321060 w 2330625"/>
              <a:gd name="connsiteY5" fmla="*/ 583886 h 594531"/>
              <a:gd name="connsiteX6" fmla="*/ 2202247 w 2330625"/>
              <a:gd name="connsiteY6" fmla="*/ 594474 h 594531"/>
              <a:gd name="connsiteX7" fmla="*/ 151330 w 2330625"/>
              <a:gd name="connsiteY7" fmla="*/ 583886 h 594531"/>
              <a:gd name="connsiteX8" fmla="*/ 155624 w 2330625"/>
              <a:gd name="connsiteY8" fmla="*/ 512790 h 594531"/>
              <a:gd name="connsiteX9" fmla="*/ 146549 w 2330625"/>
              <a:gd name="connsiteY9" fmla="*/ 403879 h 594531"/>
              <a:gd name="connsiteX10" fmla="*/ 137473 w 2330625"/>
              <a:gd name="connsiteY10" fmla="*/ 235975 h 594531"/>
              <a:gd name="connsiteX11" fmla="*/ 142254 w 2330625"/>
              <a:gd name="connsiteY11" fmla="*/ 26000 h 594531"/>
              <a:gd name="connsiteX0" fmla="*/ 13413 w 2201784"/>
              <a:gd name="connsiteY0" fmla="*/ 26000 h 594531"/>
              <a:gd name="connsiteX1" fmla="*/ 90315 w 2201784"/>
              <a:gd name="connsiteY1" fmla="*/ 0 h 594531"/>
              <a:gd name="connsiteX2" fmla="*/ 2164992 w 2201784"/>
              <a:gd name="connsiteY2" fmla="*/ 12386 h 594531"/>
              <a:gd name="connsiteX3" fmla="*/ 2182318 w 2201784"/>
              <a:gd name="connsiteY3" fmla="*/ 108912 h 594531"/>
              <a:gd name="connsiteX4" fmla="*/ 2191393 w 2201784"/>
              <a:gd name="connsiteY4" fmla="*/ 422031 h 594531"/>
              <a:gd name="connsiteX5" fmla="*/ 2192219 w 2201784"/>
              <a:gd name="connsiteY5" fmla="*/ 583886 h 594531"/>
              <a:gd name="connsiteX6" fmla="*/ 2073406 w 2201784"/>
              <a:gd name="connsiteY6" fmla="*/ 594474 h 594531"/>
              <a:gd name="connsiteX7" fmla="*/ 22489 w 2201784"/>
              <a:gd name="connsiteY7" fmla="*/ 583886 h 594531"/>
              <a:gd name="connsiteX8" fmla="*/ 26783 w 2201784"/>
              <a:gd name="connsiteY8" fmla="*/ 512790 h 594531"/>
              <a:gd name="connsiteX9" fmla="*/ 17708 w 2201784"/>
              <a:gd name="connsiteY9" fmla="*/ 403879 h 594531"/>
              <a:gd name="connsiteX10" fmla="*/ 8632 w 2201784"/>
              <a:gd name="connsiteY10" fmla="*/ 235975 h 594531"/>
              <a:gd name="connsiteX11" fmla="*/ 13413 w 2201784"/>
              <a:gd name="connsiteY11" fmla="*/ 26000 h 59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784" h="594531">
                <a:moveTo>
                  <a:pt x="13413" y="26000"/>
                </a:moveTo>
                <a:cubicBezTo>
                  <a:pt x="37534" y="24897"/>
                  <a:pt x="66194" y="1103"/>
                  <a:pt x="90315" y="0"/>
                </a:cubicBezTo>
                <a:lnTo>
                  <a:pt x="2164992" y="12386"/>
                </a:lnTo>
                <a:cubicBezTo>
                  <a:pt x="2164717" y="43049"/>
                  <a:pt x="2182593" y="78249"/>
                  <a:pt x="2182318" y="108912"/>
                </a:cubicBezTo>
                <a:cubicBezTo>
                  <a:pt x="2188231" y="177186"/>
                  <a:pt x="2189743" y="342869"/>
                  <a:pt x="2191393" y="422031"/>
                </a:cubicBezTo>
                <a:cubicBezTo>
                  <a:pt x="2193043" y="501193"/>
                  <a:pt x="2213396" y="555146"/>
                  <a:pt x="2192219" y="583886"/>
                </a:cubicBezTo>
                <a:cubicBezTo>
                  <a:pt x="2172279" y="582877"/>
                  <a:pt x="2093346" y="595483"/>
                  <a:pt x="2073406" y="594474"/>
                </a:cubicBezTo>
                <a:lnTo>
                  <a:pt x="22489" y="583886"/>
                </a:lnTo>
                <a:cubicBezTo>
                  <a:pt x="5849" y="592962"/>
                  <a:pt x="27580" y="542791"/>
                  <a:pt x="26783" y="512790"/>
                </a:cubicBezTo>
                <a:cubicBezTo>
                  <a:pt x="25986" y="482789"/>
                  <a:pt x="18464" y="450015"/>
                  <a:pt x="17708" y="403879"/>
                </a:cubicBezTo>
                <a:cubicBezTo>
                  <a:pt x="16952" y="357743"/>
                  <a:pt x="-14855" y="308787"/>
                  <a:pt x="8632" y="235975"/>
                </a:cubicBezTo>
                <a:cubicBezTo>
                  <a:pt x="7119" y="142994"/>
                  <a:pt x="-201" y="65329"/>
                  <a:pt x="13413" y="26000"/>
                </a:cubicBezTo>
                <a:close/>
              </a:path>
            </a:pathLst>
          </a:custGeom>
          <a:solidFill>
            <a:srgbClr val="D9D4D0">
              <a:alpha val="50000"/>
            </a:srgbClr>
          </a:solidFill>
          <a:ln>
            <a:noFill/>
          </a:ln>
          <a:effectLst>
            <a:softEdge rad="63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Bembo"/>
              <a:ea typeface="+mn-ea"/>
              <a:cs typeface="+mn-cs"/>
            </a:endParaRPr>
          </a:p>
        </p:txBody>
      </p:sp>
      <p:sp>
        <p:nvSpPr>
          <p:cNvPr id="17" name="Rectangle 6">
            <a:extLst>
              <a:ext uri="{FF2B5EF4-FFF2-40B4-BE49-F238E27FC236}">
                <a16:creationId xmlns:a16="http://schemas.microsoft.com/office/drawing/2014/main" id="{E3A6021A-1C60-4C0A-A41C-9EF62F9DAB43}"/>
              </a:ext>
              <a:ext uri="{C183D7F6-B498-43B3-948B-1728B52AA6E4}">
                <adec:decorative xmlns:adec="http://schemas.microsoft.com/office/drawing/2017/decorative" val="1"/>
              </a:ext>
            </a:extLst>
          </p:cNvPr>
          <p:cNvSpPr/>
          <p:nvPr userDrawn="1"/>
        </p:nvSpPr>
        <p:spPr>
          <a:xfrm>
            <a:off x="6301855" y="2162719"/>
            <a:ext cx="1185648" cy="428984"/>
          </a:xfrm>
          <a:custGeom>
            <a:avLst/>
            <a:gdLst>
              <a:gd name="connsiteX0" fmla="*/ 0 w 2142503"/>
              <a:gd name="connsiteY0" fmla="*/ 0 h 571500"/>
              <a:gd name="connsiteX1" fmla="*/ 2142503 w 2142503"/>
              <a:gd name="connsiteY1" fmla="*/ 0 h 571500"/>
              <a:gd name="connsiteX2" fmla="*/ 2142503 w 2142503"/>
              <a:gd name="connsiteY2" fmla="*/ 571500 h 571500"/>
              <a:gd name="connsiteX3" fmla="*/ 0 w 2142503"/>
              <a:gd name="connsiteY3" fmla="*/ 571500 h 571500"/>
              <a:gd name="connsiteX4" fmla="*/ 0 w 2142503"/>
              <a:gd name="connsiteY4" fmla="*/ 0 h 571500"/>
              <a:gd name="connsiteX0" fmla="*/ 0 w 2142503"/>
              <a:gd name="connsiteY0" fmla="*/ 0 h 582145"/>
              <a:gd name="connsiteX1" fmla="*/ 2142503 w 2142503"/>
              <a:gd name="connsiteY1" fmla="*/ 0 h 582145"/>
              <a:gd name="connsiteX2" fmla="*/ 2142503 w 2142503"/>
              <a:gd name="connsiteY2" fmla="*/ 571500 h 582145"/>
              <a:gd name="connsiteX3" fmla="*/ 2050917 w 2142503"/>
              <a:gd name="connsiteY3" fmla="*/ 582088 h 582145"/>
              <a:gd name="connsiteX4" fmla="*/ 0 w 2142503"/>
              <a:gd name="connsiteY4" fmla="*/ 571500 h 582145"/>
              <a:gd name="connsiteX5" fmla="*/ 0 w 2142503"/>
              <a:gd name="connsiteY5" fmla="*/ 0 h 582145"/>
              <a:gd name="connsiteX0" fmla="*/ 0 w 2159832"/>
              <a:gd name="connsiteY0" fmla="*/ 0 h 582145"/>
              <a:gd name="connsiteX1" fmla="*/ 2142503 w 2159832"/>
              <a:gd name="connsiteY1" fmla="*/ 0 h 582145"/>
              <a:gd name="connsiteX2" fmla="*/ 2159829 w 2159832"/>
              <a:gd name="connsiteY2" fmla="*/ 96526 h 582145"/>
              <a:gd name="connsiteX3" fmla="*/ 2142503 w 2159832"/>
              <a:gd name="connsiteY3" fmla="*/ 571500 h 582145"/>
              <a:gd name="connsiteX4" fmla="*/ 2050917 w 2159832"/>
              <a:gd name="connsiteY4" fmla="*/ 582088 h 582145"/>
              <a:gd name="connsiteX5" fmla="*/ 0 w 2159832"/>
              <a:gd name="connsiteY5" fmla="*/ 571500 h 582145"/>
              <a:gd name="connsiteX6" fmla="*/ 0 w 2159832"/>
              <a:gd name="connsiteY6" fmla="*/ 0 h 582145"/>
              <a:gd name="connsiteX0" fmla="*/ 0 w 2159832"/>
              <a:gd name="connsiteY0" fmla="*/ 12386 h 594531"/>
              <a:gd name="connsiteX1" fmla="*/ 67826 w 2159832"/>
              <a:gd name="connsiteY1" fmla="*/ 0 h 594531"/>
              <a:gd name="connsiteX2" fmla="*/ 2142503 w 2159832"/>
              <a:gd name="connsiteY2" fmla="*/ 12386 h 594531"/>
              <a:gd name="connsiteX3" fmla="*/ 2159829 w 2159832"/>
              <a:gd name="connsiteY3" fmla="*/ 108912 h 594531"/>
              <a:gd name="connsiteX4" fmla="*/ 2142503 w 2159832"/>
              <a:gd name="connsiteY4" fmla="*/ 583886 h 594531"/>
              <a:gd name="connsiteX5" fmla="*/ 2050917 w 2159832"/>
              <a:gd name="connsiteY5" fmla="*/ 594474 h 594531"/>
              <a:gd name="connsiteX6" fmla="*/ 0 w 2159832"/>
              <a:gd name="connsiteY6" fmla="*/ 583886 h 594531"/>
              <a:gd name="connsiteX7" fmla="*/ 0 w 2159832"/>
              <a:gd name="connsiteY7" fmla="*/ 12386 h 594531"/>
              <a:gd name="connsiteX0" fmla="*/ 0 w 2168908"/>
              <a:gd name="connsiteY0" fmla="*/ 26000 h 594531"/>
              <a:gd name="connsiteX1" fmla="*/ 76902 w 2168908"/>
              <a:gd name="connsiteY1" fmla="*/ 0 h 594531"/>
              <a:gd name="connsiteX2" fmla="*/ 2151579 w 2168908"/>
              <a:gd name="connsiteY2" fmla="*/ 12386 h 594531"/>
              <a:gd name="connsiteX3" fmla="*/ 2168905 w 2168908"/>
              <a:gd name="connsiteY3" fmla="*/ 108912 h 594531"/>
              <a:gd name="connsiteX4" fmla="*/ 2151579 w 2168908"/>
              <a:gd name="connsiteY4" fmla="*/ 583886 h 594531"/>
              <a:gd name="connsiteX5" fmla="*/ 2059993 w 2168908"/>
              <a:gd name="connsiteY5" fmla="*/ 594474 h 594531"/>
              <a:gd name="connsiteX6" fmla="*/ 9076 w 2168908"/>
              <a:gd name="connsiteY6" fmla="*/ 583886 h 594531"/>
              <a:gd name="connsiteX7" fmla="*/ 0 w 2168908"/>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147197 w 2316105"/>
              <a:gd name="connsiteY0" fmla="*/ 26000 h 594531"/>
              <a:gd name="connsiteX1" fmla="*/ 224099 w 2316105"/>
              <a:gd name="connsiteY1" fmla="*/ 0 h 594531"/>
              <a:gd name="connsiteX2" fmla="*/ 2298776 w 2316105"/>
              <a:gd name="connsiteY2" fmla="*/ 12386 h 594531"/>
              <a:gd name="connsiteX3" fmla="*/ 2316102 w 2316105"/>
              <a:gd name="connsiteY3" fmla="*/ 108912 h 594531"/>
              <a:gd name="connsiteX4" fmla="*/ 2298776 w 2316105"/>
              <a:gd name="connsiteY4" fmla="*/ 583886 h 594531"/>
              <a:gd name="connsiteX5" fmla="*/ 2207190 w 2316105"/>
              <a:gd name="connsiteY5" fmla="*/ 594474 h 594531"/>
              <a:gd name="connsiteX6" fmla="*/ 156273 w 2316105"/>
              <a:gd name="connsiteY6" fmla="*/ 583886 h 594531"/>
              <a:gd name="connsiteX7" fmla="*/ 142416 w 2316105"/>
              <a:gd name="connsiteY7" fmla="*/ 235975 h 594531"/>
              <a:gd name="connsiteX8" fmla="*/ 147197 w 2316105"/>
              <a:gd name="connsiteY8" fmla="*/ 26000 h 594531"/>
              <a:gd name="connsiteX0" fmla="*/ 154684 w 2323592"/>
              <a:gd name="connsiteY0" fmla="*/ 26000 h 594531"/>
              <a:gd name="connsiteX1" fmla="*/ 231586 w 2323592"/>
              <a:gd name="connsiteY1" fmla="*/ 0 h 594531"/>
              <a:gd name="connsiteX2" fmla="*/ 2306263 w 2323592"/>
              <a:gd name="connsiteY2" fmla="*/ 12386 h 594531"/>
              <a:gd name="connsiteX3" fmla="*/ 2323589 w 2323592"/>
              <a:gd name="connsiteY3" fmla="*/ 108912 h 594531"/>
              <a:gd name="connsiteX4" fmla="*/ 2306263 w 2323592"/>
              <a:gd name="connsiteY4" fmla="*/ 583886 h 594531"/>
              <a:gd name="connsiteX5" fmla="*/ 2214677 w 2323592"/>
              <a:gd name="connsiteY5" fmla="*/ 594474 h 594531"/>
              <a:gd name="connsiteX6" fmla="*/ 163760 w 2323592"/>
              <a:gd name="connsiteY6" fmla="*/ 583886 h 594531"/>
              <a:gd name="connsiteX7" fmla="*/ 158979 w 2323592"/>
              <a:gd name="connsiteY7" fmla="*/ 403879 h 594531"/>
              <a:gd name="connsiteX8" fmla="*/ 149903 w 2323592"/>
              <a:gd name="connsiteY8" fmla="*/ 235975 h 594531"/>
              <a:gd name="connsiteX9" fmla="*/ 154684 w 2323592"/>
              <a:gd name="connsiteY9" fmla="*/ 26000 h 594531"/>
              <a:gd name="connsiteX0" fmla="*/ 13665 w 2182573"/>
              <a:gd name="connsiteY0" fmla="*/ 26000 h 594531"/>
              <a:gd name="connsiteX1" fmla="*/ 90567 w 2182573"/>
              <a:gd name="connsiteY1" fmla="*/ 0 h 594531"/>
              <a:gd name="connsiteX2" fmla="*/ 2165244 w 2182573"/>
              <a:gd name="connsiteY2" fmla="*/ 12386 h 594531"/>
              <a:gd name="connsiteX3" fmla="*/ 2182570 w 2182573"/>
              <a:gd name="connsiteY3" fmla="*/ 108912 h 594531"/>
              <a:gd name="connsiteX4" fmla="*/ 2165244 w 2182573"/>
              <a:gd name="connsiteY4" fmla="*/ 583886 h 594531"/>
              <a:gd name="connsiteX5" fmla="*/ 2073658 w 2182573"/>
              <a:gd name="connsiteY5" fmla="*/ 594474 h 594531"/>
              <a:gd name="connsiteX6" fmla="*/ 22741 w 2182573"/>
              <a:gd name="connsiteY6" fmla="*/ 583886 h 594531"/>
              <a:gd name="connsiteX7" fmla="*/ 17960 w 2182573"/>
              <a:gd name="connsiteY7" fmla="*/ 403879 h 594531"/>
              <a:gd name="connsiteX8" fmla="*/ 8884 w 2182573"/>
              <a:gd name="connsiteY8" fmla="*/ 235975 h 594531"/>
              <a:gd name="connsiteX9" fmla="*/ 13665 w 2182573"/>
              <a:gd name="connsiteY9" fmla="*/ 26000 h 594531"/>
              <a:gd name="connsiteX0" fmla="*/ 13665 w 2202120"/>
              <a:gd name="connsiteY0" fmla="*/ 26000 h 594531"/>
              <a:gd name="connsiteX1" fmla="*/ 90567 w 2202120"/>
              <a:gd name="connsiteY1" fmla="*/ 0 h 594531"/>
              <a:gd name="connsiteX2" fmla="*/ 2165244 w 2202120"/>
              <a:gd name="connsiteY2" fmla="*/ 12386 h 594531"/>
              <a:gd name="connsiteX3" fmla="*/ 2182570 w 2202120"/>
              <a:gd name="connsiteY3" fmla="*/ 108912 h 594531"/>
              <a:gd name="connsiteX4" fmla="*/ 2192471 w 2202120"/>
              <a:gd name="connsiteY4" fmla="*/ 583886 h 594531"/>
              <a:gd name="connsiteX5" fmla="*/ 2073658 w 2202120"/>
              <a:gd name="connsiteY5" fmla="*/ 594474 h 594531"/>
              <a:gd name="connsiteX6" fmla="*/ 22741 w 2202120"/>
              <a:gd name="connsiteY6" fmla="*/ 583886 h 594531"/>
              <a:gd name="connsiteX7" fmla="*/ 17960 w 2202120"/>
              <a:gd name="connsiteY7" fmla="*/ 403879 h 594531"/>
              <a:gd name="connsiteX8" fmla="*/ 8884 w 2202120"/>
              <a:gd name="connsiteY8" fmla="*/ 235975 h 594531"/>
              <a:gd name="connsiteX9" fmla="*/ 13665 w 2202120"/>
              <a:gd name="connsiteY9" fmla="*/ 26000 h 594531"/>
              <a:gd name="connsiteX0" fmla="*/ 13665 w 2202036"/>
              <a:gd name="connsiteY0" fmla="*/ 26000 h 594531"/>
              <a:gd name="connsiteX1" fmla="*/ 90567 w 2202036"/>
              <a:gd name="connsiteY1" fmla="*/ 0 h 594531"/>
              <a:gd name="connsiteX2" fmla="*/ 2165244 w 2202036"/>
              <a:gd name="connsiteY2" fmla="*/ 12386 h 594531"/>
              <a:gd name="connsiteX3" fmla="*/ 2182570 w 2202036"/>
              <a:gd name="connsiteY3" fmla="*/ 108912 h 594531"/>
              <a:gd name="connsiteX4" fmla="*/ 2191645 w 2202036"/>
              <a:gd name="connsiteY4" fmla="*/ 422031 h 594531"/>
              <a:gd name="connsiteX5" fmla="*/ 2192471 w 2202036"/>
              <a:gd name="connsiteY5" fmla="*/ 583886 h 594531"/>
              <a:gd name="connsiteX6" fmla="*/ 2073658 w 2202036"/>
              <a:gd name="connsiteY6" fmla="*/ 594474 h 594531"/>
              <a:gd name="connsiteX7" fmla="*/ 22741 w 2202036"/>
              <a:gd name="connsiteY7" fmla="*/ 583886 h 594531"/>
              <a:gd name="connsiteX8" fmla="*/ 17960 w 2202036"/>
              <a:gd name="connsiteY8" fmla="*/ 403879 h 594531"/>
              <a:gd name="connsiteX9" fmla="*/ 8884 w 2202036"/>
              <a:gd name="connsiteY9" fmla="*/ 235975 h 594531"/>
              <a:gd name="connsiteX10" fmla="*/ 13665 w 2202036"/>
              <a:gd name="connsiteY10" fmla="*/ 26000 h 594531"/>
              <a:gd name="connsiteX0" fmla="*/ 142254 w 2330625"/>
              <a:gd name="connsiteY0" fmla="*/ 26000 h 594531"/>
              <a:gd name="connsiteX1" fmla="*/ 219156 w 2330625"/>
              <a:gd name="connsiteY1" fmla="*/ 0 h 594531"/>
              <a:gd name="connsiteX2" fmla="*/ 2293833 w 2330625"/>
              <a:gd name="connsiteY2" fmla="*/ 12386 h 594531"/>
              <a:gd name="connsiteX3" fmla="*/ 2311159 w 2330625"/>
              <a:gd name="connsiteY3" fmla="*/ 108912 h 594531"/>
              <a:gd name="connsiteX4" fmla="*/ 2320234 w 2330625"/>
              <a:gd name="connsiteY4" fmla="*/ 422031 h 594531"/>
              <a:gd name="connsiteX5" fmla="*/ 2321060 w 2330625"/>
              <a:gd name="connsiteY5" fmla="*/ 583886 h 594531"/>
              <a:gd name="connsiteX6" fmla="*/ 2202247 w 2330625"/>
              <a:gd name="connsiteY6" fmla="*/ 594474 h 594531"/>
              <a:gd name="connsiteX7" fmla="*/ 151330 w 2330625"/>
              <a:gd name="connsiteY7" fmla="*/ 583886 h 594531"/>
              <a:gd name="connsiteX8" fmla="*/ 155624 w 2330625"/>
              <a:gd name="connsiteY8" fmla="*/ 512790 h 594531"/>
              <a:gd name="connsiteX9" fmla="*/ 146549 w 2330625"/>
              <a:gd name="connsiteY9" fmla="*/ 403879 h 594531"/>
              <a:gd name="connsiteX10" fmla="*/ 137473 w 2330625"/>
              <a:gd name="connsiteY10" fmla="*/ 235975 h 594531"/>
              <a:gd name="connsiteX11" fmla="*/ 142254 w 2330625"/>
              <a:gd name="connsiteY11" fmla="*/ 26000 h 594531"/>
              <a:gd name="connsiteX0" fmla="*/ 13413 w 2201784"/>
              <a:gd name="connsiteY0" fmla="*/ 26000 h 594531"/>
              <a:gd name="connsiteX1" fmla="*/ 90315 w 2201784"/>
              <a:gd name="connsiteY1" fmla="*/ 0 h 594531"/>
              <a:gd name="connsiteX2" fmla="*/ 2164992 w 2201784"/>
              <a:gd name="connsiteY2" fmla="*/ 12386 h 594531"/>
              <a:gd name="connsiteX3" fmla="*/ 2182318 w 2201784"/>
              <a:gd name="connsiteY3" fmla="*/ 108912 h 594531"/>
              <a:gd name="connsiteX4" fmla="*/ 2191393 w 2201784"/>
              <a:gd name="connsiteY4" fmla="*/ 422031 h 594531"/>
              <a:gd name="connsiteX5" fmla="*/ 2192219 w 2201784"/>
              <a:gd name="connsiteY5" fmla="*/ 583886 h 594531"/>
              <a:gd name="connsiteX6" fmla="*/ 2073406 w 2201784"/>
              <a:gd name="connsiteY6" fmla="*/ 594474 h 594531"/>
              <a:gd name="connsiteX7" fmla="*/ 22489 w 2201784"/>
              <a:gd name="connsiteY7" fmla="*/ 583886 h 594531"/>
              <a:gd name="connsiteX8" fmla="*/ 26783 w 2201784"/>
              <a:gd name="connsiteY8" fmla="*/ 512790 h 594531"/>
              <a:gd name="connsiteX9" fmla="*/ 17708 w 2201784"/>
              <a:gd name="connsiteY9" fmla="*/ 403879 h 594531"/>
              <a:gd name="connsiteX10" fmla="*/ 8632 w 2201784"/>
              <a:gd name="connsiteY10" fmla="*/ 235975 h 594531"/>
              <a:gd name="connsiteX11" fmla="*/ 13413 w 2201784"/>
              <a:gd name="connsiteY11" fmla="*/ 26000 h 59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784" h="594531">
                <a:moveTo>
                  <a:pt x="13413" y="26000"/>
                </a:moveTo>
                <a:cubicBezTo>
                  <a:pt x="37534" y="24897"/>
                  <a:pt x="66194" y="1103"/>
                  <a:pt x="90315" y="0"/>
                </a:cubicBezTo>
                <a:lnTo>
                  <a:pt x="2164992" y="12386"/>
                </a:lnTo>
                <a:cubicBezTo>
                  <a:pt x="2164717" y="43049"/>
                  <a:pt x="2182593" y="78249"/>
                  <a:pt x="2182318" y="108912"/>
                </a:cubicBezTo>
                <a:cubicBezTo>
                  <a:pt x="2188231" y="177186"/>
                  <a:pt x="2189743" y="342869"/>
                  <a:pt x="2191393" y="422031"/>
                </a:cubicBezTo>
                <a:cubicBezTo>
                  <a:pt x="2193043" y="501193"/>
                  <a:pt x="2213396" y="555146"/>
                  <a:pt x="2192219" y="583886"/>
                </a:cubicBezTo>
                <a:cubicBezTo>
                  <a:pt x="2172279" y="582877"/>
                  <a:pt x="2093346" y="595483"/>
                  <a:pt x="2073406" y="594474"/>
                </a:cubicBezTo>
                <a:lnTo>
                  <a:pt x="22489" y="583886"/>
                </a:lnTo>
                <a:cubicBezTo>
                  <a:pt x="5849" y="592962"/>
                  <a:pt x="27580" y="542791"/>
                  <a:pt x="26783" y="512790"/>
                </a:cubicBezTo>
                <a:cubicBezTo>
                  <a:pt x="25986" y="482789"/>
                  <a:pt x="18464" y="450015"/>
                  <a:pt x="17708" y="403879"/>
                </a:cubicBezTo>
                <a:cubicBezTo>
                  <a:pt x="16952" y="357743"/>
                  <a:pt x="-14855" y="308787"/>
                  <a:pt x="8632" y="235975"/>
                </a:cubicBezTo>
                <a:cubicBezTo>
                  <a:pt x="7119" y="142994"/>
                  <a:pt x="-201" y="65329"/>
                  <a:pt x="13413" y="26000"/>
                </a:cubicBezTo>
                <a:close/>
              </a:path>
            </a:pathLst>
          </a:custGeom>
          <a:solidFill>
            <a:srgbClr val="D9D4D0">
              <a:alpha val="50000"/>
            </a:srgbClr>
          </a:solidFill>
          <a:ln>
            <a:noFill/>
          </a:ln>
          <a:effectLst>
            <a:softEdge rad="63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Bembo"/>
              <a:ea typeface="+mn-ea"/>
              <a:cs typeface="+mn-cs"/>
            </a:endParaRPr>
          </a:p>
        </p:txBody>
      </p:sp>
      <p:sp>
        <p:nvSpPr>
          <p:cNvPr id="18" name="Rectangle 6">
            <a:extLst>
              <a:ext uri="{FF2B5EF4-FFF2-40B4-BE49-F238E27FC236}">
                <a16:creationId xmlns:a16="http://schemas.microsoft.com/office/drawing/2014/main" id="{D67C0DA1-DCDA-4CA5-B336-01101C907DEE}"/>
              </a:ext>
              <a:ext uri="{C183D7F6-B498-43B3-948B-1728B52AA6E4}">
                <adec:decorative xmlns:adec="http://schemas.microsoft.com/office/drawing/2017/decorative" val="1"/>
              </a:ext>
            </a:extLst>
          </p:cNvPr>
          <p:cNvSpPr/>
          <p:nvPr userDrawn="1"/>
        </p:nvSpPr>
        <p:spPr>
          <a:xfrm>
            <a:off x="8776035" y="2162719"/>
            <a:ext cx="1185648" cy="428984"/>
          </a:xfrm>
          <a:custGeom>
            <a:avLst/>
            <a:gdLst>
              <a:gd name="connsiteX0" fmla="*/ 0 w 2142503"/>
              <a:gd name="connsiteY0" fmla="*/ 0 h 571500"/>
              <a:gd name="connsiteX1" fmla="*/ 2142503 w 2142503"/>
              <a:gd name="connsiteY1" fmla="*/ 0 h 571500"/>
              <a:gd name="connsiteX2" fmla="*/ 2142503 w 2142503"/>
              <a:gd name="connsiteY2" fmla="*/ 571500 h 571500"/>
              <a:gd name="connsiteX3" fmla="*/ 0 w 2142503"/>
              <a:gd name="connsiteY3" fmla="*/ 571500 h 571500"/>
              <a:gd name="connsiteX4" fmla="*/ 0 w 2142503"/>
              <a:gd name="connsiteY4" fmla="*/ 0 h 571500"/>
              <a:gd name="connsiteX0" fmla="*/ 0 w 2142503"/>
              <a:gd name="connsiteY0" fmla="*/ 0 h 582145"/>
              <a:gd name="connsiteX1" fmla="*/ 2142503 w 2142503"/>
              <a:gd name="connsiteY1" fmla="*/ 0 h 582145"/>
              <a:gd name="connsiteX2" fmla="*/ 2142503 w 2142503"/>
              <a:gd name="connsiteY2" fmla="*/ 571500 h 582145"/>
              <a:gd name="connsiteX3" fmla="*/ 2050917 w 2142503"/>
              <a:gd name="connsiteY3" fmla="*/ 582088 h 582145"/>
              <a:gd name="connsiteX4" fmla="*/ 0 w 2142503"/>
              <a:gd name="connsiteY4" fmla="*/ 571500 h 582145"/>
              <a:gd name="connsiteX5" fmla="*/ 0 w 2142503"/>
              <a:gd name="connsiteY5" fmla="*/ 0 h 582145"/>
              <a:gd name="connsiteX0" fmla="*/ 0 w 2159832"/>
              <a:gd name="connsiteY0" fmla="*/ 0 h 582145"/>
              <a:gd name="connsiteX1" fmla="*/ 2142503 w 2159832"/>
              <a:gd name="connsiteY1" fmla="*/ 0 h 582145"/>
              <a:gd name="connsiteX2" fmla="*/ 2159829 w 2159832"/>
              <a:gd name="connsiteY2" fmla="*/ 96526 h 582145"/>
              <a:gd name="connsiteX3" fmla="*/ 2142503 w 2159832"/>
              <a:gd name="connsiteY3" fmla="*/ 571500 h 582145"/>
              <a:gd name="connsiteX4" fmla="*/ 2050917 w 2159832"/>
              <a:gd name="connsiteY4" fmla="*/ 582088 h 582145"/>
              <a:gd name="connsiteX5" fmla="*/ 0 w 2159832"/>
              <a:gd name="connsiteY5" fmla="*/ 571500 h 582145"/>
              <a:gd name="connsiteX6" fmla="*/ 0 w 2159832"/>
              <a:gd name="connsiteY6" fmla="*/ 0 h 582145"/>
              <a:gd name="connsiteX0" fmla="*/ 0 w 2159832"/>
              <a:gd name="connsiteY0" fmla="*/ 12386 h 594531"/>
              <a:gd name="connsiteX1" fmla="*/ 67826 w 2159832"/>
              <a:gd name="connsiteY1" fmla="*/ 0 h 594531"/>
              <a:gd name="connsiteX2" fmla="*/ 2142503 w 2159832"/>
              <a:gd name="connsiteY2" fmla="*/ 12386 h 594531"/>
              <a:gd name="connsiteX3" fmla="*/ 2159829 w 2159832"/>
              <a:gd name="connsiteY3" fmla="*/ 108912 h 594531"/>
              <a:gd name="connsiteX4" fmla="*/ 2142503 w 2159832"/>
              <a:gd name="connsiteY4" fmla="*/ 583886 h 594531"/>
              <a:gd name="connsiteX5" fmla="*/ 2050917 w 2159832"/>
              <a:gd name="connsiteY5" fmla="*/ 594474 h 594531"/>
              <a:gd name="connsiteX6" fmla="*/ 0 w 2159832"/>
              <a:gd name="connsiteY6" fmla="*/ 583886 h 594531"/>
              <a:gd name="connsiteX7" fmla="*/ 0 w 2159832"/>
              <a:gd name="connsiteY7" fmla="*/ 12386 h 594531"/>
              <a:gd name="connsiteX0" fmla="*/ 0 w 2168908"/>
              <a:gd name="connsiteY0" fmla="*/ 26000 h 594531"/>
              <a:gd name="connsiteX1" fmla="*/ 76902 w 2168908"/>
              <a:gd name="connsiteY1" fmla="*/ 0 h 594531"/>
              <a:gd name="connsiteX2" fmla="*/ 2151579 w 2168908"/>
              <a:gd name="connsiteY2" fmla="*/ 12386 h 594531"/>
              <a:gd name="connsiteX3" fmla="*/ 2168905 w 2168908"/>
              <a:gd name="connsiteY3" fmla="*/ 108912 h 594531"/>
              <a:gd name="connsiteX4" fmla="*/ 2151579 w 2168908"/>
              <a:gd name="connsiteY4" fmla="*/ 583886 h 594531"/>
              <a:gd name="connsiteX5" fmla="*/ 2059993 w 2168908"/>
              <a:gd name="connsiteY5" fmla="*/ 594474 h 594531"/>
              <a:gd name="connsiteX6" fmla="*/ 9076 w 2168908"/>
              <a:gd name="connsiteY6" fmla="*/ 583886 h 594531"/>
              <a:gd name="connsiteX7" fmla="*/ 0 w 2168908"/>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147197 w 2316105"/>
              <a:gd name="connsiteY0" fmla="*/ 26000 h 594531"/>
              <a:gd name="connsiteX1" fmla="*/ 224099 w 2316105"/>
              <a:gd name="connsiteY1" fmla="*/ 0 h 594531"/>
              <a:gd name="connsiteX2" fmla="*/ 2298776 w 2316105"/>
              <a:gd name="connsiteY2" fmla="*/ 12386 h 594531"/>
              <a:gd name="connsiteX3" fmla="*/ 2316102 w 2316105"/>
              <a:gd name="connsiteY3" fmla="*/ 108912 h 594531"/>
              <a:gd name="connsiteX4" fmla="*/ 2298776 w 2316105"/>
              <a:gd name="connsiteY4" fmla="*/ 583886 h 594531"/>
              <a:gd name="connsiteX5" fmla="*/ 2207190 w 2316105"/>
              <a:gd name="connsiteY5" fmla="*/ 594474 h 594531"/>
              <a:gd name="connsiteX6" fmla="*/ 156273 w 2316105"/>
              <a:gd name="connsiteY6" fmla="*/ 583886 h 594531"/>
              <a:gd name="connsiteX7" fmla="*/ 142416 w 2316105"/>
              <a:gd name="connsiteY7" fmla="*/ 235975 h 594531"/>
              <a:gd name="connsiteX8" fmla="*/ 147197 w 2316105"/>
              <a:gd name="connsiteY8" fmla="*/ 26000 h 594531"/>
              <a:gd name="connsiteX0" fmla="*/ 154684 w 2323592"/>
              <a:gd name="connsiteY0" fmla="*/ 26000 h 594531"/>
              <a:gd name="connsiteX1" fmla="*/ 231586 w 2323592"/>
              <a:gd name="connsiteY1" fmla="*/ 0 h 594531"/>
              <a:gd name="connsiteX2" fmla="*/ 2306263 w 2323592"/>
              <a:gd name="connsiteY2" fmla="*/ 12386 h 594531"/>
              <a:gd name="connsiteX3" fmla="*/ 2323589 w 2323592"/>
              <a:gd name="connsiteY3" fmla="*/ 108912 h 594531"/>
              <a:gd name="connsiteX4" fmla="*/ 2306263 w 2323592"/>
              <a:gd name="connsiteY4" fmla="*/ 583886 h 594531"/>
              <a:gd name="connsiteX5" fmla="*/ 2214677 w 2323592"/>
              <a:gd name="connsiteY5" fmla="*/ 594474 h 594531"/>
              <a:gd name="connsiteX6" fmla="*/ 163760 w 2323592"/>
              <a:gd name="connsiteY6" fmla="*/ 583886 h 594531"/>
              <a:gd name="connsiteX7" fmla="*/ 158979 w 2323592"/>
              <a:gd name="connsiteY7" fmla="*/ 403879 h 594531"/>
              <a:gd name="connsiteX8" fmla="*/ 149903 w 2323592"/>
              <a:gd name="connsiteY8" fmla="*/ 235975 h 594531"/>
              <a:gd name="connsiteX9" fmla="*/ 154684 w 2323592"/>
              <a:gd name="connsiteY9" fmla="*/ 26000 h 594531"/>
              <a:gd name="connsiteX0" fmla="*/ 13665 w 2182573"/>
              <a:gd name="connsiteY0" fmla="*/ 26000 h 594531"/>
              <a:gd name="connsiteX1" fmla="*/ 90567 w 2182573"/>
              <a:gd name="connsiteY1" fmla="*/ 0 h 594531"/>
              <a:gd name="connsiteX2" fmla="*/ 2165244 w 2182573"/>
              <a:gd name="connsiteY2" fmla="*/ 12386 h 594531"/>
              <a:gd name="connsiteX3" fmla="*/ 2182570 w 2182573"/>
              <a:gd name="connsiteY3" fmla="*/ 108912 h 594531"/>
              <a:gd name="connsiteX4" fmla="*/ 2165244 w 2182573"/>
              <a:gd name="connsiteY4" fmla="*/ 583886 h 594531"/>
              <a:gd name="connsiteX5" fmla="*/ 2073658 w 2182573"/>
              <a:gd name="connsiteY5" fmla="*/ 594474 h 594531"/>
              <a:gd name="connsiteX6" fmla="*/ 22741 w 2182573"/>
              <a:gd name="connsiteY6" fmla="*/ 583886 h 594531"/>
              <a:gd name="connsiteX7" fmla="*/ 17960 w 2182573"/>
              <a:gd name="connsiteY7" fmla="*/ 403879 h 594531"/>
              <a:gd name="connsiteX8" fmla="*/ 8884 w 2182573"/>
              <a:gd name="connsiteY8" fmla="*/ 235975 h 594531"/>
              <a:gd name="connsiteX9" fmla="*/ 13665 w 2182573"/>
              <a:gd name="connsiteY9" fmla="*/ 26000 h 594531"/>
              <a:gd name="connsiteX0" fmla="*/ 13665 w 2202120"/>
              <a:gd name="connsiteY0" fmla="*/ 26000 h 594531"/>
              <a:gd name="connsiteX1" fmla="*/ 90567 w 2202120"/>
              <a:gd name="connsiteY1" fmla="*/ 0 h 594531"/>
              <a:gd name="connsiteX2" fmla="*/ 2165244 w 2202120"/>
              <a:gd name="connsiteY2" fmla="*/ 12386 h 594531"/>
              <a:gd name="connsiteX3" fmla="*/ 2182570 w 2202120"/>
              <a:gd name="connsiteY3" fmla="*/ 108912 h 594531"/>
              <a:gd name="connsiteX4" fmla="*/ 2192471 w 2202120"/>
              <a:gd name="connsiteY4" fmla="*/ 583886 h 594531"/>
              <a:gd name="connsiteX5" fmla="*/ 2073658 w 2202120"/>
              <a:gd name="connsiteY5" fmla="*/ 594474 h 594531"/>
              <a:gd name="connsiteX6" fmla="*/ 22741 w 2202120"/>
              <a:gd name="connsiteY6" fmla="*/ 583886 h 594531"/>
              <a:gd name="connsiteX7" fmla="*/ 17960 w 2202120"/>
              <a:gd name="connsiteY7" fmla="*/ 403879 h 594531"/>
              <a:gd name="connsiteX8" fmla="*/ 8884 w 2202120"/>
              <a:gd name="connsiteY8" fmla="*/ 235975 h 594531"/>
              <a:gd name="connsiteX9" fmla="*/ 13665 w 2202120"/>
              <a:gd name="connsiteY9" fmla="*/ 26000 h 594531"/>
              <a:gd name="connsiteX0" fmla="*/ 13665 w 2202036"/>
              <a:gd name="connsiteY0" fmla="*/ 26000 h 594531"/>
              <a:gd name="connsiteX1" fmla="*/ 90567 w 2202036"/>
              <a:gd name="connsiteY1" fmla="*/ 0 h 594531"/>
              <a:gd name="connsiteX2" fmla="*/ 2165244 w 2202036"/>
              <a:gd name="connsiteY2" fmla="*/ 12386 h 594531"/>
              <a:gd name="connsiteX3" fmla="*/ 2182570 w 2202036"/>
              <a:gd name="connsiteY3" fmla="*/ 108912 h 594531"/>
              <a:gd name="connsiteX4" fmla="*/ 2191645 w 2202036"/>
              <a:gd name="connsiteY4" fmla="*/ 422031 h 594531"/>
              <a:gd name="connsiteX5" fmla="*/ 2192471 w 2202036"/>
              <a:gd name="connsiteY5" fmla="*/ 583886 h 594531"/>
              <a:gd name="connsiteX6" fmla="*/ 2073658 w 2202036"/>
              <a:gd name="connsiteY6" fmla="*/ 594474 h 594531"/>
              <a:gd name="connsiteX7" fmla="*/ 22741 w 2202036"/>
              <a:gd name="connsiteY7" fmla="*/ 583886 h 594531"/>
              <a:gd name="connsiteX8" fmla="*/ 17960 w 2202036"/>
              <a:gd name="connsiteY8" fmla="*/ 403879 h 594531"/>
              <a:gd name="connsiteX9" fmla="*/ 8884 w 2202036"/>
              <a:gd name="connsiteY9" fmla="*/ 235975 h 594531"/>
              <a:gd name="connsiteX10" fmla="*/ 13665 w 2202036"/>
              <a:gd name="connsiteY10" fmla="*/ 26000 h 594531"/>
              <a:gd name="connsiteX0" fmla="*/ 142254 w 2330625"/>
              <a:gd name="connsiteY0" fmla="*/ 26000 h 594531"/>
              <a:gd name="connsiteX1" fmla="*/ 219156 w 2330625"/>
              <a:gd name="connsiteY1" fmla="*/ 0 h 594531"/>
              <a:gd name="connsiteX2" fmla="*/ 2293833 w 2330625"/>
              <a:gd name="connsiteY2" fmla="*/ 12386 h 594531"/>
              <a:gd name="connsiteX3" fmla="*/ 2311159 w 2330625"/>
              <a:gd name="connsiteY3" fmla="*/ 108912 h 594531"/>
              <a:gd name="connsiteX4" fmla="*/ 2320234 w 2330625"/>
              <a:gd name="connsiteY4" fmla="*/ 422031 h 594531"/>
              <a:gd name="connsiteX5" fmla="*/ 2321060 w 2330625"/>
              <a:gd name="connsiteY5" fmla="*/ 583886 h 594531"/>
              <a:gd name="connsiteX6" fmla="*/ 2202247 w 2330625"/>
              <a:gd name="connsiteY6" fmla="*/ 594474 h 594531"/>
              <a:gd name="connsiteX7" fmla="*/ 151330 w 2330625"/>
              <a:gd name="connsiteY7" fmla="*/ 583886 h 594531"/>
              <a:gd name="connsiteX8" fmla="*/ 155624 w 2330625"/>
              <a:gd name="connsiteY8" fmla="*/ 512790 h 594531"/>
              <a:gd name="connsiteX9" fmla="*/ 146549 w 2330625"/>
              <a:gd name="connsiteY9" fmla="*/ 403879 h 594531"/>
              <a:gd name="connsiteX10" fmla="*/ 137473 w 2330625"/>
              <a:gd name="connsiteY10" fmla="*/ 235975 h 594531"/>
              <a:gd name="connsiteX11" fmla="*/ 142254 w 2330625"/>
              <a:gd name="connsiteY11" fmla="*/ 26000 h 594531"/>
              <a:gd name="connsiteX0" fmla="*/ 13413 w 2201784"/>
              <a:gd name="connsiteY0" fmla="*/ 26000 h 594531"/>
              <a:gd name="connsiteX1" fmla="*/ 90315 w 2201784"/>
              <a:gd name="connsiteY1" fmla="*/ 0 h 594531"/>
              <a:gd name="connsiteX2" fmla="*/ 2164992 w 2201784"/>
              <a:gd name="connsiteY2" fmla="*/ 12386 h 594531"/>
              <a:gd name="connsiteX3" fmla="*/ 2182318 w 2201784"/>
              <a:gd name="connsiteY3" fmla="*/ 108912 h 594531"/>
              <a:gd name="connsiteX4" fmla="*/ 2191393 w 2201784"/>
              <a:gd name="connsiteY4" fmla="*/ 422031 h 594531"/>
              <a:gd name="connsiteX5" fmla="*/ 2192219 w 2201784"/>
              <a:gd name="connsiteY5" fmla="*/ 583886 h 594531"/>
              <a:gd name="connsiteX6" fmla="*/ 2073406 w 2201784"/>
              <a:gd name="connsiteY6" fmla="*/ 594474 h 594531"/>
              <a:gd name="connsiteX7" fmla="*/ 22489 w 2201784"/>
              <a:gd name="connsiteY7" fmla="*/ 583886 h 594531"/>
              <a:gd name="connsiteX8" fmla="*/ 26783 w 2201784"/>
              <a:gd name="connsiteY8" fmla="*/ 512790 h 594531"/>
              <a:gd name="connsiteX9" fmla="*/ 17708 w 2201784"/>
              <a:gd name="connsiteY9" fmla="*/ 403879 h 594531"/>
              <a:gd name="connsiteX10" fmla="*/ 8632 w 2201784"/>
              <a:gd name="connsiteY10" fmla="*/ 235975 h 594531"/>
              <a:gd name="connsiteX11" fmla="*/ 13413 w 2201784"/>
              <a:gd name="connsiteY11" fmla="*/ 26000 h 59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784" h="594531">
                <a:moveTo>
                  <a:pt x="13413" y="26000"/>
                </a:moveTo>
                <a:cubicBezTo>
                  <a:pt x="37534" y="24897"/>
                  <a:pt x="66194" y="1103"/>
                  <a:pt x="90315" y="0"/>
                </a:cubicBezTo>
                <a:lnTo>
                  <a:pt x="2164992" y="12386"/>
                </a:lnTo>
                <a:cubicBezTo>
                  <a:pt x="2164717" y="43049"/>
                  <a:pt x="2182593" y="78249"/>
                  <a:pt x="2182318" y="108912"/>
                </a:cubicBezTo>
                <a:cubicBezTo>
                  <a:pt x="2188231" y="177186"/>
                  <a:pt x="2189743" y="342869"/>
                  <a:pt x="2191393" y="422031"/>
                </a:cubicBezTo>
                <a:cubicBezTo>
                  <a:pt x="2193043" y="501193"/>
                  <a:pt x="2213396" y="555146"/>
                  <a:pt x="2192219" y="583886"/>
                </a:cubicBezTo>
                <a:cubicBezTo>
                  <a:pt x="2172279" y="582877"/>
                  <a:pt x="2093346" y="595483"/>
                  <a:pt x="2073406" y="594474"/>
                </a:cubicBezTo>
                <a:lnTo>
                  <a:pt x="22489" y="583886"/>
                </a:lnTo>
                <a:cubicBezTo>
                  <a:pt x="5849" y="592962"/>
                  <a:pt x="27580" y="542791"/>
                  <a:pt x="26783" y="512790"/>
                </a:cubicBezTo>
                <a:cubicBezTo>
                  <a:pt x="25986" y="482789"/>
                  <a:pt x="18464" y="450015"/>
                  <a:pt x="17708" y="403879"/>
                </a:cubicBezTo>
                <a:cubicBezTo>
                  <a:pt x="16952" y="357743"/>
                  <a:pt x="-14855" y="308787"/>
                  <a:pt x="8632" y="235975"/>
                </a:cubicBezTo>
                <a:cubicBezTo>
                  <a:pt x="7119" y="142994"/>
                  <a:pt x="-201" y="65329"/>
                  <a:pt x="13413" y="26000"/>
                </a:cubicBezTo>
                <a:close/>
              </a:path>
            </a:pathLst>
          </a:custGeom>
          <a:solidFill>
            <a:srgbClr val="D9D4D0">
              <a:alpha val="50000"/>
            </a:srgbClr>
          </a:solidFill>
          <a:ln>
            <a:noFill/>
          </a:ln>
          <a:effectLst>
            <a:softEdge rad="63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Bembo"/>
              <a:ea typeface="+mn-ea"/>
              <a:cs typeface="+mn-cs"/>
            </a:endParaRPr>
          </a:p>
        </p:txBody>
      </p:sp>
    </p:spTree>
    <p:extLst>
      <p:ext uri="{BB962C8B-B14F-4D97-AF65-F5344CB8AC3E}">
        <p14:creationId xmlns:p14="http://schemas.microsoft.com/office/powerpoint/2010/main" val="6445139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F12B768B-1CCA-4C9E-89A3-B2060537A9BE}"/>
              </a:ext>
            </a:extLst>
          </p:cNvPr>
          <p:cNvSpPr>
            <a:spLocks noGrp="1"/>
          </p:cNvSpPr>
          <p:nvPr>
            <p:ph type="title"/>
          </p:nvPr>
        </p:nvSpPr>
        <p:spPr>
          <a:xfrm>
            <a:off x="1050879" y="609601"/>
            <a:ext cx="9505664" cy="1216024"/>
          </a:xfrm>
        </p:spPr>
        <p:txBody>
          <a:bodyPr/>
          <a:lstStyle/>
          <a:p>
            <a:r>
              <a:rPr lang="en-US"/>
              <a:t>Click to edit Master title style</a:t>
            </a:r>
            <a:endParaRPr lang="en-US" dirty="0"/>
          </a:p>
        </p:txBody>
      </p:sp>
      <p:sp>
        <p:nvSpPr>
          <p:cNvPr id="11" name="Footer Placeholder 4">
            <a:extLst>
              <a:ext uri="{FF2B5EF4-FFF2-40B4-BE49-F238E27FC236}">
                <a16:creationId xmlns:a16="http://schemas.microsoft.com/office/drawing/2014/main" id="{C46FD3DD-1EB2-4F34-8E3F-F82F905B2AE0}"/>
              </a:ext>
            </a:extLst>
          </p:cNvPr>
          <p:cNvSpPr>
            <a:spLocks noGrp="1"/>
          </p:cNvSpPr>
          <p:nvPr>
            <p:ph type="ftr" sz="quarter" idx="11"/>
          </p:nvPr>
        </p:nvSpPr>
        <p:spPr>
          <a:xfrm rot="5400000">
            <a:off x="10451592" y="1408176"/>
            <a:ext cx="2770499"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all" spc="300" normalizeH="0" baseline="0" noProof="0" dirty="0">
                <a:ln>
                  <a:noFill/>
                </a:ln>
                <a:solidFill>
                  <a:prstClr val="black">
                    <a:lumMod val="85000"/>
                    <a:lumOff val="15000"/>
                  </a:prstClr>
                </a:solidFill>
                <a:effectLst/>
                <a:uLnTx/>
                <a:uFillTx/>
                <a:latin typeface="Bembo"/>
                <a:ea typeface="+mn-ea"/>
                <a:cs typeface="+mn-cs"/>
              </a:rPr>
              <a:t>PRESENTATION TITLE</a:t>
            </a:r>
          </a:p>
        </p:txBody>
      </p:sp>
      <p:sp>
        <p:nvSpPr>
          <p:cNvPr id="12" name="Slide Number Placeholder 5">
            <a:extLst>
              <a:ext uri="{FF2B5EF4-FFF2-40B4-BE49-F238E27FC236}">
                <a16:creationId xmlns:a16="http://schemas.microsoft.com/office/drawing/2014/main" id="{A0C0BD9A-4487-48C7-BDEC-7D4CB82B9807}"/>
              </a:ext>
            </a:extLst>
          </p:cNvPr>
          <p:cNvSpPr>
            <a:spLocks noGrp="1"/>
          </p:cNvSpPr>
          <p:nvPr>
            <p:ph type="sldNum" sz="quarter" idx="12"/>
          </p:nvPr>
        </p:nvSpPr>
        <p:spPr>
          <a:xfrm>
            <a:off x="11558016" y="3136392"/>
            <a:ext cx="545911" cy="58002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4F66505-CBE9-4DDE-B6B8-8F5BDC18C943}" type="slidenum">
              <a:rPr kumimoji="0" lang="en-US" sz="1600" b="0" i="0" u="none" strike="noStrike" kern="1200" cap="none" spc="0" normalizeH="0" baseline="0" noProof="0" smtClean="0">
                <a:ln>
                  <a:noFill/>
                </a:ln>
                <a:solidFill>
                  <a:prstClr val="black">
                    <a:lumMod val="85000"/>
                    <a:lumOff val="15000"/>
                  </a:prstClr>
                </a:solidFill>
                <a:effectLst/>
                <a:uLnTx/>
                <a:uFillTx/>
                <a:latin typeface="Bembo"/>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prstClr val="black">
                  <a:lumMod val="85000"/>
                  <a:lumOff val="15000"/>
                </a:prstClr>
              </a:solidFill>
              <a:effectLst/>
              <a:uLnTx/>
              <a:uFillTx/>
              <a:latin typeface="Bembo"/>
              <a:ea typeface="+mn-ea"/>
              <a:cs typeface="+mn-cs"/>
            </a:endParaRPr>
          </a:p>
        </p:txBody>
      </p:sp>
      <p:sp>
        <p:nvSpPr>
          <p:cNvPr id="13" name="Date Placeholder 3">
            <a:extLst>
              <a:ext uri="{FF2B5EF4-FFF2-40B4-BE49-F238E27FC236}">
                <a16:creationId xmlns:a16="http://schemas.microsoft.com/office/drawing/2014/main" id="{7332CAAA-3861-4802-9014-F168D5F02137}"/>
              </a:ext>
            </a:extLst>
          </p:cNvPr>
          <p:cNvSpPr>
            <a:spLocks noGrp="1"/>
          </p:cNvSpPr>
          <p:nvPr>
            <p:ph type="dt" sz="half" idx="10"/>
          </p:nvPr>
        </p:nvSpPr>
        <p:spPr>
          <a:xfrm rot="5400000">
            <a:off x="10506456" y="5074920"/>
            <a:ext cx="264766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all" spc="300" normalizeH="0" baseline="0" noProof="0" dirty="0">
                <a:ln>
                  <a:noFill/>
                </a:ln>
                <a:solidFill>
                  <a:prstClr val="black">
                    <a:lumMod val="85000"/>
                    <a:lumOff val="15000"/>
                  </a:prstClr>
                </a:solidFill>
                <a:effectLst/>
                <a:uLnTx/>
                <a:uFillTx/>
                <a:latin typeface="Bembo"/>
                <a:ea typeface="+mn-ea"/>
                <a:cs typeface="+mn-cs"/>
              </a:rPr>
              <a:t>20XX</a:t>
            </a:r>
          </a:p>
        </p:txBody>
      </p:sp>
      <p:sp>
        <p:nvSpPr>
          <p:cNvPr id="3" name="Content Placeholder 2">
            <a:extLst>
              <a:ext uri="{FF2B5EF4-FFF2-40B4-BE49-F238E27FC236}">
                <a16:creationId xmlns:a16="http://schemas.microsoft.com/office/drawing/2014/main" id="{6B4427A1-6C19-4DD2-82B1-9562F270B883}"/>
              </a:ext>
            </a:extLst>
          </p:cNvPr>
          <p:cNvSpPr>
            <a:spLocks noGrp="1"/>
          </p:cNvSpPr>
          <p:nvPr>
            <p:ph sz="quarter" idx="13" hasCustomPrompt="1"/>
          </p:nvPr>
        </p:nvSpPr>
        <p:spPr>
          <a:xfrm>
            <a:off x="179388" y="1757363"/>
            <a:ext cx="10510837" cy="4351337"/>
          </a:xfrm>
        </p:spPr>
        <p:txBody>
          <a:bodyPr/>
          <a:lstStyle>
            <a:lvl1pPr>
              <a:defRPr/>
            </a:lvl1pPr>
          </a:lstStyle>
          <a:p>
            <a:pPr lvl="0"/>
            <a:r>
              <a:rPr lang="en-US" dirty="0"/>
              <a:t>Click to add content</a:t>
            </a:r>
          </a:p>
        </p:txBody>
      </p:sp>
    </p:spTree>
    <p:extLst>
      <p:ext uri="{BB962C8B-B14F-4D97-AF65-F5344CB8AC3E}">
        <p14:creationId xmlns:p14="http://schemas.microsoft.com/office/powerpoint/2010/main" val="11895225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theme/media/image10.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customXml" Target="../ink/ink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 name="Picture 9" descr="A person in a dark room&#10;&#10;Description automatically generated">
            <a:extLst>
              <a:ext uri="{FF2B5EF4-FFF2-40B4-BE49-F238E27FC236}">
                <a16:creationId xmlns:a16="http://schemas.microsoft.com/office/drawing/2014/main" id="{DEB2E8C4-C3E7-4048-A43D-9859510CFA98}"/>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905744" y="0"/>
            <a:ext cx="1286256" cy="6858000"/>
          </a:xfrm>
          <a:prstGeom prst="rect">
            <a:avLst/>
          </a:prstGeom>
        </p:spPr>
      </p:pic>
      <p:sp>
        <p:nvSpPr>
          <p:cNvPr id="2" name="Title Placeholder 1">
            <a:extLst>
              <a:ext uri="{FF2B5EF4-FFF2-40B4-BE49-F238E27FC236}">
                <a16:creationId xmlns:a16="http://schemas.microsoft.com/office/drawing/2014/main" id="{9AFBD2E1-C16B-4996-869C-DD03823A80A4}"/>
              </a:ext>
            </a:extLst>
          </p:cNvPr>
          <p:cNvSpPr>
            <a:spLocks noGrp="1"/>
          </p:cNvSpPr>
          <p:nvPr>
            <p:ph type="title"/>
          </p:nvPr>
        </p:nvSpPr>
        <p:spPr>
          <a:xfrm>
            <a:off x="1050879" y="609601"/>
            <a:ext cx="9810604" cy="1216024"/>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844DB6A-ED8E-4755-BC7A-B7AA65244231}"/>
              </a:ext>
            </a:extLst>
          </p:cNvPr>
          <p:cNvSpPr>
            <a:spLocks noGrp="1"/>
          </p:cNvSpPr>
          <p:nvPr>
            <p:ph type="body" idx="1"/>
          </p:nvPr>
        </p:nvSpPr>
        <p:spPr>
          <a:xfrm>
            <a:off x="1050879" y="1825624"/>
            <a:ext cx="9810604" cy="442875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FF5CE27-B558-4B88-ACE3-B70423127730}"/>
              </a:ext>
            </a:extLst>
          </p:cNvPr>
          <p:cNvSpPr>
            <a:spLocks noGrp="1"/>
          </p:cNvSpPr>
          <p:nvPr>
            <p:ph type="dt" sz="half" idx="2"/>
          </p:nvPr>
        </p:nvSpPr>
        <p:spPr>
          <a:xfrm rot="5400000">
            <a:off x="10509243" y="5071825"/>
            <a:ext cx="2647667" cy="365125"/>
          </a:xfrm>
          <a:prstGeom prst="rect">
            <a:avLst/>
          </a:prstGeom>
        </p:spPr>
        <p:txBody>
          <a:bodyPr vert="horz" lIns="91440" tIns="45720" rIns="91440" bIns="45720" rtlCol="0" anchor="ctr"/>
          <a:lstStyle>
            <a:lvl1pPr algn="l">
              <a:defRPr sz="900" cap="all" spc="300" baseline="0">
                <a:solidFill>
                  <a:schemeClr val="tx1">
                    <a:lumMod val="85000"/>
                    <a:lumOff val="15000"/>
                  </a:schemeClr>
                </a:solidFill>
                <a:latin typeface="+mn-lt"/>
              </a:defRPr>
            </a:lvl1pPr>
          </a:lstStyle>
          <a:p>
            <a:r>
              <a:rPr lang="en-US" dirty="0"/>
              <a:t>20XX</a:t>
            </a:r>
            <a:endParaRPr lang="en-US" dirty="0">
              <a:latin typeface="+mn-lt"/>
            </a:endParaRPr>
          </a:p>
        </p:txBody>
      </p:sp>
      <p:sp>
        <p:nvSpPr>
          <p:cNvPr id="5" name="Footer Placeholder 4">
            <a:extLst>
              <a:ext uri="{FF2B5EF4-FFF2-40B4-BE49-F238E27FC236}">
                <a16:creationId xmlns:a16="http://schemas.microsoft.com/office/drawing/2014/main" id="{4ACE5D61-F203-4F00-9CF1-AB0AE4937006}"/>
              </a:ext>
            </a:extLst>
          </p:cNvPr>
          <p:cNvSpPr>
            <a:spLocks noGrp="1"/>
          </p:cNvSpPr>
          <p:nvPr>
            <p:ph type="ftr" sz="quarter" idx="3"/>
          </p:nvPr>
        </p:nvSpPr>
        <p:spPr>
          <a:xfrm rot="5400000">
            <a:off x="10447827" y="1407402"/>
            <a:ext cx="2770499" cy="365125"/>
          </a:xfrm>
          <a:prstGeom prst="rect">
            <a:avLst/>
          </a:prstGeom>
        </p:spPr>
        <p:txBody>
          <a:bodyPr vert="horz" lIns="91440" tIns="45720" rIns="91440" bIns="45720" rtlCol="0" anchor="ctr"/>
          <a:lstStyle>
            <a:lvl1pPr algn="r">
              <a:defRPr sz="900" cap="all" spc="300" baseline="0">
                <a:solidFill>
                  <a:schemeClr val="tx1">
                    <a:lumMod val="85000"/>
                    <a:lumOff val="15000"/>
                  </a:schemeClr>
                </a:solidFill>
                <a:latin typeface="+mn-lt"/>
              </a:defRPr>
            </a:lvl1pPr>
          </a:lstStyle>
          <a:p>
            <a:r>
              <a:rPr lang="en-US" dirty="0">
                <a:latin typeface="+mn-lt"/>
              </a:rPr>
              <a:t>PRESENTATION TITLE</a:t>
            </a:r>
          </a:p>
        </p:txBody>
      </p:sp>
      <p:sp>
        <p:nvSpPr>
          <p:cNvPr id="6" name="Slide Number Placeholder 5">
            <a:extLst>
              <a:ext uri="{FF2B5EF4-FFF2-40B4-BE49-F238E27FC236}">
                <a16:creationId xmlns:a16="http://schemas.microsoft.com/office/drawing/2014/main" id="{39FF38BD-5F38-4F6E-B5DD-EB1AF06002E2}"/>
              </a:ext>
            </a:extLst>
          </p:cNvPr>
          <p:cNvSpPr>
            <a:spLocks noGrp="1"/>
          </p:cNvSpPr>
          <p:nvPr>
            <p:ph type="sldNum" sz="quarter" idx="4"/>
          </p:nvPr>
        </p:nvSpPr>
        <p:spPr>
          <a:xfrm>
            <a:off x="11560121" y="3138985"/>
            <a:ext cx="545911" cy="580029"/>
          </a:xfrm>
          <a:prstGeom prst="rect">
            <a:avLst/>
          </a:prstGeom>
        </p:spPr>
        <p:txBody>
          <a:bodyPr vert="horz" lIns="91440" tIns="45720" rIns="91440" bIns="45720" rtlCol="0" anchor="ctr"/>
          <a:lstStyle>
            <a:lvl1pPr algn="ctr">
              <a:defRPr sz="1600">
                <a:solidFill>
                  <a:schemeClr val="tx1">
                    <a:lumMod val="85000"/>
                    <a:lumOff val="15000"/>
                  </a:schemeClr>
                </a:solidFill>
                <a:latin typeface="+mn-lt"/>
              </a:defRPr>
            </a:lvl1pPr>
          </a:lstStyle>
          <a:p>
            <a:fld id="{9D4AEF59-F28E-467C-9EA3-92D1CFAD475A}" type="slidenum">
              <a:rPr lang="en-US" smtClean="0"/>
              <a:pPr/>
              <a:t>‹#›</a:t>
            </a:fld>
            <a:endParaRPr lang="en-US" dirty="0">
              <a:latin typeface="+mn-lt"/>
            </a:endParaRPr>
          </a:p>
        </p:txBody>
      </p:sp>
      <mc:AlternateContent xmlns:mc="http://schemas.openxmlformats.org/markup-compatibility/2006" xmlns:p14="http://schemas.microsoft.com/office/powerpoint/2010/main">
        <mc:Choice Requires="p14">
          <p:contentPart p14:bwMode="auto" r:id="rId14">
            <p14:nvContentPartPr>
              <p14:cNvPr id="18" name="Ink 17">
                <a:extLst>
                  <a:ext uri="{FF2B5EF4-FFF2-40B4-BE49-F238E27FC236}">
                    <a16:creationId xmlns:a16="http://schemas.microsoft.com/office/drawing/2014/main" id="{24D29CCB-7956-4E3E-8880-304085F04BF4}"/>
                  </a:ext>
                </a:extLst>
              </p14:cNvPr>
              <p14:cNvContentPartPr/>
              <p14:nvPr/>
            </p14:nvContentPartPr>
            <p14:xfrm>
              <a:off x="12490710" y="6342652"/>
              <a:ext cx="360" cy="360"/>
            </p14:xfrm>
          </p:contentPart>
        </mc:Choice>
        <mc:Fallback xmlns="">
          <p:pic>
            <p:nvPicPr>
              <p:cNvPr id="18" name="Ink 17">
                <a:extLst>
                  <a:ext uri="{FF2B5EF4-FFF2-40B4-BE49-F238E27FC236}">
                    <a16:creationId xmlns:a16="http://schemas.microsoft.com/office/drawing/2014/main" id="{24D29CCB-7956-4E3E-8880-304085F04BF4}"/>
                  </a:ext>
                </a:extLst>
              </p:cNvPr>
              <p:cNvPicPr/>
              <p:nvPr/>
            </p:nvPicPr>
            <p:blipFill>
              <a:blip r:embed="rId17"/>
              <a:stretch>
                <a:fillRect/>
              </a:stretch>
            </p:blipFill>
            <p:spPr>
              <a:xfrm>
                <a:off x="12482070" y="6333652"/>
                <a:ext cx="18000" cy="18000"/>
              </a:xfrm>
              <a:prstGeom prst="rect">
                <a:avLst/>
              </a:prstGeom>
            </p:spPr>
          </p:pic>
        </mc:Fallback>
      </mc:AlternateContent>
    </p:spTree>
    <p:extLst>
      <p:ext uri="{BB962C8B-B14F-4D97-AF65-F5344CB8AC3E}">
        <p14:creationId xmlns:p14="http://schemas.microsoft.com/office/powerpoint/2010/main" val="41966357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p:txStyles>
    <p:titleStyle>
      <a:lvl1pPr algn="l" defTabSz="914400" rtl="0" eaLnBrk="1" latinLnBrk="0" hangingPunct="1">
        <a:lnSpc>
          <a:spcPct val="110000"/>
        </a:lnSpc>
        <a:spcBef>
          <a:spcPct val="0"/>
        </a:spcBef>
        <a:buNone/>
        <a:defRPr sz="2800" kern="1200" cap="all" spc="600" baseline="0">
          <a:solidFill>
            <a:schemeClr val="tx1">
              <a:lumMod val="85000"/>
              <a:lumOff val="15000"/>
            </a:schemeClr>
          </a:solidFill>
          <a:latin typeface="+mj-lt"/>
          <a:ea typeface="Batang" panose="02030600000101010101" pitchFamily="18" charset="-127"/>
          <a:cs typeface="+mj-cs"/>
        </a:defRPr>
      </a:lvl1pPr>
    </p:titleStyle>
    <p:bodyStyle>
      <a:lvl1pPr marL="228600" indent="-228600" algn="l" defTabSz="914400" rtl="0" eaLnBrk="1" latinLnBrk="0" hangingPunct="1">
        <a:lnSpc>
          <a:spcPct val="100000"/>
        </a:lnSpc>
        <a:spcBef>
          <a:spcPts val="1000"/>
        </a:spcBef>
        <a:buSzPct val="80000"/>
        <a:buFont typeface="Arial" panose="020B0604020202020204" pitchFamily="34" charset="0"/>
        <a:buChar char="•"/>
        <a:defRPr sz="2000" kern="1200" spc="50" baseline="0">
          <a:solidFill>
            <a:schemeClr val="tx1">
              <a:lumMod val="85000"/>
              <a:lumOff val="15000"/>
            </a:schemeClr>
          </a:solidFill>
          <a:latin typeface="+mn-lt"/>
          <a:ea typeface="Batang" panose="02030600000101010101" pitchFamily="18" charset="-127"/>
          <a:cs typeface="+mn-cs"/>
        </a:defRPr>
      </a:lvl1pPr>
      <a:lvl2pPr marL="274320" indent="0" algn="l" defTabSz="914400" rtl="0" eaLnBrk="1" latinLnBrk="0" hangingPunct="1">
        <a:lnSpc>
          <a:spcPct val="100000"/>
        </a:lnSpc>
        <a:spcBef>
          <a:spcPts val="500"/>
        </a:spcBef>
        <a:buFontTx/>
        <a:buNone/>
        <a:defRPr sz="1800" kern="1200" spc="50" baseline="0">
          <a:solidFill>
            <a:schemeClr val="tx1">
              <a:lumMod val="85000"/>
              <a:lumOff val="15000"/>
            </a:schemeClr>
          </a:solidFill>
          <a:latin typeface="+mn-lt"/>
          <a:ea typeface="Batang" panose="02030600000101010101" pitchFamily="18" charset="-127"/>
          <a:cs typeface="+mn-cs"/>
        </a:defRPr>
      </a:lvl2pPr>
      <a:lvl3pPr marL="605790" indent="-285750" algn="l" defTabSz="914400" rtl="0" eaLnBrk="1" latinLnBrk="0" hangingPunct="1">
        <a:lnSpc>
          <a:spcPct val="100000"/>
        </a:lnSpc>
        <a:spcBef>
          <a:spcPts val="500"/>
        </a:spcBef>
        <a:buSzPct val="80000"/>
        <a:buFont typeface="Arial" panose="020B0604020202020204" pitchFamily="34" charset="0"/>
        <a:buChar char="•"/>
        <a:defRPr sz="1600" kern="1200" spc="50" baseline="0">
          <a:solidFill>
            <a:schemeClr val="tx1">
              <a:lumMod val="85000"/>
              <a:lumOff val="15000"/>
            </a:schemeClr>
          </a:solidFill>
          <a:latin typeface="+mn-lt"/>
          <a:ea typeface="Batang" panose="02030600000101010101" pitchFamily="18" charset="-127"/>
          <a:cs typeface="+mn-cs"/>
        </a:defRPr>
      </a:lvl3pPr>
      <a:lvl4pPr marL="630936" indent="0" algn="l" defTabSz="914400" rtl="0" eaLnBrk="1" latinLnBrk="0" hangingPunct="1">
        <a:lnSpc>
          <a:spcPct val="100000"/>
        </a:lnSpc>
        <a:spcBef>
          <a:spcPts val="500"/>
        </a:spcBef>
        <a:buFontTx/>
        <a:buNone/>
        <a:defRPr sz="1400" kern="1200" spc="50" baseline="0">
          <a:solidFill>
            <a:schemeClr val="tx1">
              <a:lumMod val="85000"/>
              <a:lumOff val="15000"/>
            </a:schemeClr>
          </a:solidFill>
          <a:latin typeface="+mn-lt"/>
          <a:ea typeface="Batang" panose="02030600000101010101" pitchFamily="18" charset="-127"/>
          <a:cs typeface="+mn-cs"/>
        </a:defRPr>
      </a:lvl4pPr>
      <a:lvl5pPr marL="822960" indent="-228600" algn="l" defTabSz="914400" rtl="0" eaLnBrk="1" latinLnBrk="0" hangingPunct="1">
        <a:lnSpc>
          <a:spcPct val="100000"/>
        </a:lnSpc>
        <a:spcBef>
          <a:spcPts val="500"/>
        </a:spcBef>
        <a:buSzPct val="80000"/>
        <a:buFont typeface="Arial" panose="020B0604020202020204" pitchFamily="34" charset="0"/>
        <a:buChar char="•"/>
        <a:defRPr sz="1400" kern="1200" spc="50" baseline="0">
          <a:solidFill>
            <a:schemeClr val="tx1">
              <a:lumMod val="85000"/>
              <a:lumOff val="15000"/>
            </a:schemeClr>
          </a:solidFill>
          <a:latin typeface="+mn-lt"/>
          <a:ea typeface="Batang" panose="02030600000101010101" pitchFamily="18" charset="-127"/>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4032">
          <p15:clr>
            <a:srgbClr val="F26B43"/>
          </p15:clr>
        </p15:guide>
        <p15:guide id="4" orient="horz" pos="288">
          <p15:clr>
            <a:srgbClr val="F26B43"/>
          </p15:clr>
        </p15:guide>
        <p15:guide id="5" pos="456">
          <p15:clr>
            <a:srgbClr val="F26B43"/>
          </p15:clr>
        </p15:guide>
        <p15:guide id="6" pos="7224">
          <p15:clr>
            <a:srgbClr val="F26B43"/>
          </p15:clr>
        </p15:guide>
        <p15:guide id="7" orient="horz" pos="3960">
          <p15:clr>
            <a:srgbClr val="F26B43"/>
          </p15:clr>
        </p15:guide>
        <p15:guide id="8" orient="horz" pos="696">
          <p15:clr>
            <a:srgbClr val="F26B43"/>
          </p15:clr>
        </p15:guide>
        <p15:guide id="9" orient="horz" pos="864">
          <p15:clr>
            <a:srgbClr val="F26B43"/>
          </p15:clr>
        </p15:guide>
        <p15:guide id="10" orient="horz" pos="3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2.xml"/><Relationship Id="rId4" Type="http://schemas.openxmlformats.org/officeDocument/2006/relationships/image" Target="../media/image4.jp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D2BF77-EE71-4459-9BED-270A7283BA81}"/>
              </a:ext>
            </a:extLst>
          </p:cNvPr>
          <p:cNvSpPr>
            <a:spLocks noGrp="1"/>
          </p:cNvSpPr>
          <p:nvPr>
            <p:ph type="ctrTitle"/>
          </p:nvPr>
        </p:nvSpPr>
        <p:spPr>
          <a:xfrm>
            <a:off x="720873" y="5670247"/>
            <a:ext cx="10750253" cy="1187753"/>
          </a:xfrm>
        </p:spPr>
        <p:txBody>
          <a:bodyPr>
            <a:noAutofit/>
          </a:bodyPr>
          <a:lstStyle/>
          <a:p>
            <a:r>
              <a:rPr lang="en-US" sz="3200" b="1">
                <a:solidFill>
                  <a:srgbClr val="FF0000"/>
                </a:solidFill>
              </a:rPr>
              <a:t>CÔNG VIỆC QUẢN TRỊ C</a:t>
            </a:r>
            <a:r>
              <a:rPr lang="vi-VN" sz="3200" b="1">
                <a:solidFill>
                  <a:srgbClr val="FF0000"/>
                </a:solidFill>
              </a:rPr>
              <a:t>Ơ</a:t>
            </a:r>
            <a:r>
              <a:rPr lang="en-US" sz="3200" b="1">
                <a:solidFill>
                  <a:srgbClr val="FF0000"/>
                </a:solidFill>
              </a:rPr>
              <a:t> SỞ DỮ LIỆU</a:t>
            </a:r>
            <a:endParaRPr lang="en-US" sz="3200" b="1" dirty="0">
              <a:solidFill>
                <a:srgbClr val="FF0000"/>
              </a:solidFill>
            </a:endParaRPr>
          </a:p>
        </p:txBody>
      </p:sp>
      <p:sp>
        <p:nvSpPr>
          <p:cNvPr id="3" name="Subtitle 2">
            <a:extLst>
              <a:ext uri="{FF2B5EF4-FFF2-40B4-BE49-F238E27FC236}">
                <a16:creationId xmlns:a16="http://schemas.microsoft.com/office/drawing/2014/main" id="{62411E63-7B1D-4D47-BE07-81BDFB10C00D}"/>
              </a:ext>
            </a:extLst>
          </p:cNvPr>
          <p:cNvSpPr>
            <a:spLocks noGrp="1"/>
          </p:cNvSpPr>
          <p:nvPr>
            <p:ph type="subTitle" idx="1"/>
          </p:nvPr>
        </p:nvSpPr>
        <p:spPr>
          <a:xfrm>
            <a:off x="1519990" y="5017953"/>
            <a:ext cx="8803231" cy="494419"/>
          </a:xfrm>
        </p:spPr>
        <p:txBody>
          <a:bodyPr>
            <a:normAutofit lnSpcReduction="10000"/>
          </a:bodyPr>
          <a:lstStyle/>
          <a:p>
            <a:r>
              <a:rPr lang="en-US" sz="2800" b="1">
                <a:solidFill>
                  <a:srgbClr val="FF0000"/>
                </a:solidFill>
              </a:rPr>
              <a:t>Bài 16</a:t>
            </a:r>
            <a:endParaRPr lang="en-US" sz="2800" b="1" dirty="0">
              <a:solidFill>
                <a:srgbClr val="FF0000"/>
              </a:solidFill>
            </a:endParaRPr>
          </a:p>
        </p:txBody>
      </p:sp>
      <p:pic>
        <p:nvPicPr>
          <p:cNvPr id="7" name="Picture Placeholder 6" descr="A hand holding a glowing object&#10;&#10;Description automatically generated">
            <a:extLst>
              <a:ext uri="{FF2B5EF4-FFF2-40B4-BE49-F238E27FC236}">
                <a16:creationId xmlns:a16="http://schemas.microsoft.com/office/drawing/2014/main" id="{1D0C71D3-AA43-45BF-B527-123289EF5A38}"/>
              </a:ext>
            </a:extLst>
          </p:cNvPr>
          <p:cNvPicPr>
            <a:picLocks noGrp="1" noChangeAspect="1"/>
          </p:cNvPicPr>
          <p:nvPr>
            <p:ph type="pic" sz="quarter" idx="10"/>
          </p:nvPr>
        </p:nvPicPr>
        <p:blipFill>
          <a:blip r:embed="rId2"/>
          <a:srcRect t="5799" b="5799"/>
          <a:stretch>
            <a:fillRect/>
          </a:stretch>
        </p:blipFill>
        <p:spPr/>
      </p:pic>
    </p:spTree>
    <p:extLst>
      <p:ext uri="{BB962C8B-B14F-4D97-AF65-F5344CB8AC3E}">
        <p14:creationId xmlns:p14="http://schemas.microsoft.com/office/powerpoint/2010/main" val="513522971"/>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A7ACDF2D-3EE9-4E44-811F-B94E6F55D7D6}"/>
              </a:ext>
            </a:extLst>
          </p:cNvPr>
          <p:cNvSpPr>
            <a:spLocks noGrp="1"/>
          </p:cNvSpPr>
          <p:nvPr>
            <p:ph idx="1"/>
          </p:nvPr>
        </p:nvSpPr>
        <p:spPr>
          <a:xfrm>
            <a:off x="473942" y="1009670"/>
            <a:ext cx="5083222" cy="5063584"/>
          </a:xfrm>
        </p:spPr>
        <p:txBody>
          <a:bodyPr>
            <a:normAutofit/>
          </a:bodyPr>
          <a:lstStyle/>
          <a:p>
            <a:pPr marL="0" indent="0">
              <a:buNone/>
            </a:pPr>
            <a:r>
              <a:rPr lang="en-US" sz="2800">
                <a:latin typeface="GillSans" panose="02020500000000000000" pitchFamily="18" charset="0"/>
                <a:ea typeface="GillSans" panose="02020500000000000000" pitchFamily="18" charset="0"/>
                <a:cs typeface="GillSans" panose="02020500000000000000" pitchFamily="18" charset="0"/>
              </a:rPr>
              <a:t>Hiện nay có rất nhiều hệ QTCSDL hỗ trợ con ng</a:t>
            </a:r>
            <a:r>
              <a:rPr lang="vi-VN" sz="2800">
                <a:latin typeface="GillSans" panose="02020500000000000000" pitchFamily="18" charset="0"/>
                <a:ea typeface="GillSans" panose="02020500000000000000" pitchFamily="18" charset="0"/>
                <a:cs typeface="GillSans" panose="02020500000000000000" pitchFamily="18" charset="0"/>
              </a:rPr>
              <a:t>ư</a:t>
            </a:r>
            <a:r>
              <a:rPr lang="en-US" sz="2800">
                <a:latin typeface="GillSans" panose="02020500000000000000" pitchFamily="18" charset="0"/>
                <a:ea typeface="GillSans" panose="02020500000000000000" pitchFamily="18" charset="0"/>
                <a:cs typeface="GillSans" panose="02020500000000000000" pitchFamily="18" charset="0"/>
              </a:rPr>
              <a:t>ời trong việc l</a:t>
            </a:r>
            <a:r>
              <a:rPr lang="vi-VN" sz="2800">
                <a:latin typeface="GillSans" panose="02020500000000000000" pitchFamily="18" charset="0"/>
                <a:ea typeface="GillSans" panose="02020500000000000000" pitchFamily="18" charset="0"/>
                <a:cs typeface="GillSans" panose="02020500000000000000" pitchFamily="18" charset="0"/>
              </a:rPr>
              <a:t>ư</a:t>
            </a:r>
            <a:r>
              <a:rPr lang="en-US" sz="2800">
                <a:latin typeface="GillSans" panose="02020500000000000000" pitchFamily="18" charset="0"/>
                <a:ea typeface="GillSans" panose="02020500000000000000" pitchFamily="18" charset="0"/>
                <a:cs typeface="GillSans" panose="02020500000000000000" pitchFamily="18" charset="0"/>
              </a:rPr>
              <a:t>u trữ, cập nhật, truy xuất dữ liệu, bảo mật,…</a:t>
            </a:r>
          </a:p>
          <a:p>
            <a:pPr marL="0" indent="0">
              <a:buNone/>
            </a:pPr>
            <a:r>
              <a:rPr lang="en-US" sz="2800">
                <a:solidFill>
                  <a:schemeClr val="accent1">
                    <a:lumMod val="75000"/>
                  </a:schemeClr>
                </a:solidFill>
                <a:latin typeface="GillSans" panose="02020500000000000000" pitchFamily="18" charset="0"/>
                <a:ea typeface="GillSans" panose="02020500000000000000" pitchFamily="18" charset="0"/>
                <a:cs typeface="GillSans" panose="02020500000000000000" pitchFamily="18" charset="0"/>
              </a:rPr>
              <a:t>Theo em, để</a:t>
            </a:r>
            <a:r>
              <a:rPr lang="vi-VN" sz="2800">
                <a:solidFill>
                  <a:schemeClr val="accent1">
                    <a:lumMod val="75000"/>
                  </a:schemeClr>
                </a:solidFill>
                <a:latin typeface="GillSans" panose="02020500000000000000" pitchFamily="18" charset="0"/>
                <a:ea typeface="GillSans" panose="02020500000000000000" pitchFamily="18" charset="0"/>
                <a:cs typeface="GillSans" panose="02020500000000000000" pitchFamily="18" charset="0"/>
              </a:rPr>
              <a:t> vận hành, duy trì cho các CSDL hoạt động thông suốt, luôn sẵn sàng đáp ứng được nhu cầu khai thác</a:t>
            </a:r>
            <a:r>
              <a:rPr lang="en-US" sz="2800">
                <a:solidFill>
                  <a:schemeClr val="accent1">
                    <a:lumMod val="75000"/>
                  </a:schemeClr>
                </a:solidFill>
                <a:latin typeface="GillSans" panose="02020500000000000000" pitchFamily="18" charset="0"/>
                <a:ea typeface="GillSans" panose="02020500000000000000" pitchFamily="18" charset="0"/>
                <a:cs typeface="GillSans" panose="02020500000000000000" pitchFamily="18" charset="0"/>
              </a:rPr>
              <a:t> c</a:t>
            </a:r>
            <a:r>
              <a:rPr lang="vi-VN" sz="2800">
                <a:solidFill>
                  <a:schemeClr val="accent1">
                    <a:lumMod val="75000"/>
                  </a:schemeClr>
                </a:solidFill>
                <a:latin typeface="GillSans" panose="02020500000000000000" pitchFamily="18" charset="0"/>
                <a:ea typeface="GillSans" panose="02020500000000000000" pitchFamily="18" charset="0"/>
                <a:cs typeface="GillSans" panose="02020500000000000000" pitchFamily="18" charset="0"/>
              </a:rPr>
              <a:t>ó cần những cán bộ chuyên trách quản trị CSDL không</a:t>
            </a:r>
            <a:r>
              <a:rPr lang="en-US" sz="2800">
                <a:solidFill>
                  <a:schemeClr val="accent1">
                    <a:lumMod val="75000"/>
                  </a:schemeClr>
                </a:solidFill>
                <a:latin typeface="GillSans" panose="02020500000000000000" pitchFamily="18" charset="0"/>
                <a:ea typeface="GillSans" panose="02020500000000000000" pitchFamily="18" charset="0"/>
                <a:cs typeface="GillSans" panose="02020500000000000000" pitchFamily="18" charset="0"/>
              </a:rPr>
              <a:t> hay chỉ cần các hệ QTCSDL là đủ?</a:t>
            </a:r>
            <a:endParaRPr lang="en-US" sz="2800" dirty="0">
              <a:solidFill>
                <a:schemeClr val="accent1">
                  <a:lumMod val="75000"/>
                </a:schemeClr>
              </a:solidFill>
              <a:latin typeface="GillSans" panose="02020500000000000000" pitchFamily="18" charset="0"/>
              <a:ea typeface="GillSans" panose="02020500000000000000" pitchFamily="18" charset="0"/>
              <a:cs typeface="GillSans" panose="02020500000000000000" pitchFamily="18" charset="0"/>
            </a:endParaRPr>
          </a:p>
        </p:txBody>
      </p:sp>
      <p:sp>
        <p:nvSpPr>
          <p:cNvPr id="13" name="Footer Placeholder 12">
            <a:extLst>
              <a:ext uri="{FF2B5EF4-FFF2-40B4-BE49-F238E27FC236}">
                <a16:creationId xmlns:a16="http://schemas.microsoft.com/office/drawing/2014/main" id="{C3B5463C-DB51-444A-8430-9D25C66C7BEC}"/>
              </a:ext>
            </a:extLst>
          </p:cNvPr>
          <p:cNvSpPr>
            <a:spLocks noGrp="1"/>
          </p:cNvSpPr>
          <p:nvPr>
            <p:ph type="ftr" sz="quarter" idx="11"/>
          </p:nvPr>
        </p:nvSpPr>
        <p:spPr>
          <a:xfrm rot="5400000">
            <a:off x="10451592" y="1408176"/>
            <a:ext cx="2770499" cy="365125"/>
          </a:xfrm>
        </p:spPr>
        <p:txBody>
          <a:bodyPr/>
          <a:lstStyle/>
          <a:p>
            <a:pPr lvl="0"/>
            <a:r>
              <a:rPr lang="en-US" noProof="0" dirty="0"/>
              <a:t>PRESENTATION TITLE</a:t>
            </a:r>
          </a:p>
        </p:txBody>
      </p:sp>
      <p:sp>
        <p:nvSpPr>
          <p:cNvPr id="14" name="Slide Number Placeholder 13">
            <a:extLst>
              <a:ext uri="{FF2B5EF4-FFF2-40B4-BE49-F238E27FC236}">
                <a16:creationId xmlns:a16="http://schemas.microsoft.com/office/drawing/2014/main" id="{2EDF2856-4FE9-4EE3-B977-6911F31646C1}"/>
              </a:ext>
            </a:extLst>
          </p:cNvPr>
          <p:cNvSpPr>
            <a:spLocks noGrp="1"/>
          </p:cNvSpPr>
          <p:nvPr>
            <p:ph type="sldNum" sz="quarter" idx="12"/>
          </p:nvPr>
        </p:nvSpPr>
        <p:spPr>
          <a:xfrm>
            <a:off x="11558016" y="3136392"/>
            <a:ext cx="545911" cy="580029"/>
          </a:xfrm>
        </p:spPr>
        <p:txBody>
          <a:bodyPr/>
          <a:lstStyle/>
          <a:p>
            <a:pPr lvl="0"/>
            <a:fld id="{8D1FC6F8-0BCD-47E9-9C64-690771D9C143}" type="slidenum">
              <a:rPr lang="en-US" noProof="0" smtClean="0"/>
              <a:pPr lvl="0"/>
              <a:t>2</a:t>
            </a:fld>
            <a:endParaRPr lang="en-US" noProof="0" dirty="0"/>
          </a:p>
        </p:txBody>
      </p:sp>
      <p:sp>
        <p:nvSpPr>
          <p:cNvPr id="12" name="Date Placeholder 11">
            <a:extLst>
              <a:ext uri="{FF2B5EF4-FFF2-40B4-BE49-F238E27FC236}">
                <a16:creationId xmlns:a16="http://schemas.microsoft.com/office/drawing/2014/main" id="{9F364E8B-A603-4351-A494-1AC2076469D2}"/>
              </a:ext>
            </a:extLst>
          </p:cNvPr>
          <p:cNvSpPr>
            <a:spLocks noGrp="1"/>
          </p:cNvSpPr>
          <p:nvPr>
            <p:ph type="dt" sz="half" idx="10"/>
          </p:nvPr>
        </p:nvSpPr>
        <p:spPr>
          <a:xfrm rot="5400000">
            <a:off x="10506456" y="5074920"/>
            <a:ext cx="2647667" cy="365125"/>
          </a:xfrm>
        </p:spPr>
        <p:txBody>
          <a:bodyPr/>
          <a:lstStyle/>
          <a:p>
            <a:pPr lvl="0"/>
            <a:r>
              <a:rPr lang="en-US" noProof="0" dirty="0"/>
              <a:t>20XX</a:t>
            </a:r>
          </a:p>
        </p:txBody>
      </p:sp>
      <p:pic>
        <p:nvPicPr>
          <p:cNvPr id="20" name="Picture 19" descr="A group of logos on a black background&#10;&#10;Description automatically generated">
            <a:extLst>
              <a:ext uri="{FF2B5EF4-FFF2-40B4-BE49-F238E27FC236}">
                <a16:creationId xmlns:a16="http://schemas.microsoft.com/office/drawing/2014/main" id="{5D8D0F47-CFDC-44F3-AE9D-7FBEEE87CE1C}"/>
              </a:ext>
            </a:extLst>
          </p:cNvPr>
          <p:cNvPicPr>
            <a:picLocks noChangeAspect="1"/>
          </p:cNvPicPr>
          <p:nvPr/>
        </p:nvPicPr>
        <p:blipFill>
          <a:blip r:embed="rId4"/>
          <a:stretch>
            <a:fillRect/>
          </a:stretch>
        </p:blipFill>
        <p:spPr>
          <a:xfrm>
            <a:off x="5557164" y="332238"/>
            <a:ext cx="6667500" cy="6143625"/>
          </a:xfrm>
          <a:prstGeom prst="rect">
            <a:avLst/>
          </a:prstGeom>
        </p:spPr>
      </p:pic>
      <p:grpSp>
        <p:nvGrpSpPr>
          <p:cNvPr id="25" name="Class3" descr="{&quot;Key&quot;:&quot;POWER_USER_SHAPE_ICON&quot;,&quot;Value&quot;:&quot;POWER_USER_SHAPE_ICON_STYLE_1&quot;}">
            <a:extLst>
              <a:ext uri="{FF2B5EF4-FFF2-40B4-BE49-F238E27FC236}">
                <a16:creationId xmlns:a16="http://schemas.microsoft.com/office/drawing/2014/main" id="{7D55EF1B-DB2B-4088-9739-FCF9E49F0F46}"/>
              </a:ext>
            </a:extLst>
          </p:cNvPr>
          <p:cNvGrpSpPr>
            <a:grpSpLocks noChangeAspect="1"/>
          </p:cNvGrpSpPr>
          <p:nvPr>
            <p:custDataLst>
              <p:tags r:id="rId1"/>
            </p:custDataLst>
          </p:nvPr>
        </p:nvGrpSpPr>
        <p:grpSpPr>
          <a:xfrm>
            <a:off x="595952" y="205489"/>
            <a:ext cx="749442" cy="596900"/>
            <a:chOff x="4173538" y="158750"/>
            <a:chExt cx="896938" cy="714375"/>
          </a:xfrm>
          <a:noFill/>
        </p:grpSpPr>
        <p:sp>
          <p:nvSpPr>
            <p:cNvPr id="26" name="Oval 45">
              <a:extLst>
                <a:ext uri="{FF2B5EF4-FFF2-40B4-BE49-F238E27FC236}">
                  <a16:creationId xmlns:a16="http://schemas.microsoft.com/office/drawing/2014/main" id="{4D3AD233-5A54-42A3-A7FB-FFBB731005B8}"/>
                </a:ext>
              </a:extLst>
            </p:cNvPr>
            <p:cNvSpPr>
              <a:spLocks noChangeArrowheads="1"/>
            </p:cNvSpPr>
            <p:nvPr/>
          </p:nvSpPr>
          <p:spPr bwMode="auto">
            <a:xfrm>
              <a:off x="4278313" y="184150"/>
              <a:ext cx="300038" cy="300038"/>
            </a:xfrm>
            <a:prstGeom prst="ellipse">
              <a:avLst/>
            </a:prstGeom>
            <a:grpFill/>
            <a:ln w="38100">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46">
              <a:extLst>
                <a:ext uri="{FF2B5EF4-FFF2-40B4-BE49-F238E27FC236}">
                  <a16:creationId xmlns:a16="http://schemas.microsoft.com/office/drawing/2014/main" id="{29C50F48-DA37-4DAE-808D-33278E02D460}"/>
                </a:ext>
              </a:extLst>
            </p:cNvPr>
            <p:cNvSpPr>
              <a:spLocks/>
            </p:cNvSpPr>
            <p:nvPr/>
          </p:nvSpPr>
          <p:spPr bwMode="auto">
            <a:xfrm>
              <a:off x="4173538" y="322262"/>
              <a:ext cx="838200" cy="550863"/>
            </a:xfrm>
            <a:custGeom>
              <a:avLst/>
              <a:gdLst>
                <a:gd name="T0" fmla="*/ 145 w 1100"/>
                <a:gd name="T1" fmla="*/ 536 h 723"/>
                <a:gd name="T2" fmla="*/ 184 w 1100"/>
                <a:gd name="T3" fmla="*/ 536 h 723"/>
                <a:gd name="T4" fmla="*/ 194 w 1100"/>
                <a:gd name="T5" fmla="*/ 723 h 723"/>
                <a:gd name="T6" fmla="*/ 583 w 1100"/>
                <a:gd name="T7" fmla="*/ 723 h 723"/>
                <a:gd name="T8" fmla="*/ 583 w 1100"/>
                <a:gd name="T9" fmla="*/ 494 h 723"/>
                <a:gd name="T10" fmla="*/ 1046 w 1100"/>
                <a:gd name="T11" fmla="*/ 263 h 723"/>
                <a:gd name="T12" fmla="*/ 1061 w 1100"/>
                <a:gd name="T13" fmla="*/ 120 h 723"/>
                <a:gd name="T14" fmla="*/ 1085 w 1100"/>
                <a:gd name="T15" fmla="*/ 57 h 723"/>
                <a:gd name="T16" fmla="*/ 1063 w 1100"/>
                <a:gd name="T17" fmla="*/ 8 h 723"/>
                <a:gd name="T18" fmla="*/ 1015 w 1100"/>
                <a:gd name="T19" fmla="*/ 30 h 723"/>
                <a:gd name="T20" fmla="*/ 992 w 1100"/>
                <a:gd name="T21" fmla="*/ 88 h 723"/>
                <a:gd name="T22" fmla="*/ 954 w 1100"/>
                <a:gd name="T23" fmla="*/ 97 h 723"/>
                <a:gd name="T24" fmla="*/ 315 w 1100"/>
                <a:gd name="T25" fmla="*/ 268 h 723"/>
                <a:gd name="T26" fmla="*/ 0 w 1100"/>
                <a:gd name="T27" fmla="*/ 538 h 723"/>
                <a:gd name="T28" fmla="*/ 0 w 1100"/>
                <a:gd name="T29" fmla="*/ 723 h 723"/>
                <a:gd name="T30" fmla="*/ 145 w 1100"/>
                <a:gd name="T31" fmla="*/ 723 h 723"/>
                <a:gd name="T32" fmla="*/ 145 w 1100"/>
                <a:gd name="T33" fmla="*/ 53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0" h="723">
                  <a:moveTo>
                    <a:pt x="145" y="536"/>
                  </a:moveTo>
                  <a:lnTo>
                    <a:pt x="184" y="536"/>
                  </a:lnTo>
                  <a:lnTo>
                    <a:pt x="194" y="723"/>
                  </a:lnTo>
                  <a:lnTo>
                    <a:pt x="583" y="723"/>
                  </a:lnTo>
                  <a:lnTo>
                    <a:pt x="583" y="494"/>
                  </a:lnTo>
                  <a:cubicBezTo>
                    <a:pt x="772" y="432"/>
                    <a:pt x="939" y="344"/>
                    <a:pt x="1046" y="263"/>
                  </a:cubicBezTo>
                  <a:cubicBezTo>
                    <a:pt x="1091" y="229"/>
                    <a:pt x="1100" y="166"/>
                    <a:pt x="1061" y="120"/>
                  </a:cubicBezTo>
                  <a:lnTo>
                    <a:pt x="1085" y="57"/>
                  </a:lnTo>
                  <a:cubicBezTo>
                    <a:pt x="1093" y="37"/>
                    <a:pt x="1083" y="15"/>
                    <a:pt x="1063" y="8"/>
                  </a:cubicBezTo>
                  <a:cubicBezTo>
                    <a:pt x="1044" y="0"/>
                    <a:pt x="1022" y="10"/>
                    <a:pt x="1015" y="30"/>
                  </a:cubicBezTo>
                  <a:lnTo>
                    <a:pt x="992" y="88"/>
                  </a:lnTo>
                  <a:cubicBezTo>
                    <a:pt x="980" y="89"/>
                    <a:pt x="966" y="90"/>
                    <a:pt x="954" y="97"/>
                  </a:cubicBezTo>
                  <a:cubicBezTo>
                    <a:pt x="624" y="282"/>
                    <a:pt x="513" y="268"/>
                    <a:pt x="315" y="268"/>
                  </a:cubicBezTo>
                  <a:cubicBezTo>
                    <a:pt x="132" y="268"/>
                    <a:pt x="0" y="339"/>
                    <a:pt x="0" y="538"/>
                  </a:cubicBezTo>
                  <a:lnTo>
                    <a:pt x="0" y="723"/>
                  </a:lnTo>
                  <a:lnTo>
                    <a:pt x="145" y="723"/>
                  </a:lnTo>
                  <a:lnTo>
                    <a:pt x="145" y="536"/>
                  </a:lnTo>
                  <a:close/>
                </a:path>
              </a:pathLst>
            </a:custGeom>
            <a:grpFill/>
            <a:ln w="38100">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47">
              <a:extLst>
                <a:ext uri="{FF2B5EF4-FFF2-40B4-BE49-F238E27FC236}">
                  <a16:creationId xmlns:a16="http://schemas.microsoft.com/office/drawing/2014/main" id="{7F07C3F6-2ECF-465D-95D6-E840AB8D8420}"/>
                </a:ext>
              </a:extLst>
            </p:cNvPr>
            <p:cNvSpPr>
              <a:spLocks noChangeArrowheads="1"/>
            </p:cNvSpPr>
            <p:nvPr/>
          </p:nvSpPr>
          <p:spPr bwMode="auto">
            <a:xfrm>
              <a:off x="4668838" y="158750"/>
              <a:ext cx="401638" cy="41275"/>
            </a:xfrm>
            <a:prstGeom prst="rect">
              <a:avLst/>
            </a:prstGeom>
            <a:grpFill/>
            <a:ln w="38100">
              <a:solidFill>
                <a:srgbClr val="00B05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48">
              <a:extLst>
                <a:ext uri="{FF2B5EF4-FFF2-40B4-BE49-F238E27FC236}">
                  <a16:creationId xmlns:a16="http://schemas.microsoft.com/office/drawing/2014/main" id="{40B7B26B-118F-43E4-87E1-1C590013E9E3}"/>
                </a:ext>
              </a:extLst>
            </p:cNvPr>
            <p:cNvSpPr>
              <a:spLocks noChangeArrowheads="1"/>
            </p:cNvSpPr>
            <p:nvPr/>
          </p:nvSpPr>
          <p:spPr bwMode="auto">
            <a:xfrm>
              <a:off x="4668838" y="266700"/>
              <a:ext cx="238125" cy="41275"/>
            </a:xfrm>
            <a:prstGeom prst="rect">
              <a:avLst/>
            </a:prstGeom>
            <a:grpFill/>
            <a:ln w="38100">
              <a:solidFill>
                <a:srgbClr val="00B05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015727183"/>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ED96F65-D955-48E1-B9AD-B4904D9D4642}"/>
              </a:ext>
            </a:extLst>
          </p:cNvPr>
          <p:cNvSpPr>
            <a:spLocks noGrp="1"/>
          </p:cNvSpPr>
          <p:nvPr>
            <p:ph type="title"/>
          </p:nvPr>
        </p:nvSpPr>
        <p:spPr>
          <a:xfrm>
            <a:off x="6250670" y="50040"/>
            <a:ext cx="5531892" cy="1216024"/>
          </a:xfrm>
        </p:spPr>
        <p:txBody>
          <a:bodyPr>
            <a:normAutofit/>
          </a:bodyPr>
          <a:lstStyle/>
          <a:p>
            <a:r>
              <a:rPr lang="en-US" sz="2600" b="1"/>
              <a:t>1.Nhà quản trị csdl</a:t>
            </a:r>
            <a:endParaRPr lang="en-US" sz="2600" b="1" dirty="0"/>
          </a:p>
        </p:txBody>
      </p:sp>
      <p:sp>
        <p:nvSpPr>
          <p:cNvPr id="12" name="Content Placeholder 11">
            <a:extLst>
              <a:ext uri="{FF2B5EF4-FFF2-40B4-BE49-F238E27FC236}">
                <a16:creationId xmlns:a16="http://schemas.microsoft.com/office/drawing/2014/main" id="{696F7679-B00E-4BE4-A073-3AC792312C83}"/>
              </a:ext>
            </a:extLst>
          </p:cNvPr>
          <p:cNvSpPr>
            <a:spLocks noGrp="1"/>
          </p:cNvSpPr>
          <p:nvPr>
            <p:ph idx="1"/>
          </p:nvPr>
        </p:nvSpPr>
        <p:spPr>
          <a:xfrm>
            <a:off x="5677469" y="1877943"/>
            <a:ext cx="6291618" cy="4930017"/>
          </a:xfrm>
        </p:spPr>
        <p:txBody>
          <a:bodyPr>
            <a:noAutofit/>
          </a:bodyPr>
          <a:lstStyle/>
          <a:p>
            <a:pPr algn="r"/>
            <a:r>
              <a:rPr lang="vi-VN" sz="2800">
                <a:latin typeface="GillSans" panose="02020500000000000000" pitchFamily="18" charset="0"/>
                <a:ea typeface="GillSans" panose="02020500000000000000" pitchFamily="18" charset="0"/>
                <a:cs typeface="GillSans" panose="02020500000000000000" pitchFamily="18" charset="0"/>
              </a:rPr>
              <a:t>Quản trị là hoạt động hỗ trợ song song với một hoạt động cơ bản. Ví dụ, nếu hoạt động cơ bản là làm phần mềm thì quản trị dự án phần mềm sẽ là điều phối nhân lực, thiết bị, tài chính, giám sát tiến độ và chất lượng để làm ra phần mềm tốt, chi phí hợp lí và đúng thời hạn</a:t>
            </a:r>
            <a:r>
              <a:rPr lang="vi-VN" sz="2800">
                <a:solidFill>
                  <a:schemeClr val="tx2"/>
                </a:solidFill>
                <a:latin typeface="GillSans" panose="02020500000000000000" pitchFamily="18" charset="0"/>
                <a:ea typeface="GillSans" panose="02020500000000000000" pitchFamily="18" charset="0"/>
                <a:cs typeface="GillSans" panose="02020500000000000000" pitchFamily="18" charset="0"/>
              </a:rPr>
              <a:t>.</a:t>
            </a:r>
            <a:endParaRPr lang="en-US" sz="2800">
              <a:solidFill>
                <a:schemeClr val="tx2"/>
              </a:solidFill>
              <a:latin typeface="GillSans" panose="02020500000000000000" pitchFamily="18" charset="0"/>
              <a:ea typeface="GillSans" panose="02020500000000000000" pitchFamily="18" charset="0"/>
              <a:cs typeface="GillSans" panose="02020500000000000000" pitchFamily="18" charset="0"/>
            </a:endParaRPr>
          </a:p>
          <a:p>
            <a:pPr algn="r"/>
            <a:r>
              <a:rPr lang="vi-VN" sz="2800">
                <a:solidFill>
                  <a:schemeClr val="accent1">
                    <a:lumMod val="75000"/>
                  </a:schemeClr>
                </a:solidFill>
                <a:latin typeface="GillSans" panose="02020500000000000000" pitchFamily="18" charset="0"/>
                <a:ea typeface="GillSans" panose="02020500000000000000" pitchFamily="18" charset="0"/>
                <a:cs typeface="GillSans" panose="02020500000000000000" pitchFamily="18" charset="0"/>
              </a:rPr>
              <a:t>Nếu hoạt động cơ bản là khai thác các CSDL phục vụ tin học thì theo em, hoạt động quản trị CSDL tương ứng gồm những công việc gì?</a:t>
            </a:r>
            <a:endParaRPr lang="en-US" sz="2800" dirty="0">
              <a:solidFill>
                <a:schemeClr val="accent1">
                  <a:lumMod val="75000"/>
                </a:schemeClr>
              </a:solidFill>
              <a:latin typeface="GillSans" panose="02020500000000000000" pitchFamily="18" charset="0"/>
              <a:ea typeface="GillSans" panose="02020500000000000000" pitchFamily="18" charset="0"/>
              <a:cs typeface="GillSans" panose="02020500000000000000" pitchFamily="18" charset="0"/>
            </a:endParaRPr>
          </a:p>
        </p:txBody>
      </p:sp>
      <p:pic>
        <p:nvPicPr>
          <p:cNvPr id="10" name="Picture Placeholder 9" descr="A person holding a tablet&#10;&#10;Description automatically generated">
            <a:extLst>
              <a:ext uri="{FF2B5EF4-FFF2-40B4-BE49-F238E27FC236}">
                <a16:creationId xmlns:a16="http://schemas.microsoft.com/office/drawing/2014/main" id="{344E1622-5D00-45EE-8555-C752F662DF78}"/>
              </a:ext>
            </a:extLst>
          </p:cNvPr>
          <p:cNvPicPr>
            <a:picLocks noGrp="1" noChangeAspect="1"/>
          </p:cNvPicPr>
          <p:nvPr>
            <p:ph type="pic" sz="quarter" idx="13"/>
          </p:nvPr>
        </p:nvPicPr>
        <p:blipFill>
          <a:blip r:embed="rId4"/>
          <a:srcRect l="22267" r="22267"/>
          <a:stretch>
            <a:fillRect/>
          </a:stretch>
        </p:blipFill>
        <p:spPr>
          <a:xfrm>
            <a:off x="0" y="0"/>
            <a:ext cx="6096000" cy="6858000"/>
          </a:xfrm>
        </p:spPr>
      </p:pic>
      <p:grpSp>
        <p:nvGrpSpPr>
          <p:cNvPr id="17" name="Class3" descr="{&quot;Key&quot;:&quot;POWER_USER_SHAPE_ICON&quot;,&quot;Value&quot;:&quot;POWER_USER_SHAPE_ICON_STYLE_1&quot;}">
            <a:extLst>
              <a:ext uri="{FF2B5EF4-FFF2-40B4-BE49-F238E27FC236}">
                <a16:creationId xmlns:a16="http://schemas.microsoft.com/office/drawing/2014/main" id="{E5797008-CF56-4203-A1BD-5F397D8D876B}"/>
              </a:ext>
            </a:extLst>
          </p:cNvPr>
          <p:cNvGrpSpPr>
            <a:grpSpLocks noChangeAspect="1"/>
          </p:cNvGrpSpPr>
          <p:nvPr>
            <p:custDataLst>
              <p:tags r:id="rId1"/>
            </p:custDataLst>
          </p:nvPr>
        </p:nvGrpSpPr>
        <p:grpSpPr>
          <a:xfrm>
            <a:off x="6096000" y="1184612"/>
            <a:ext cx="749442" cy="596900"/>
            <a:chOff x="4173538" y="158750"/>
            <a:chExt cx="896938" cy="714375"/>
          </a:xfrm>
          <a:noFill/>
        </p:grpSpPr>
        <p:sp>
          <p:nvSpPr>
            <p:cNvPr id="18" name="Oval 45">
              <a:extLst>
                <a:ext uri="{FF2B5EF4-FFF2-40B4-BE49-F238E27FC236}">
                  <a16:creationId xmlns:a16="http://schemas.microsoft.com/office/drawing/2014/main" id="{BB574C21-A6EA-4780-8435-8D284AFA09CD}"/>
                </a:ext>
              </a:extLst>
            </p:cNvPr>
            <p:cNvSpPr>
              <a:spLocks noChangeArrowheads="1"/>
            </p:cNvSpPr>
            <p:nvPr/>
          </p:nvSpPr>
          <p:spPr bwMode="auto">
            <a:xfrm>
              <a:off x="4278313" y="184150"/>
              <a:ext cx="300038" cy="300038"/>
            </a:xfrm>
            <a:prstGeom prst="ellipse">
              <a:avLst/>
            </a:prstGeom>
            <a:grpFill/>
            <a:ln w="38100">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46">
              <a:extLst>
                <a:ext uri="{FF2B5EF4-FFF2-40B4-BE49-F238E27FC236}">
                  <a16:creationId xmlns:a16="http://schemas.microsoft.com/office/drawing/2014/main" id="{41ACD423-8B3D-46DB-9DC0-08C87F6F5A32}"/>
                </a:ext>
              </a:extLst>
            </p:cNvPr>
            <p:cNvSpPr>
              <a:spLocks/>
            </p:cNvSpPr>
            <p:nvPr/>
          </p:nvSpPr>
          <p:spPr bwMode="auto">
            <a:xfrm>
              <a:off x="4173538" y="322262"/>
              <a:ext cx="838200" cy="550863"/>
            </a:xfrm>
            <a:custGeom>
              <a:avLst/>
              <a:gdLst>
                <a:gd name="T0" fmla="*/ 145 w 1100"/>
                <a:gd name="T1" fmla="*/ 536 h 723"/>
                <a:gd name="T2" fmla="*/ 184 w 1100"/>
                <a:gd name="T3" fmla="*/ 536 h 723"/>
                <a:gd name="T4" fmla="*/ 194 w 1100"/>
                <a:gd name="T5" fmla="*/ 723 h 723"/>
                <a:gd name="T6" fmla="*/ 583 w 1100"/>
                <a:gd name="T7" fmla="*/ 723 h 723"/>
                <a:gd name="T8" fmla="*/ 583 w 1100"/>
                <a:gd name="T9" fmla="*/ 494 h 723"/>
                <a:gd name="T10" fmla="*/ 1046 w 1100"/>
                <a:gd name="T11" fmla="*/ 263 h 723"/>
                <a:gd name="T12" fmla="*/ 1061 w 1100"/>
                <a:gd name="T13" fmla="*/ 120 h 723"/>
                <a:gd name="T14" fmla="*/ 1085 w 1100"/>
                <a:gd name="T15" fmla="*/ 57 h 723"/>
                <a:gd name="T16" fmla="*/ 1063 w 1100"/>
                <a:gd name="T17" fmla="*/ 8 h 723"/>
                <a:gd name="T18" fmla="*/ 1015 w 1100"/>
                <a:gd name="T19" fmla="*/ 30 h 723"/>
                <a:gd name="T20" fmla="*/ 992 w 1100"/>
                <a:gd name="T21" fmla="*/ 88 h 723"/>
                <a:gd name="T22" fmla="*/ 954 w 1100"/>
                <a:gd name="T23" fmla="*/ 97 h 723"/>
                <a:gd name="T24" fmla="*/ 315 w 1100"/>
                <a:gd name="T25" fmla="*/ 268 h 723"/>
                <a:gd name="T26" fmla="*/ 0 w 1100"/>
                <a:gd name="T27" fmla="*/ 538 h 723"/>
                <a:gd name="T28" fmla="*/ 0 w 1100"/>
                <a:gd name="T29" fmla="*/ 723 h 723"/>
                <a:gd name="T30" fmla="*/ 145 w 1100"/>
                <a:gd name="T31" fmla="*/ 723 h 723"/>
                <a:gd name="T32" fmla="*/ 145 w 1100"/>
                <a:gd name="T33" fmla="*/ 53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0" h="723">
                  <a:moveTo>
                    <a:pt x="145" y="536"/>
                  </a:moveTo>
                  <a:lnTo>
                    <a:pt x="184" y="536"/>
                  </a:lnTo>
                  <a:lnTo>
                    <a:pt x="194" y="723"/>
                  </a:lnTo>
                  <a:lnTo>
                    <a:pt x="583" y="723"/>
                  </a:lnTo>
                  <a:lnTo>
                    <a:pt x="583" y="494"/>
                  </a:lnTo>
                  <a:cubicBezTo>
                    <a:pt x="772" y="432"/>
                    <a:pt x="939" y="344"/>
                    <a:pt x="1046" y="263"/>
                  </a:cubicBezTo>
                  <a:cubicBezTo>
                    <a:pt x="1091" y="229"/>
                    <a:pt x="1100" y="166"/>
                    <a:pt x="1061" y="120"/>
                  </a:cubicBezTo>
                  <a:lnTo>
                    <a:pt x="1085" y="57"/>
                  </a:lnTo>
                  <a:cubicBezTo>
                    <a:pt x="1093" y="37"/>
                    <a:pt x="1083" y="15"/>
                    <a:pt x="1063" y="8"/>
                  </a:cubicBezTo>
                  <a:cubicBezTo>
                    <a:pt x="1044" y="0"/>
                    <a:pt x="1022" y="10"/>
                    <a:pt x="1015" y="30"/>
                  </a:cubicBezTo>
                  <a:lnTo>
                    <a:pt x="992" y="88"/>
                  </a:lnTo>
                  <a:cubicBezTo>
                    <a:pt x="980" y="89"/>
                    <a:pt x="966" y="90"/>
                    <a:pt x="954" y="97"/>
                  </a:cubicBezTo>
                  <a:cubicBezTo>
                    <a:pt x="624" y="282"/>
                    <a:pt x="513" y="268"/>
                    <a:pt x="315" y="268"/>
                  </a:cubicBezTo>
                  <a:cubicBezTo>
                    <a:pt x="132" y="268"/>
                    <a:pt x="0" y="339"/>
                    <a:pt x="0" y="538"/>
                  </a:cubicBezTo>
                  <a:lnTo>
                    <a:pt x="0" y="723"/>
                  </a:lnTo>
                  <a:lnTo>
                    <a:pt x="145" y="723"/>
                  </a:lnTo>
                  <a:lnTo>
                    <a:pt x="145" y="536"/>
                  </a:lnTo>
                  <a:close/>
                </a:path>
              </a:pathLst>
            </a:custGeom>
            <a:grpFill/>
            <a:ln w="38100">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47">
              <a:extLst>
                <a:ext uri="{FF2B5EF4-FFF2-40B4-BE49-F238E27FC236}">
                  <a16:creationId xmlns:a16="http://schemas.microsoft.com/office/drawing/2014/main" id="{85CAFB18-F23F-486B-AB43-8F81DEFDD384}"/>
                </a:ext>
              </a:extLst>
            </p:cNvPr>
            <p:cNvSpPr>
              <a:spLocks noChangeArrowheads="1"/>
            </p:cNvSpPr>
            <p:nvPr/>
          </p:nvSpPr>
          <p:spPr bwMode="auto">
            <a:xfrm>
              <a:off x="4668838" y="158750"/>
              <a:ext cx="401638" cy="41275"/>
            </a:xfrm>
            <a:prstGeom prst="rect">
              <a:avLst/>
            </a:prstGeom>
            <a:grpFill/>
            <a:ln w="38100">
              <a:solidFill>
                <a:srgbClr val="00B05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48">
              <a:extLst>
                <a:ext uri="{FF2B5EF4-FFF2-40B4-BE49-F238E27FC236}">
                  <a16:creationId xmlns:a16="http://schemas.microsoft.com/office/drawing/2014/main" id="{E5F3093C-4FE6-47A0-8850-D1E48B40B1A9}"/>
                </a:ext>
              </a:extLst>
            </p:cNvPr>
            <p:cNvSpPr>
              <a:spLocks noChangeArrowheads="1"/>
            </p:cNvSpPr>
            <p:nvPr/>
          </p:nvSpPr>
          <p:spPr bwMode="auto">
            <a:xfrm>
              <a:off x="4668838" y="266700"/>
              <a:ext cx="238125" cy="41275"/>
            </a:xfrm>
            <a:prstGeom prst="rect">
              <a:avLst/>
            </a:prstGeom>
            <a:grpFill/>
            <a:ln w="38100">
              <a:solidFill>
                <a:srgbClr val="00B05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50674251"/>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099047" y="3272203"/>
            <a:ext cx="2448000" cy="2360484"/>
          </a:xfrm>
          <a:prstGeom prst="rect">
            <a:avLst/>
          </a:prstGeom>
          <a:solidFill>
            <a:schemeClr val="accent1"/>
          </a:solidFill>
          <a:ln w="3175">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864000" rIns="91440" bIns="45720" numCol="1" spcCol="0" rtlCol="0" fromWordArt="0" anchor="ctr" anchorCtr="0" forceAA="0" compatLnSpc="1">
            <a:prstTxWarp prst="textNoShape">
              <a:avLst/>
            </a:prstTxWarp>
            <a:noAutofit/>
          </a:bodyPr>
          <a:lstStyle/>
          <a:p>
            <a:pPr algn="ctr"/>
            <a:r>
              <a:rPr lang="en-US" sz="2000" b="1"/>
              <a:t>Cài đặt và cập nhật các hệ QTCSDL</a:t>
            </a:r>
            <a:endParaRPr lang="en-US" sz="2000" b="1" dirty="0"/>
          </a:p>
        </p:txBody>
      </p:sp>
      <p:sp>
        <p:nvSpPr>
          <p:cNvPr id="5" name="Rectangle 4"/>
          <p:cNvSpPr/>
          <p:nvPr/>
        </p:nvSpPr>
        <p:spPr>
          <a:xfrm>
            <a:off x="3549212" y="3272203"/>
            <a:ext cx="2448000" cy="2360484"/>
          </a:xfrm>
          <a:prstGeom prst="rect">
            <a:avLst/>
          </a:prstGeom>
          <a:solidFill>
            <a:schemeClr val="accent2"/>
          </a:solidFill>
          <a:ln w="3175">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864000" rIns="91440" bIns="45720" numCol="1" spcCol="0" rtlCol="0" fromWordArt="0" anchor="ctr" anchorCtr="0" forceAA="0" compatLnSpc="1">
            <a:prstTxWarp prst="textNoShape">
              <a:avLst/>
            </a:prstTxWarp>
            <a:noAutofit/>
          </a:bodyPr>
          <a:lstStyle/>
          <a:p>
            <a:pPr algn="ctr"/>
            <a:r>
              <a:rPr lang="en-US" sz="2000" b="1"/>
              <a:t>Tạo lập và điều chỉnh CSDL</a:t>
            </a:r>
          </a:p>
        </p:txBody>
      </p:sp>
      <p:sp>
        <p:nvSpPr>
          <p:cNvPr id="6" name="Rectangle 5"/>
          <p:cNvSpPr/>
          <p:nvPr/>
        </p:nvSpPr>
        <p:spPr>
          <a:xfrm>
            <a:off x="5997212" y="3272203"/>
            <a:ext cx="2448000" cy="2360484"/>
          </a:xfrm>
          <a:prstGeom prst="rect">
            <a:avLst/>
          </a:prstGeom>
          <a:solidFill>
            <a:schemeClr val="accent3"/>
          </a:solidFill>
          <a:ln w="3175">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864000" rIns="91440" bIns="45720" numCol="1" spcCol="0" rtlCol="0" fromWordArt="0" anchor="ctr" anchorCtr="0" forceAA="0" compatLnSpc="1">
            <a:prstTxWarp prst="textNoShape">
              <a:avLst/>
            </a:prstTxWarp>
            <a:noAutofit/>
          </a:bodyPr>
          <a:lstStyle/>
          <a:p>
            <a:pPr algn="ctr"/>
            <a:r>
              <a:rPr lang="en-US" sz="2000" b="1"/>
              <a:t>Đảm bảo tài nguyên cho các hoạt động CSDL</a:t>
            </a:r>
            <a:endParaRPr lang="en-US" sz="2000" b="1" dirty="0"/>
          </a:p>
        </p:txBody>
      </p:sp>
      <p:sp>
        <p:nvSpPr>
          <p:cNvPr id="8" name="Rectangle 7"/>
          <p:cNvSpPr/>
          <p:nvPr/>
        </p:nvSpPr>
        <p:spPr>
          <a:xfrm>
            <a:off x="8421253" y="3272203"/>
            <a:ext cx="2448000" cy="2360484"/>
          </a:xfrm>
          <a:prstGeom prst="rect">
            <a:avLst/>
          </a:prstGeom>
          <a:solidFill>
            <a:schemeClr val="accent5"/>
          </a:solidFill>
          <a:ln w="3175">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864000" rIns="91440" bIns="45720" numCol="1" spcCol="0" rtlCol="0" fromWordArt="0" anchor="ctr" anchorCtr="0" forceAA="0" compatLnSpc="1">
            <a:prstTxWarp prst="textNoShape">
              <a:avLst/>
            </a:prstTxWarp>
            <a:noAutofit/>
          </a:bodyPr>
          <a:lstStyle/>
          <a:p>
            <a:pPr algn="ctr"/>
            <a:r>
              <a:rPr lang="en-US" sz="2000" b="1"/>
              <a:t>Đảm bảo an toàn, bảo mật</a:t>
            </a:r>
            <a:endParaRPr lang="en-US" sz="2000" b="1" dirty="0"/>
          </a:p>
        </p:txBody>
      </p:sp>
      <p:sp>
        <p:nvSpPr>
          <p:cNvPr id="53" name="TextBox 52">
            <a:extLst>
              <a:ext uri="{FF2B5EF4-FFF2-40B4-BE49-F238E27FC236}">
                <a16:creationId xmlns:a16="http://schemas.microsoft.com/office/drawing/2014/main" id="{42C774B9-682A-0991-6CCD-710D483828D0}"/>
              </a:ext>
            </a:extLst>
          </p:cNvPr>
          <p:cNvSpPr txBox="1"/>
          <p:nvPr/>
        </p:nvSpPr>
        <p:spPr>
          <a:xfrm>
            <a:off x="1099046" y="496221"/>
            <a:ext cx="9770207" cy="95410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solidFill>
                  <a:schemeClr val="tx1">
                    <a:lumMod val="50000"/>
                    <a:lumOff val="50000"/>
                  </a:schemeClr>
                </a:solidFill>
                <a:effectLst/>
                <a:uLnTx/>
                <a:uFillTx/>
                <a:latin typeface="Tahoma" panose="020B0604030504040204" pitchFamily="34" charset="0"/>
                <a:ea typeface="Tahoma" panose="020B0604030504040204" pitchFamily="34" charset="0"/>
                <a:cs typeface="Tahoma" panose="020B0604030504040204" pitchFamily="34" charset="0"/>
              </a:rPr>
              <a:t>- Quản trị CSDL là hoạt động nhằm đảm bảo cho việc s</a:t>
            </a:r>
            <a:r>
              <a:rPr lang="en-US" sz="2800" kern="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rPr>
              <a:t>ử dụng CSDL thông suốt và hiệu quả.</a:t>
            </a:r>
          </a:p>
        </p:txBody>
      </p:sp>
      <p:grpSp>
        <p:nvGrpSpPr>
          <p:cNvPr id="55" name="Browser7" descr="{&quot;Key&quot;:&quot;POWER_USER_SHAPE_ICON&quot;,&quot;Value&quot;:&quot;POWER_USER_SHAPE_ICON_STYLE_1&quot;}">
            <a:extLst>
              <a:ext uri="{FF2B5EF4-FFF2-40B4-BE49-F238E27FC236}">
                <a16:creationId xmlns:a16="http://schemas.microsoft.com/office/drawing/2014/main" id="{0545283C-E38A-6D84-45F9-3D6E35B4A50A}"/>
              </a:ext>
            </a:extLst>
          </p:cNvPr>
          <p:cNvGrpSpPr>
            <a:grpSpLocks noChangeAspect="1"/>
          </p:cNvGrpSpPr>
          <p:nvPr/>
        </p:nvGrpSpPr>
        <p:grpSpPr>
          <a:xfrm>
            <a:off x="4453235" y="3533008"/>
            <a:ext cx="753325" cy="609600"/>
            <a:chOff x="8539163" y="1665288"/>
            <a:chExt cx="241301" cy="195263"/>
          </a:xfrm>
          <a:solidFill>
            <a:schemeClr val="bg1"/>
          </a:solidFill>
        </p:grpSpPr>
        <p:sp>
          <p:nvSpPr>
            <p:cNvPr id="56" name="Freeform 2862">
              <a:extLst>
                <a:ext uri="{FF2B5EF4-FFF2-40B4-BE49-F238E27FC236}">
                  <a16:creationId xmlns:a16="http://schemas.microsoft.com/office/drawing/2014/main" id="{A6689DC9-3881-9904-5661-ABE89CD1361D}"/>
                </a:ext>
              </a:extLst>
            </p:cNvPr>
            <p:cNvSpPr>
              <a:spLocks noEditPoints="1"/>
            </p:cNvSpPr>
            <p:nvPr/>
          </p:nvSpPr>
          <p:spPr bwMode="auto">
            <a:xfrm>
              <a:off x="8651876" y="1727200"/>
              <a:ext cx="93663" cy="95250"/>
            </a:xfrm>
            <a:custGeom>
              <a:avLst/>
              <a:gdLst>
                <a:gd name="T0" fmla="*/ 1301 w 2599"/>
                <a:gd name="T1" fmla="*/ 199 h 2599"/>
                <a:gd name="T2" fmla="*/ 200 w 2599"/>
                <a:gd name="T3" fmla="*/ 1300 h 2599"/>
                <a:gd name="T4" fmla="*/ 1301 w 2599"/>
                <a:gd name="T5" fmla="*/ 2400 h 2599"/>
                <a:gd name="T6" fmla="*/ 2400 w 2599"/>
                <a:gd name="T7" fmla="*/ 1300 h 2599"/>
                <a:gd name="T8" fmla="*/ 1301 w 2599"/>
                <a:gd name="T9" fmla="*/ 199 h 2599"/>
                <a:gd name="T10" fmla="*/ 1301 w 2599"/>
                <a:gd name="T11" fmla="*/ 2599 h 2599"/>
                <a:gd name="T12" fmla="*/ 0 w 2599"/>
                <a:gd name="T13" fmla="*/ 1300 h 2599"/>
                <a:gd name="T14" fmla="*/ 1301 w 2599"/>
                <a:gd name="T15" fmla="*/ 0 h 2599"/>
                <a:gd name="T16" fmla="*/ 2599 w 2599"/>
                <a:gd name="T17" fmla="*/ 1300 h 2599"/>
                <a:gd name="T18" fmla="*/ 1301 w 2599"/>
                <a:gd name="T19" fmla="*/ 2599 h 2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99" h="2599">
                  <a:moveTo>
                    <a:pt x="1301" y="199"/>
                  </a:moveTo>
                  <a:cubicBezTo>
                    <a:pt x="694" y="199"/>
                    <a:pt x="200" y="693"/>
                    <a:pt x="200" y="1300"/>
                  </a:cubicBezTo>
                  <a:cubicBezTo>
                    <a:pt x="200" y="1906"/>
                    <a:pt x="694" y="2400"/>
                    <a:pt x="1301" y="2400"/>
                  </a:cubicBezTo>
                  <a:cubicBezTo>
                    <a:pt x="1906" y="2400"/>
                    <a:pt x="2400" y="1906"/>
                    <a:pt x="2400" y="1300"/>
                  </a:cubicBezTo>
                  <a:cubicBezTo>
                    <a:pt x="2400" y="693"/>
                    <a:pt x="1906" y="199"/>
                    <a:pt x="1301" y="199"/>
                  </a:cubicBezTo>
                  <a:close/>
                  <a:moveTo>
                    <a:pt x="1301" y="2599"/>
                  </a:moveTo>
                  <a:cubicBezTo>
                    <a:pt x="583" y="2599"/>
                    <a:pt x="0" y="2016"/>
                    <a:pt x="0" y="1300"/>
                  </a:cubicBezTo>
                  <a:cubicBezTo>
                    <a:pt x="0" y="583"/>
                    <a:pt x="583" y="0"/>
                    <a:pt x="1301" y="0"/>
                  </a:cubicBezTo>
                  <a:cubicBezTo>
                    <a:pt x="2017" y="0"/>
                    <a:pt x="2599" y="583"/>
                    <a:pt x="2599" y="1300"/>
                  </a:cubicBezTo>
                  <a:cubicBezTo>
                    <a:pt x="2599" y="2016"/>
                    <a:pt x="2017" y="2599"/>
                    <a:pt x="1301" y="2599"/>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7" name="Freeform 2863">
              <a:extLst>
                <a:ext uri="{FF2B5EF4-FFF2-40B4-BE49-F238E27FC236}">
                  <a16:creationId xmlns:a16="http://schemas.microsoft.com/office/drawing/2014/main" id="{8B17774F-AC60-F373-9BAD-6C01046DB9D1}"/>
                </a:ext>
              </a:extLst>
            </p:cNvPr>
            <p:cNvSpPr>
              <a:spLocks/>
            </p:cNvSpPr>
            <p:nvPr/>
          </p:nvSpPr>
          <p:spPr bwMode="auto">
            <a:xfrm>
              <a:off x="8724901" y="1803400"/>
              <a:ext cx="55563" cy="46038"/>
            </a:xfrm>
            <a:custGeom>
              <a:avLst/>
              <a:gdLst>
                <a:gd name="T0" fmla="*/ 1452 w 1564"/>
                <a:gd name="T1" fmla="*/ 1268 h 1268"/>
                <a:gd name="T2" fmla="*/ 1390 w 1564"/>
                <a:gd name="T3" fmla="*/ 1247 h 1268"/>
                <a:gd name="T4" fmla="*/ 51 w 1564"/>
                <a:gd name="T5" fmla="*/ 191 h 1268"/>
                <a:gd name="T6" fmla="*/ 34 w 1564"/>
                <a:gd name="T7" fmla="*/ 51 h 1268"/>
                <a:gd name="T8" fmla="*/ 176 w 1564"/>
                <a:gd name="T9" fmla="*/ 34 h 1268"/>
                <a:gd name="T10" fmla="*/ 1514 w 1564"/>
                <a:gd name="T11" fmla="*/ 1090 h 1268"/>
                <a:gd name="T12" fmla="*/ 1531 w 1564"/>
                <a:gd name="T13" fmla="*/ 1231 h 1268"/>
                <a:gd name="T14" fmla="*/ 1452 w 1564"/>
                <a:gd name="T15" fmla="*/ 1268 h 12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4" h="1268">
                  <a:moveTo>
                    <a:pt x="1452" y="1268"/>
                  </a:moveTo>
                  <a:cubicBezTo>
                    <a:pt x="1430" y="1268"/>
                    <a:pt x="1409" y="1262"/>
                    <a:pt x="1390" y="1247"/>
                  </a:cubicBezTo>
                  <a:lnTo>
                    <a:pt x="51" y="191"/>
                  </a:lnTo>
                  <a:cubicBezTo>
                    <a:pt x="7" y="157"/>
                    <a:pt x="0" y="94"/>
                    <a:pt x="34" y="51"/>
                  </a:cubicBezTo>
                  <a:cubicBezTo>
                    <a:pt x="69" y="7"/>
                    <a:pt x="132" y="0"/>
                    <a:pt x="176" y="34"/>
                  </a:cubicBezTo>
                  <a:lnTo>
                    <a:pt x="1514" y="1090"/>
                  </a:lnTo>
                  <a:cubicBezTo>
                    <a:pt x="1557" y="1124"/>
                    <a:pt x="1564" y="1187"/>
                    <a:pt x="1531" y="1231"/>
                  </a:cubicBezTo>
                  <a:cubicBezTo>
                    <a:pt x="1510" y="1255"/>
                    <a:pt x="1482" y="1268"/>
                    <a:pt x="1452" y="126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8" name="Freeform 2864">
              <a:extLst>
                <a:ext uri="{FF2B5EF4-FFF2-40B4-BE49-F238E27FC236}">
                  <a16:creationId xmlns:a16="http://schemas.microsoft.com/office/drawing/2014/main" id="{1D7095F9-00ED-01DB-CC81-0BD551554573}"/>
                </a:ext>
              </a:extLst>
            </p:cNvPr>
            <p:cNvSpPr>
              <a:spLocks/>
            </p:cNvSpPr>
            <p:nvPr/>
          </p:nvSpPr>
          <p:spPr bwMode="auto">
            <a:xfrm>
              <a:off x="8539163" y="1665288"/>
              <a:ext cx="222250" cy="195263"/>
            </a:xfrm>
            <a:custGeom>
              <a:avLst/>
              <a:gdLst>
                <a:gd name="T0" fmla="*/ 5535 w 6116"/>
                <a:gd name="T1" fmla="*/ 5383 h 5383"/>
                <a:gd name="T2" fmla="*/ 598 w 6116"/>
                <a:gd name="T3" fmla="*/ 5383 h 5383"/>
                <a:gd name="T4" fmla="*/ 0 w 6116"/>
                <a:gd name="T5" fmla="*/ 4803 h 5383"/>
                <a:gd name="T6" fmla="*/ 0 w 6116"/>
                <a:gd name="T7" fmla="*/ 565 h 5383"/>
                <a:gd name="T8" fmla="*/ 598 w 6116"/>
                <a:gd name="T9" fmla="*/ 0 h 5383"/>
                <a:gd name="T10" fmla="*/ 5535 w 6116"/>
                <a:gd name="T11" fmla="*/ 0 h 5383"/>
                <a:gd name="T12" fmla="*/ 6116 w 6116"/>
                <a:gd name="T13" fmla="*/ 565 h 5383"/>
                <a:gd name="T14" fmla="*/ 6116 w 6116"/>
                <a:gd name="T15" fmla="*/ 4199 h 5383"/>
                <a:gd name="T16" fmla="*/ 6016 w 6116"/>
                <a:gd name="T17" fmla="*/ 4299 h 5383"/>
                <a:gd name="T18" fmla="*/ 5916 w 6116"/>
                <a:gd name="T19" fmla="*/ 4199 h 5383"/>
                <a:gd name="T20" fmla="*/ 5916 w 6116"/>
                <a:gd name="T21" fmla="*/ 565 h 5383"/>
                <a:gd name="T22" fmla="*/ 5535 w 6116"/>
                <a:gd name="T23" fmla="*/ 200 h 5383"/>
                <a:gd name="T24" fmla="*/ 598 w 6116"/>
                <a:gd name="T25" fmla="*/ 200 h 5383"/>
                <a:gd name="T26" fmla="*/ 200 w 6116"/>
                <a:gd name="T27" fmla="*/ 565 h 5383"/>
                <a:gd name="T28" fmla="*/ 200 w 6116"/>
                <a:gd name="T29" fmla="*/ 4803 h 5383"/>
                <a:gd name="T30" fmla="*/ 598 w 6116"/>
                <a:gd name="T31" fmla="*/ 5183 h 5383"/>
                <a:gd name="T32" fmla="*/ 5535 w 6116"/>
                <a:gd name="T33" fmla="*/ 5183 h 5383"/>
                <a:gd name="T34" fmla="*/ 5903 w 6116"/>
                <a:gd name="T35" fmla="*/ 4920 h 5383"/>
                <a:gd name="T36" fmla="*/ 6030 w 6116"/>
                <a:gd name="T37" fmla="*/ 4855 h 5383"/>
                <a:gd name="T38" fmla="*/ 6095 w 6116"/>
                <a:gd name="T39" fmla="*/ 4981 h 5383"/>
                <a:gd name="T40" fmla="*/ 5535 w 6116"/>
                <a:gd name="T41" fmla="*/ 5383 h 5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16" h="5383">
                  <a:moveTo>
                    <a:pt x="5535" y="5383"/>
                  </a:moveTo>
                  <a:lnTo>
                    <a:pt x="598" y="5383"/>
                  </a:lnTo>
                  <a:cubicBezTo>
                    <a:pt x="274" y="5383"/>
                    <a:pt x="0" y="5117"/>
                    <a:pt x="0" y="4803"/>
                  </a:cubicBezTo>
                  <a:lnTo>
                    <a:pt x="0" y="565"/>
                  </a:lnTo>
                  <a:cubicBezTo>
                    <a:pt x="0" y="253"/>
                    <a:pt x="268" y="0"/>
                    <a:pt x="598" y="0"/>
                  </a:cubicBezTo>
                  <a:lnTo>
                    <a:pt x="5535" y="0"/>
                  </a:lnTo>
                  <a:cubicBezTo>
                    <a:pt x="5862" y="0"/>
                    <a:pt x="6116" y="248"/>
                    <a:pt x="6116" y="565"/>
                  </a:cubicBezTo>
                  <a:lnTo>
                    <a:pt x="6116" y="4199"/>
                  </a:lnTo>
                  <a:cubicBezTo>
                    <a:pt x="6116" y="4255"/>
                    <a:pt x="6071" y="4299"/>
                    <a:pt x="6016" y="4299"/>
                  </a:cubicBezTo>
                  <a:cubicBezTo>
                    <a:pt x="5962" y="4299"/>
                    <a:pt x="5916" y="4255"/>
                    <a:pt x="5916" y="4199"/>
                  </a:cubicBezTo>
                  <a:lnTo>
                    <a:pt x="5916" y="565"/>
                  </a:lnTo>
                  <a:cubicBezTo>
                    <a:pt x="5916" y="359"/>
                    <a:pt x="5748" y="200"/>
                    <a:pt x="5535" y="200"/>
                  </a:cubicBezTo>
                  <a:lnTo>
                    <a:pt x="598" y="200"/>
                  </a:lnTo>
                  <a:cubicBezTo>
                    <a:pt x="379" y="200"/>
                    <a:pt x="200" y="364"/>
                    <a:pt x="200" y="565"/>
                  </a:cubicBezTo>
                  <a:lnTo>
                    <a:pt x="200" y="4803"/>
                  </a:lnTo>
                  <a:cubicBezTo>
                    <a:pt x="200" y="5009"/>
                    <a:pt x="383" y="5183"/>
                    <a:pt x="598" y="5183"/>
                  </a:cubicBezTo>
                  <a:lnTo>
                    <a:pt x="5535" y="5183"/>
                  </a:lnTo>
                  <a:cubicBezTo>
                    <a:pt x="5705" y="5183"/>
                    <a:pt x="5854" y="5078"/>
                    <a:pt x="5903" y="4920"/>
                  </a:cubicBezTo>
                  <a:cubicBezTo>
                    <a:pt x="5920" y="4867"/>
                    <a:pt x="5976" y="4839"/>
                    <a:pt x="6030" y="4855"/>
                  </a:cubicBezTo>
                  <a:cubicBezTo>
                    <a:pt x="6081" y="4873"/>
                    <a:pt x="6111" y="4928"/>
                    <a:pt x="6095" y="4981"/>
                  </a:cubicBezTo>
                  <a:cubicBezTo>
                    <a:pt x="6016" y="5222"/>
                    <a:pt x="5792" y="5383"/>
                    <a:pt x="5535" y="5383"/>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59" name="Freeform 2865">
              <a:extLst>
                <a:ext uri="{FF2B5EF4-FFF2-40B4-BE49-F238E27FC236}">
                  <a16:creationId xmlns:a16="http://schemas.microsoft.com/office/drawing/2014/main" id="{5015D520-6B31-FD5D-9B89-9E50AF46ED2F}"/>
                </a:ext>
              </a:extLst>
            </p:cNvPr>
            <p:cNvSpPr>
              <a:spLocks/>
            </p:cNvSpPr>
            <p:nvPr/>
          </p:nvSpPr>
          <p:spPr bwMode="auto">
            <a:xfrm>
              <a:off x="8559801" y="1714500"/>
              <a:ext cx="180975" cy="123825"/>
            </a:xfrm>
            <a:custGeom>
              <a:avLst/>
              <a:gdLst>
                <a:gd name="T0" fmla="*/ 4901 w 5000"/>
                <a:gd name="T1" fmla="*/ 3433 h 3433"/>
                <a:gd name="T2" fmla="*/ 100 w 5000"/>
                <a:gd name="T3" fmla="*/ 3433 h 3433"/>
                <a:gd name="T4" fmla="*/ 0 w 5000"/>
                <a:gd name="T5" fmla="*/ 3334 h 3433"/>
                <a:gd name="T6" fmla="*/ 0 w 5000"/>
                <a:gd name="T7" fmla="*/ 100 h 3433"/>
                <a:gd name="T8" fmla="*/ 100 w 5000"/>
                <a:gd name="T9" fmla="*/ 0 h 3433"/>
                <a:gd name="T10" fmla="*/ 4901 w 5000"/>
                <a:gd name="T11" fmla="*/ 0 h 3433"/>
                <a:gd name="T12" fmla="*/ 5000 w 5000"/>
                <a:gd name="T13" fmla="*/ 100 h 3433"/>
                <a:gd name="T14" fmla="*/ 5000 w 5000"/>
                <a:gd name="T15" fmla="*/ 950 h 3433"/>
                <a:gd name="T16" fmla="*/ 4901 w 5000"/>
                <a:gd name="T17" fmla="*/ 1050 h 3433"/>
                <a:gd name="T18" fmla="*/ 4800 w 5000"/>
                <a:gd name="T19" fmla="*/ 950 h 3433"/>
                <a:gd name="T20" fmla="*/ 4800 w 5000"/>
                <a:gd name="T21" fmla="*/ 200 h 3433"/>
                <a:gd name="T22" fmla="*/ 201 w 5000"/>
                <a:gd name="T23" fmla="*/ 200 h 3433"/>
                <a:gd name="T24" fmla="*/ 201 w 5000"/>
                <a:gd name="T25" fmla="*/ 3233 h 3433"/>
                <a:gd name="T26" fmla="*/ 4800 w 5000"/>
                <a:gd name="T27" fmla="*/ 3233 h 3433"/>
                <a:gd name="T28" fmla="*/ 4800 w 5000"/>
                <a:gd name="T29" fmla="*/ 2267 h 3433"/>
                <a:gd name="T30" fmla="*/ 4901 w 5000"/>
                <a:gd name="T31" fmla="*/ 2166 h 3433"/>
                <a:gd name="T32" fmla="*/ 5000 w 5000"/>
                <a:gd name="T33" fmla="*/ 2267 h 3433"/>
                <a:gd name="T34" fmla="*/ 5000 w 5000"/>
                <a:gd name="T35" fmla="*/ 3334 h 3433"/>
                <a:gd name="T36" fmla="*/ 4901 w 5000"/>
                <a:gd name="T37" fmla="*/ 3433 h 3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00" h="3433">
                  <a:moveTo>
                    <a:pt x="4901" y="3433"/>
                  </a:moveTo>
                  <a:lnTo>
                    <a:pt x="100" y="3433"/>
                  </a:lnTo>
                  <a:cubicBezTo>
                    <a:pt x="46" y="3433"/>
                    <a:pt x="0" y="3388"/>
                    <a:pt x="0" y="3334"/>
                  </a:cubicBezTo>
                  <a:lnTo>
                    <a:pt x="0" y="100"/>
                  </a:lnTo>
                  <a:cubicBezTo>
                    <a:pt x="0" y="45"/>
                    <a:pt x="46" y="0"/>
                    <a:pt x="100" y="0"/>
                  </a:cubicBezTo>
                  <a:lnTo>
                    <a:pt x="4901" y="0"/>
                  </a:lnTo>
                  <a:cubicBezTo>
                    <a:pt x="4955" y="0"/>
                    <a:pt x="5000" y="45"/>
                    <a:pt x="5000" y="100"/>
                  </a:cubicBezTo>
                  <a:lnTo>
                    <a:pt x="5000" y="950"/>
                  </a:lnTo>
                  <a:cubicBezTo>
                    <a:pt x="5000" y="1005"/>
                    <a:pt x="4955" y="1050"/>
                    <a:pt x="4901" y="1050"/>
                  </a:cubicBezTo>
                  <a:cubicBezTo>
                    <a:pt x="4845" y="1050"/>
                    <a:pt x="4800" y="1005"/>
                    <a:pt x="4800" y="950"/>
                  </a:cubicBezTo>
                  <a:lnTo>
                    <a:pt x="4800" y="200"/>
                  </a:lnTo>
                  <a:lnTo>
                    <a:pt x="201" y="200"/>
                  </a:lnTo>
                  <a:lnTo>
                    <a:pt x="201" y="3233"/>
                  </a:lnTo>
                  <a:lnTo>
                    <a:pt x="4800" y="3233"/>
                  </a:lnTo>
                  <a:lnTo>
                    <a:pt x="4800" y="2267"/>
                  </a:lnTo>
                  <a:cubicBezTo>
                    <a:pt x="4800" y="2212"/>
                    <a:pt x="4845" y="2166"/>
                    <a:pt x="4901" y="2166"/>
                  </a:cubicBezTo>
                  <a:cubicBezTo>
                    <a:pt x="4955" y="2166"/>
                    <a:pt x="5000" y="2212"/>
                    <a:pt x="5000" y="2267"/>
                  </a:cubicBezTo>
                  <a:lnTo>
                    <a:pt x="5000" y="3334"/>
                  </a:lnTo>
                  <a:cubicBezTo>
                    <a:pt x="5000" y="3388"/>
                    <a:pt x="4955" y="3433"/>
                    <a:pt x="4901" y="3433"/>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0" name="Freeform 2866">
              <a:extLst>
                <a:ext uri="{FF2B5EF4-FFF2-40B4-BE49-F238E27FC236}">
                  <a16:creationId xmlns:a16="http://schemas.microsoft.com/office/drawing/2014/main" id="{E2B65E3D-F7E7-08FE-BE7C-066423E4B24B}"/>
                </a:ext>
              </a:extLst>
            </p:cNvPr>
            <p:cNvSpPr>
              <a:spLocks/>
            </p:cNvSpPr>
            <p:nvPr/>
          </p:nvSpPr>
          <p:spPr bwMode="auto">
            <a:xfrm>
              <a:off x="8723313" y="1774825"/>
              <a:ext cx="7938" cy="7938"/>
            </a:xfrm>
            <a:custGeom>
              <a:avLst/>
              <a:gdLst>
                <a:gd name="T0" fmla="*/ 107 w 213"/>
                <a:gd name="T1" fmla="*/ 218 h 218"/>
                <a:gd name="T2" fmla="*/ 93 w 213"/>
                <a:gd name="T3" fmla="*/ 217 h 218"/>
                <a:gd name="T4" fmla="*/ 7 w 213"/>
                <a:gd name="T5" fmla="*/ 105 h 218"/>
                <a:gd name="T6" fmla="*/ 8 w 213"/>
                <a:gd name="T7" fmla="*/ 94 h 218"/>
                <a:gd name="T8" fmla="*/ 120 w 213"/>
                <a:gd name="T9" fmla="*/ 6 h 218"/>
                <a:gd name="T10" fmla="*/ 206 w 213"/>
                <a:gd name="T11" fmla="*/ 118 h 218"/>
                <a:gd name="T12" fmla="*/ 205 w 213"/>
                <a:gd name="T13" fmla="*/ 131 h 218"/>
                <a:gd name="T14" fmla="*/ 107 w 213"/>
                <a:gd name="T15" fmla="*/ 218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3" h="218">
                  <a:moveTo>
                    <a:pt x="107" y="218"/>
                  </a:moveTo>
                  <a:cubicBezTo>
                    <a:pt x="101" y="218"/>
                    <a:pt x="96" y="218"/>
                    <a:pt x="93" y="217"/>
                  </a:cubicBezTo>
                  <a:cubicBezTo>
                    <a:pt x="38" y="210"/>
                    <a:pt x="0" y="159"/>
                    <a:pt x="7" y="105"/>
                  </a:cubicBezTo>
                  <a:lnTo>
                    <a:pt x="8" y="94"/>
                  </a:lnTo>
                  <a:cubicBezTo>
                    <a:pt x="15" y="39"/>
                    <a:pt x="64" y="0"/>
                    <a:pt x="120" y="6"/>
                  </a:cubicBezTo>
                  <a:cubicBezTo>
                    <a:pt x="175" y="14"/>
                    <a:pt x="213" y="63"/>
                    <a:pt x="206" y="118"/>
                  </a:cubicBezTo>
                  <a:lnTo>
                    <a:pt x="205" y="131"/>
                  </a:lnTo>
                  <a:cubicBezTo>
                    <a:pt x="198" y="181"/>
                    <a:pt x="155" y="218"/>
                    <a:pt x="107" y="21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1" name="Freeform 2867">
              <a:extLst>
                <a:ext uri="{FF2B5EF4-FFF2-40B4-BE49-F238E27FC236}">
                  <a16:creationId xmlns:a16="http://schemas.microsoft.com/office/drawing/2014/main" id="{30362E48-8488-F762-0DD9-336E9EF97746}"/>
                </a:ext>
              </a:extLst>
            </p:cNvPr>
            <p:cNvSpPr>
              <a:spLocks/>
            </p:cNvSpPr>
            <p:nvPr/>
          </p:nvSpPr>
          <p:spPr bwMode="auto">
            <a:xfrm>
              <a:off x="8686801" y="1743075"/>
              <a:ext cx="42863" cy="28575"/>
            </a:xfrm>
            <a:custGeom>
              <a:avLst/>
              <a:gdLst>
                <a:gd name="T0" fmla="*/ 1105 w 1214"/>
                <a:gd name="T1" fmla="*/ 783 h 783"/>
                <a:gd name="T2" fmla="*/ 1008 w 1214"/>
                <a:gd name="T3" fmla="*/ 707 h 783"/>
                <a:gd name="T4" fmla="*/ 352 w 1214"/>
                <a:gd name="T5" fmla="*/ 200 h 783"/>
                <a:gd name="T6" fmla="*/ 142 w 1214"/>
                <a:gd name="T7" fmla="*/ 233 h 783"/>
                <a:gd name="T8" fmla="*/ 16 w 1214"/>
                <a:gd name="T9" fmla="*/ 168 h 783"/>
                <a:gd name="T10" fmla="*/ 81 w 1214"/>
                <a:gd name="T11" fmla="*/ 42 h 783"/>
                <a:gd name="T12" fmla="*/ 352 w 1214"/>
                <a:gd name="T13" fmla="*/ 0 h 783"/>
                <a:gd name="T14" fmla="*/ 1201 w 1214"/>
                <a:gd name="T15" fmla="*/ 658 h 783"/>
                <a:gd name="T16" fmla="*/ 1129 w 1214"/>
                <a:gd name="T17" fmla="*/ 780 h 783"/>
                <a:gd name="T18" fmla="*/ 1105 w 1214"/>
                <a:gd name="T19" fmla="*/ 783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4" h="783">
                  <a:moveTo>
                    <a:pt x="1105" y="783"/>
                  </a:moveTo>
                  <a:cubicBezTo>
                    <a:pt x="1059" y="783"/>
                    <a:pt x="1019" y="753"/>
                    <a:pt x="1008" y="707"/>
                  </a:cubicBezTo>
                  <a:cubicBezTo>
                    <a:pt x="931" y="409"/>
                    <a:pt x="660" y="200"/>
                    <a:pt x="352" y="200"/>
                  </a:cubicBezTo>
                  <a:cubicBezTo>
                    <a:pt x="280" y="200"/>
                    <a:pt x="210" y="211"/>
                    <a:pt x="142" y="233"/>
                  </a:cubicBezTo>
                  <a:cubicBezTo>
                    <a:pt x="90" y="249"/>
                    <a:pt x="34" y="220"/>
                    <a:pt x="16" y="168"/>
                  </a:cubicBezTo>
                  <a:cubicBezTo>
                    <a:pt x="0" y="116"/>
                    <a:pt x="29" y="59"/>
                    <a:pt x="81" y="42"/>
                  </a:cubicBezTo>
                  <a:cubicBezTo>
                    <a:pt x="168" y="14"/>
                    <a:pt x="259" y="0"/>
                    <a:pt x="352" y="0"/>
                  </a:cubicBezTo>
                  <a:cubicBezTo>
                    <a:pt x="753" y="0"/>
                    <a:pt x="1101" y="271"/>
                    <a:pt x="1201" y="658"/>
                  </a:cubicBezTo>
                  <a:cubicBezTo>
                    <a:pt x="1214" y="712"/>
                    <a:pt x="1182" y="766"/>
                    <a:pt x="1129" y="780"/>
                  </a:cubicBezTo>
                  <a:cubicBezTo>
                    <a:pt x="1121" y="782"/>
                    <a:pt x="1113" y="783"/>
                    <a:pt x="1105" y="783"/>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2" name="Freeform 2868">
              <a:extLst>
                <a:ext uri="{FF2B5EF4-FFF2-40B4-BE49-F238E27FC236}">
                  <a16:creationId xmlns:a16="http://schemas.microsoft.com/office/drawing/2014/main" id="{0CED1732-1385-9E69-F113-191D90403418}"/>
                </a:ext>
              </a:extLst>
            </p:cNvPr>
            <p:cNvSpPr>
              <a:spLocks/>
            </p:cNvSpPr>
            <p:nvPr/>
          </p:nvSpPr>
          <p:spPr bwMode="auto">
            <a:xfrm>
              <a:off x="8578851" y="1747838"/>
              <a:ext cx="57150" cy="7938"/>
            </a:xfrm>
            <a:custGeom>
              <a:avLst/>
              <a:gdLst>
                <a:gd name="T0" fmla="*/ 1483 w 1583"/>
                <a:gd name="T1" fmla="*/ 200 h 200"/>
                <a:gd name="T2" fmla="*/ 100 w 1583"/>
                <a:gd name="T3" fmla="*/ 200 h 200"/>
                <a:gd name="T4" fmla="*/ 0 w 1583"/>
                <a:gd name="T5" fmla="*/ 100 h 200"/>
                <a:gd name="T6" fmla="*/ 100 w 1583"/>
                <a:gd name="T7" fmla="*/ 0 h 200"/>
                <a:gd name="T8" fmla="*/ 1483 w 1583"/>
                <a:gd name="T9" fmla="*/ 0 h 200"/>
                <a:gd name="T10" fmla="*/ 1583 w 1583"/>
                <a:gd name="T11" fmla="*/ 100 h 200"/>
                <a:gd name="T12" fmla="*/ 1483 w 1583"/>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1583" h="200">
                  <a:moveTo>
                    <a:pt x="1483" y="200"/>
                  </a:moveTo>
                  <a:lnTo>
                    <a:pt x="100" y="200"/>
                  </a:lnTo>
                  <a:cubicBezTo>
                    <a:pt x="44" y="200"/>
                    <a:pt x="0" y="156"/>
                    <a:pt x="0" y="100"/>
                  </a:cubicBezTo>
                  <a:cubicBezTo>
                    <a:pt x="0" y="45"/>
                    <a:pt x="44" y="0"/>
                    <a:pt x="100" y="0"/>
                  </a:cubicBezTo>
                  <a:lnTo>
                    <a:pt x="1483" y="0"/>
                  </a:lnTo>
                  <a:cubicBezTo>
                    <a:pt x="1539" y="0"/>
                    <a:pt x="1583" y="45"/>
                    <a:pt x="1583" y="100"/>
                  </a:cubicBezTo>
                  <a:cubicBezTo>
                    <a:pt x="1583" y="156"/>
                    <a:pt x="1539" y="200"/>
                    <a:pt x="1483" y="20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3" name="Freeform 2869">
              <a:extLst>
                <a:ext uri="{FF2B5EF4-FFF2-40B4-BE49-F238E27FC236}">
                  <a16:creationId xmlns:a16="http://schemas.microsoft.com/office/drawing/2014/main" id="{2B785CE3-A641-A36E-7697-C9F434BB5B7A}"/>
                </a:ext>
              </a:extLst>
            </p:cNvPr>
            <p:cNvSpPr>
              <a:spLocks/>
            </p:cNvSpPr>
            <p:nvPr/>
          </p:nvSpPr>
          <p:spPr bwMode="auto">
            <a:xfrm>
              <a:off x="8580438" y="1776413"/>
              <a:ext cx="57150" cy="6350"/>
            </a:xfrm>
            <a:custGeom>
              <a:avLst/>
              <a:gdLst>
                <a:gd name="T0" fmla="*/ 1483 w 1583"/>
                <a:gd name="T1" fmla="*/ 200 h 200"/>
                <a:gd name="T2" fmla="*/ 100 w 1583"/>
                <a:gd name="T3" fmla="*/ 200 h 200"/>
                <a:gd name="T4" fmla="*/ 0 w 1583"/>
                <a:gd name="T5" fmla="*/ 100 h 200"/>
                <a:gd name="T6" fmla="*/ 100 w 1583"/>
                <a:gd name="T7" fmla="*/ 0 h 200"/>
                <a:gd name="T8" fmla="*/ 1483 w 1583"/>
                <a:gd name="T9" fmla="*/ 0 h 200"/>
                <a:gd name="T10" fmla="*/ 1583 w 1583"/>
                <a:gd name="T11" fmla="*/ 100 h 200"/>
                <a:gd name="T12" fmla="*/ 1483 w 1583"/>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1583" h="200">
                  <a:moveTo>
                    <a:pt x="1483" y="200"/>
                  </a:moveTo>
                  <a:lnTo>
                    <a:pt x="100" y="200"/>
                  </a:lnTo>
                  <a:cubicBezTo>
                    <a:pt x="45" y="200"/>
                    <a:pt x="0" y="155"/>
                    <a:pt x="0" y="100"/>
                  </a:cubicBezTo>
                  <a:cubicBezTo>
                    <a:pt x="0" y="45"/>
                    <a:pt x="45" y="0"/>
                    <a:pt x="100" y="0"/>
                  </a:cubicBezTo>
                  <a:lnTo>
                    <a:pt x="1483" y="0"/>
                  </a:lnTo>
                  <a:cubicBezTo>
                    <a:pt x="1539" y="0"/>
                    <a:pt x="1583" y="45"/>
                    <a:pt x="1583" y="100"/>
                  </a:cubicBezTo>
                  <a:cubicBezTo>
                    <a:pt x="1583" y="155"/>
                    <a:pt x="1539" y="200"/>
                    <a:pt x="1483" y="20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4" name="Freeform 2870">
              <a:extLst>
                <a:ext uri="{FF2B5EF4-FFF2-40B4-BE49-F238E27FC236}">
                  <a16:creationId xmlns:a16="http://schemas.microsoft.com/office/drawing/2014/main" id="{83595810-0E9B-402C-A3F3-68D56832C505}"/>
                </a:ext>
              </a:extLst>
            </p:cNvPr>
            <p:cNvSpPr>
              <a:spLocks/>
            </p:cNvSpPr>
            <p:nvPr/>
          </p:nvSpPr>
          <p:spPr bwMode="auto">
            <a:xfrm>
              <a:off x="8580438" y="1804988"/>
              <a:ext cx="57150" cy="7938"/>
            </a:xfrm>
            <a:custGeom>
              <a:avLst/>
              <a:gdLst>
                <a:gd name="T0" fmla="*/ 1484 w 1584"/>
                <a:gd name="T1" fmla="*/ 200 h 200"/>
                <a:gd name="T2" fmla="*/ 100 w 1584"/>
                <a:gd name="T3" fmla="*/ 200 h 200"/>
                <a:gd name="T4" fmla="*/ 0 w 1584"/>
                <a:gd name="T5" fmla="*/ 100 h 200"/>
                <a:gd name="T6" fmla="*/ 100 w 1584"/>
                <a:gd name="T7" fmla="*/ 0 h 200"/>
                <a:gd name="T8" fmla="*/ 1484 w 1584"/>
                <a:gd name="T9" fmla="*/ 0 h 200"/>
                <a:gd name="T10" fmla="*/ 1584 w 1584"/>
                <a:gd name="T11" fmla="*/ 100 h 200"/>
                <a:gd name="T12" fmla="*/ 1484 w 1584"/>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1584" h="200">
                  <a:moveTo>
                    <a:pt x="1484" y="200"/>
                  </a:moveTo>
                  <a:lnTo>
                    <a:pt x="100" y="200"/>
                  </a:lnTo>
                  <a:cubicBezTo>
                    <a:pt x="45" y="200"/>
                    <a:pt x="0" y="154"/>
                    <a:pt x="0" y="100"/>
                  </a:cubicBezTo>
                  <a:cubicBezTo>
                    <a:pt x="0" y="44"/>
                    <a:pt x="45" y="0"/>
                    <a:pt x="100" y="0"/>
                  </a:cubicBezTo>
                  <a:lnTo>
                    <a:pt x="1484" y="0"/>
                  </a:lnTo>
                  <a:cubicBezTo>
                    <a:pt x="1539" y="0"/>
                    <a:pt x="1584" y="44"/>
                    <a:pt x="1584" y="100"/>
                  </a:cubicBezTo>
                  <a:cubicBezTo>
                    <a:pt x="1584" y="154"/>
                    <a:pt x="1539" y="200"/>
                    <a:pt x="1484" y="20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5" name="Freeform 2871">
              <a:extLst>
                <a:ext uri="{FF2B5EF4-FFF2-40B4-BE49-F238E27FC236}">
                  <a16:creationId xmlns:a16="http://schemas.microsoft.com/office/drawing/2014/main" id="{30D48C11-3702-66C9-9599-F304F074ED49}"/>
                </a:ext>
              </a:extLst>
            </p:cNvPr>
            <p:cNvSpPr>
              <a:spLocks noEditPoints="1"/>
            </p:cNvSpPr>
            <p:nvPr/>
          </p:nvSpPr>
          <p:spPr bwMode="auto">
            <a:xfrm>
              <a:off x="8653463" y="1679575"/>
              <a:ext cx="26988" cy="26988"/>
            </a:xfrm>
            <a:custGeom>
              <a:avLst/>
              <a:gdLst>
                <a:gd name="T0" fmla="*/ 372 w 745"/>
                <a:gd name="T1" fmla="*/ 200 h 744"/>
                <a:gd name="T2" fmla="*/ 200 w 745"/>
                <a:gd name="T3" fmla="*/ 372 h 744"/>
                <a:gd name="T4" fmla="*/ 372 w 745"/>
                <a:gd name="T5" fmla="*/ 545 h 744"/>
                <a:gd name="T6" fmla="*/ 544 w 745"/>
                <a:gd name="T7" fmla="*/ 372 h 744"/>
                <a:gd name="T8" fmla="*/ 372 w 745"/>
                <a:gd name="T9" fmla="*/ 200 h 744"/>
                <a:gd name="T10" fmla="*/ 372 w 745"/>
                <a:gd name="T11" fmla="*/ 744 h 744"/>
                <a:gd name="T12" fmla="*/ 0 w 745"/>
                <a:gd name="T13" fmla="*/ 372 h 744"/>
                <a:gd name="T14" fmla="*/ 372 w 745"/>
                <a:gd name="T15" fmla="*/ 0 h 744"/>
                <a:gd name="T16" fmla="*/ 745 w 745"/>
                <a:gd name="T17" fmla="*/ 372 h 744"/>
                <a:gd name="T18" fmla="*/ 372 w 745"/>
                <a:gd name="T19" fmla="*/ 744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5" h="744">
                  <a:moveTo>
                    <a:pt x="372" y="200"/>
                  </a:moveTo>
                  <a:cubicBezTo>
                    <a:pt x="278" y="200"/>
                    <a:pt x="200" y="277"/>
                    <a:pt x="200" y="372"/>
                  </a:cubicBezTo>
                  <a:cubicBezTo>
                    <a:pt x="200" y="468"/>
                    <a:pt x="278" y="545"/>
                    <a:pt x="372" y="545"/>
                  </a:cubicBezTo>
                  <a:cubicBezTo>
                    <a:pt x="467" y="545"/>
                    <a:pt x="544" y="468"/>
                    <a:pt x="544" y="372"/>
                  </a:cubicBezTo>
                  <a:cubicBezTo>
                    <a:pt x="544" y="277"/>
                    <a:pt x="467" y="200"/>
                    <a:pt x="372" y="200"/>
                  </a:cubicBezTo>
                  <a:close/>
                  <a:moveTo>
                    <a:pt x="372" y="744"/>
                  </a:moveTo>
                  <a:cubicBezTo>
                    <a:pt x="167" y="744"/>
                    <a:pt x="0" y="577"/>
                    <a:pt x="0" y="372"/>
                  </a:cubicBezTo>
                  <a:cubicBezTo>
                    <a:pt x="0" y="166"/>
                    <a:pt x="167" y="0"/>
                    <a:pt x="372" y="0"/>
                  </a:cubicBezTo>
                  <a:cubicBezTo>
                    <a:pt x="578" y="0"/>
                    <a:pt x="745" y="166"/>
                    <a:pt x="745" y="372"/>
                  </a:cubicBezTo>
                  <a:cubicBezTo>
                    <a:pt x="745" y="577"/>
                    <a:pt x="578" y="744"/>
                    <a:pt x="372" y="744"/>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6" name="Freeform 2872">
              <a:extLst>
                <a:ext uri="{FF2B5EF4-FFF2-40B4-BE49-F238E27FC236}">
                  <a16:creationId xmlns:a16="http://schemas.microsoft.com/office/drawing/2014/main" id="{F0853C88-DF0B-9C08-4B16-47C5D3880F69}"/>
                </a:ext>
              </a:extLst>
            </p:cNvPr>
            <p:cNvSpPr>
              <a:spLocks noEditPoints="1"/>
            </p:cNvSpPr>
            <p:nvPr/>
          </p:nvSpPr>
          <p:spPr bwMode="auto">
            <a:xfrm>
              <a:off x="8683626" y="1679575"/>
              <a:ext cx="26988" cy="26988"/>
            </a:xfrm>
            <a:custGeom>
              <a:avLst/>
              <a:gdLst>
                <a:gd name="T0" fmla="*/ 372 w 744"/>
                <a:gd name="T1" fmla="*/ 200 h 745"/>
                <a:gd name="T2" fmla="*/ 199 w 744"/>
                <a:gd name="T3" fmla="*/ 373 h 745"/>
                <a:gd name="T4" fmla="*/ 372 w 744"/>
                <a:gd name="T5" fmla="*/ 544 h 745"/>
                <a:gd name="T6" fmla="*/ 544 w 744"/>
                <a:gd name="T7" fmla="*/ 373 h 745"/>
                <a:gd name="T8" fmla="*/ 372 w 744"/>
                <a:gd name="T9" fmla="*/ 200 h 745"/>
                <a:gd name="T10" fmla="*/ 372 w 744"/>
                <a:gd name="T11" fmla="*/ 745 h 745"/>
                <a:gd name="T12" fmla="*/ 0 w 744"/>
                <a:gd name="T13" fmla="*/ 373 h 745"/>
                <a:gd name="T14" fmla="*/ 372 w 744"/>
                <a:gd name="T15" fmla="*/ 0 h 745"/>
                <a:gd name="T16" fmla="*/ 744 w 744"/>
                <a:gd name="T17" fmla="*/ 373 h 745"/>
                <a:gd name="T18" fmla="*/ 372 w 744"/>
                <a:gd name="T19" fmla="*/ 745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4" h="745">
                  <a:moveTo>
                    <a:pt x="372" y="200"/>
                  </a:moveTo>
                  <a:cubicBezTo>
                    <a:pt x="277" y="200"/>
                    <a:pt x="199" y="277"/>
                    <a:pt x="199" y="373"/>
                  </a:cubicBezTo>
                  <a:cubicBezTo>
                    <a:pt x="199" y="468"/>
                    <a:pt x="277" y="544"/>
                    <a:pt x="372" y="544"/>
                  </a:cubicBezTo>
                  <a:cubicBezTo>
                    <a:pt x="467" y="544"/>
                    <a:pt x="544" y="468"/>
                    <a:pt x="544" y="373"/>
                  </a:cubicBezTo>
                  <a:cubicBezTo>
                    <a:pt x="544" y="277"/>
                    <a:pt x="467" y="200"/>
                    <a:pt x="372" y="200"/>
                  </a:cubicBezTo>
                  <a:close/>
                  <a:moveTo>
                    <a:pt x="372" y="745"/>
                  </a:moveTo>
                  <a:cubicBezTo>
                    <a:pt x="167" y="745"/>
                    <a:pt x="0" y="577"/>
                    <a:pt x="0" y="373"/>
                  </a:cubicBezTo>
                  <a:cubicBezTo>
                    <a:pt x="0" y="167"/>
                    <a:pt x="167" y="0"/>
                    <a:pt x="372" y="0"/>
                  </a:cubicBezTo>
                  <a:cubicBezTo>
                    <a:pt x="578" y="0"/>
                    <a:pt x="744" y="167"/>
                    <a:pt x="744" y="373"/>
                  </a:cubicBezTo>
                  <a:cubicBezTo>
                    <a:pt x="744" y="577"/>
                    <a:pt x="578" y="745"/>
                    <a:pt x="372" y="745"/>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7" name="Freeform 2873">
              <a:extLst>
                <a:ext uri="{FF2B5EF4-FFF2-40B4-BE49-F238E27FC236}">
                  <a16:creationId xmlns:a16="http://schemas.microsoft.com/office/drawing/2014/main" id="{BDFADECD-4B41-8A6E-3BB4-5764CFC68FDA}"/>
                </a:ext>
              </a:extLst>
            </p:cNvPr>
            <p:cNvSpPr>
              <a:spLocks noEditPoints="1"/>
            </p:cNvSpPr>
            <p:nvPr/>
          </p:nvSpPr>
          <p:spPr bwMode="auto">
            <a:xfrm>
              <a:off x="8713788" y="1679575"/>
              <a:ext cx="26988" cy="26988"/>
            </a:xfrm>
            <a:custGeom>
              <a:avLst/>
              <a:gdLst>
                <a:gd name="T0" fmla="*/ 371 w 743"/>
                <a:gd name="T1" fmla="*/ 200 h 744"/>
                <a:gd name="T2" fmla="*/ 200 w 743"/>
                <a:gd name="T3" fmla="*/ 373 h 744"/>
                <a:gd name="T4" fmla="*/ 371 w 743"/>
                <a:gd name="T5" fmla="*/ 544 h 744"/>
                <a:gd name="T6" fmla="*/ 543 w 743"/>
                <a:gd name="T7" fmla="*/ 373 h 744"/>
                <a:gd name="T8" fmla="*/ 371 w 743"/>
                <a:gd name="T9" fmla="*/ 200 h 744"/>
                <a:gd name="T10" fmla="*/ 371 w 743"/>
                <a:gd name="T11" fmla="*/ 744 h 744"/>
                <a:gd name="T12" fmla="*/ 0 w 743"/>
                <a:gd name="T13" fmla="*/ 373 h 744"/>
                <a:gd name="T14" fmla="*/ 371 w 743"/>
                <a:gd name="T15" fmla="*/ 0 h 744"/>
                <a:gd name="T16" fmla="*/ 743 w 743"/>
                <a:gd name="T17" fmla="*/ 373 h 744"/>
                <a:gd name="T18" fmla="*/ 371 w 743"/>
                <a:gd name="T19" fmla="*/ 744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3" h="744">
                  <a:moveTo>
                    <a:pt x="371" y="200"/>
                  </a:moveTo>
                  <a:cubicBezTo>
                    <a:pt x="277" y="200"/>
                    <a:pt x="200" y="277"/>
                    <a:pt x="200" y="373"/>
                  </a:cubicBezTo>
                  <a:cubicBezTo>
                    <a:pt x="200" y="467"/>
                    <a:pt x="277" y="544"/>
                    <a:pt x="371" y="544"/>
                  </a:cubicBezTo>
                  <a:cubicBezTo>
                    <a:pt x="467" y="544"/>
                    <a:pt x="543" y="467"/>
                    <a:pt x="543" y="373"/>
                  </a:cubicBezTo>
                  <a:cubicBezTo>
                    <a:pt x="543" y="277"/>
                    <a:pt x="467" y="200"/>
                    <a:pt x="371" y="200"/>
                  </a:cubicBezTo>
                  <a:close/>
                  <a:moveTo>
                    <a:pt x="371" y="744"/>
                  </a:moveTo>
                  <a:cubicBezTo>
                    <a:pt x="167" y="744"/>
                    <a:pt x="0" y="577"/>
                    <a:pt x="0" y="373"/>
                  </a:cubicBezTo>
                  <a:cubicBezTo>
                    <a:pt x="0" y="167"/>
                    <a:pt x="167" y="0"/>
                    <a:pt x="371" y="0"/>
                  </a:cubicBezTo>
                  <a:cubicBezTo>
                    <a:pt x="577" y="0"/>
                    <a:pt x="743" y="167"/>
                    <a:pt x="743" y="373"/>
                  </a:cubicBezTo>
                  <a:cubicBezTo>
                    <a:pt x="743" y="577"/>
                    <a:pt x="577" y="744"/>
                    <a:pt x="371" y="744"/>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sp>
        <p:nvSpPr>
          <p:cNvPr id="12" name="Rectangle 11">
            <a:extLst>
              <a:ext uri="{FF2B5EF4-FFF2-40B4-BE49-F238E27FC236}">
                <a16:creationId xmlns:a16="http://schemas.microsoft.com/office/drawing/2014/main" id="{D421ED98-D49F-4812-BF50-0351CA39D956}"/>
              </a:ext>
            </a:extLst>
          </p:cNvPr>
          <p:cNvSpPr/>
          <p:nvPr/>
        </p:nvSpPr>
        <p:spPr>
          <a:xfrm>
            <a:off x="1923324" y="2276493"/>
            <a:ext cx="8192956" cy="707886"/>
          </a:xfrm>
          <a:prstGeom prst="rect">
            <a:avLst/>
          </a:prstGeom>
        </p:spPr>
        <p:txBody>
          <a:bodyPr wrap="square">
            <a:spAutoFit/>
          </a:bodyPr>
          <a:lstStyle/>
          <a:p>
            <a:pPr lvl="0" algn="ctr">
              <a:defRPr/>
            </a:pPr>
            <a:r>
              <a:rPr lang="en-US" sz="4000" kern="0">
                <a:solidFill>
                  <a:schemeClr val="accent1">
                    <a:lumMod val="75000"/>
                  </a:schemeClr>
                </a:solidFill>
                <a:latin typeface="GillSans" panose="02020500000000000000" pitchFamily="18" charset="0"/>
                <a:ea typeface="GillSans" panose="02020500000000000000" pitchFamily="18" charset="0"/>
                <a:cs typeface="GillSans" panose="02020500000000000000" pitchFamily="18" charset="0"/>
              </a:rPr>
              <a:t>Các nhiệm vụ của nhà quản trị CSDL</a:t>
            </a:r>
            <a:endParaRPr lang="en-US" sz="4000" kern="0" dirty="0">
              <a:solidFill>
                <a:schemeClr val="accent1">
                  <a:lumMod val="75000"/>
                </a:schemeClr>
              </a:solidFill>
              <a:latin typeface="GillSans" panose="02020500000000000000" pitchFamily="18" charset="0"/>
              <a:ea typeface="GillSans" panose="02020500000000000000" pitchFamily="18" charset="0"/>
              <a:cs typeface="GillSans" panose="02020500000000000000" pitchFamily="18" charset="0"/>
            </a:endParaRPr>
          </a:p>
        </p:txBody>
      </p:sp>
      <p:grpSp>
        <p:nvGrpSpPr>
          <p:cNvPr id="108" name="Medical_software" descr="{&quot;Key&quot;:&quot;POWER_USER_SHAPE_ICON&quot;,&quot;Value&quot;:&quot;POWER_USER_SHAPE_ICON_STYLE_1&quot;}">
            <a:extLst>
              <a:ext uri="{FF2B5EF4-FFF2-40B4-BE49-F238E27FC236}">
                <a16:creationId xmlns:a16="http://schemas.microsoft.com/office/drawing/2014/main" id="{94A0B2BE-6DD9-432D-A103-B31599954552}"/>
              </a:ext>
            </a:extLst>
          </p:cNvPr>
          <p:cNvGrpSpPr>
            <a:grpSpLocks noChangeAspect="1"/>
          </p:cNvGrpSpPr>
          <p:nvPr>
            <p:custDataLst>
              <p:tags r:id="rId2"/>
            </p:custDataLst>
          </p:nvPr>
        </p:nvGrpSpPr>
        <p:grpSpPr>
          <a:xfrm>
            <a:off x="6841995" y="3482208"/>
            <a:ext cx="758351" cy="711200"/>
            <a:chOff x="6173788" y="4965701"/>
            <a:chExt cx="306388" cy="287338"/>
          </a:xfrm>
          <a:solidFill>
            <a:schemeClr val="bg1"/>
          </a:solidFill>
        </p:grpSpPr>
        <p:sp>
          <p:nvSpPr>
            <p:cNvPr id="109" name="Freeform 196">
              <a:extLst>
                <a:ext uri="{FF2B5EF4-FFF2-40B4-BE49-F238E27FC236}">
                  <a16:creationId xmlns:a16="http://schemas.microsoft.com/office/drawing/2014/main" id="{EEB1D34D-792E-49F8-9890-9674093C577D}"/>
                </a:ext>
              </a:extLst>
            </p:cNvPr>
            <p:cNvSpPr>
              <a:spLocks noEditPoints="1"/>
            </p:cNvSpPr>
            <p:nvPr/>
          </p:nvSpPr>
          <p:spPr bwMode="auto">
            <a:xfrm>
              <a:off x="6173788" y="4965701"/>
              <a:ext cx="306388" cy="287338"/>
            </a:xfrm>
            <a:custGeom>
              <a:avLst/>
              <a:gdLst>
                <a:gd name="T0" fmla="*/ 392 w 402"/>
                <a:gd name="T1" fmla="*/ 299 h 377"/>
                <a:gd name="T2" fmla="*/ 384 w 402"/>
                <a:gd name="T3" fmla="*/ 307 h 377"/>
                <a:gd name="T4" fmla="*/ 236 w 402"/>
                <a:gd name="T5" fmla="*/ 307 h 377"/>
                <a:gd name="T6" fmla="*/ 166 w 402"/>
                <a:gd name="T7" fmla="*/ 307 h 377"/>
                <a:gd name="T8" fmla="*/ 18 w 402"/>
                <a:gd name="T9" fmla="*/ 307 h 377"/>
                <a:gd name="T10" fmla="*/ 9 w 402"/>
                <a:gd name="T11" fmla="*/ 299 h 377"/>
                <a:gd name="T12" fmla="*/ 9 w 402"/>
                <a:gd name="T13" fmla="*/ 18 h 377"/>
                <a:gd name="T14" fmla="*/ 18 w 402"/>
                <a:gd name="T15" fmla="*/ 10 h 377"/>
                <a:gd name="T16" fmla="*/ 384 w 402"/>
                <a:gd name="T17" fmla="*/ 10 h 377"/>
                <a:gd name="T18" fmla="*/ 392 w 402"/>
                <a:gd name="T19" fmla="*/ 18 h 377"/>
                <a:gd name="T20" fmla="*/ 392 w 402"/>
                <a:gd name="T21" fmla="*/ 299 h 377"/>
                <a:gd name="T22" fmla="*/ 262 w 402"/>
                <a:gd name="T23" fmla="*/ 367 h 377"/>
                <a:gd name="T24" fmla="*/ 139 w 402"/>
                <a:gd name="T25" fmla="*/ 367 h 377"/>
                <a:gd name="T26" fmla="*/ 170 w 402"/>
                <a:gd name="T27" fmla="*/ 317 h 377"/>
                <a:gd name="T28" fmla="*/ 231 w 402"/>
                <a:gd name="T29" fmla="*/ 317 h 377"/>
                <a:gd name="T30" fmla="*/ 262 w 402"/>
                <a:gd name="T31" fmla="*/ 367 h 377"/>
                <a:gd name="T32" fmla="*/ 384 w 402"/>
                <a:gd name="T33" fmla="*/ 0 h 377"/>
                <a:gd name="T34" fmla="*/ 18 w 402"/>
                <a:gd name="T35" fmla="*/ 0 h 377"/>
                <a:gd name="T36" fmla="*/ 0 w 402"/>
                <a:gd name="T37" fmla="*/ 18 h 377"/>
                <a:gd name="T38" fmla="*/ 0 w 402"/>
                <a:gd name="T39" fmla="*/ 299 h 377"/>
                <a:gd name="T40" fmla="*/ 18 w 402"/>
                <a:gd name="T41" fmla="*/ 317 h 377"/>
                <a:gd name="T42" fmla="*/ 161 w 402"/>
                <a:gd name="T43" fmla="*/ 317 h 377"/>
                <a:gd name="T44" fmla="*/ 106 w 402"/>
                <a:gd name="T45" fmla="*/ 367 h 377"/>
                <a:gd name="T46" fmla="*/ 101 w 402"/>
                <a:gd name="T47" fmla="*/ 372 h 377"/>
                <a:gd name="T48" fmla="*/ 106 w 402"/>
                <a:gd name="T49" fmla="*/ 377 h 377"/>
                <a:gd name="T50" fmla="*/ 296 w 402"/>
                <a:gd name="T51" fmla="*/ 377 h 377"/>
                <a:gd name="T52" fmla="*/ 300 w 402"/>
                <a:gd name="T53" fmla="*/ 372 h 377"/>
                <a:gd name="T54" fmla="*/ 296 w 402"/>
                <a:gd name="T55" fmla="*/ 367 h 377"/>
                <a:gd name="T56" fmla="*/ 241 w 402"/>
                <a:gd name="T57" fmla="*/ 317 h 377"/>
                <a:gd name="T58" fmla="*/ 384 w 402"/>
                <a:gd name="T59" fmla="*/ 317 h 377"/>
                <a:gd name="T60" fmla="*/ 402 w 402"/>
                <a:gd name="T61" fmla="*/ 299 h 377"/>
                <a:gd name="T62" fmla="*/ 402 w 402"/>
                <a:gd name="T63" fmla="*/ 18 h 377"/>
                <a:gd name="T64" fmla="*/ 384 w 402"/>
                <a:gd name="T65" fmla="*/ 0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2" h="377">
                  <a:moveTo>
                    <a:pt x="392" y="299"/>
                  </a:moveTo>
                  <a:cubicBezTo>
                    <a:pt x="392" y="303"/>
                    <a:pt x="388" y="307"/>
                    <a:pt x="384" y="307"/>
                  </a:cubicBezTo>
                  <a:lnTo>
                    <a:pt x="236" y="307"/>
                  </a:lnTo>
                  <a:lnTo>
                    <a:pt x="166" y="307"/>
                  </a:lnTo>
                  <a:lnTo>
                    <a:pt x="18" y="307"/>
                  </a:lnTo>
                  <a:cubicBezTo>
                    <a:pt x="13" y="307"/>
                    <a:pt x="9" y="303"/>
                    <a:pt x="9" y="299"/>
                  </a:cubicBezTo>
                  <a:lnTo>
                    <a:pt x="9" y="18"/>
                  </a:lnTo>
                  <a:cubicBezTo>
                    <a:pt x="9" y="14"/>
                    <a:pt x="13" y="10"/>
                    <a:pt x="18" y="10"/>
                  </a:cubicBezTo>
                  <a:lnTo>
                    <a:pt x="384" y="10"/>
                  </a:lnTo>
                  <a:cubicBezTo>
                    <a:pt x="388" y="10"/>
                    <a:pt x="392" y="14"/>
                    <a:pt x="392" y="18"/>
                  </a:cubicBezTo>
                  <a:lnTo>
                    <a:pt x="392" y="299"/>
                  </a:lnTo>
                  <a:close/>
                  <a:moveTo>
                    <a:pt x="262" y="367"/>
                  </a:moveTo>
                  <a:lnTo>
                    <a:pt x="139" y="367"/>
                  </a:lnTo>
                  <a:cubicBezTo>
                    <a:pt x="157" y="357"/>
                    <a:pt x="169" y="338"/>
                    <a:pt x="170" y="317"/>
                  </a:cubicBezTo>
                  <a:lnTo>
                    <a:pt x="231" y="317"/>
                  </a:lnTo>
                  <a:cubicBezTo>
                    <a:pt x="233" y="338"/>
                    <a:pt x="245" y="357"/>
                    <a:pt x="262" y="367"/>
                  </a:cubicBezTo>
                  <a:close/>
                  <a:moveTo>
                    <a:pt x="384" y="0"/>
                  </a:moveTo>
                  <a:lnTo>
                    <a:pt x="18" y="0"/>
                  </a:lnTo>
                  <a:cubicBezTo>
                    <a:pt x="8" y="0"/>
                    <a:pt x="0" y="8"/>
                    <a:pt x="0" y="18"/>
                  </a:cubicBezTo>
                  <a:lnTo>
                    <a:pt x="0" y="299"/>
                  </a:lnTo>
                  <a:cubicBezTo>
                    <a:pt x="0" y="309"/>
                    <a:pt x="8" y="317"/>
                    <a:pt x="18" y="317"/>
                  </a:cubicBezTo>
                  <a:lnTo>
                    <a:pt x="161" y="317"/>
                  </a:lnTo>
                  <a:cubicBezTo>
                    <a:pt x="158" y="345"/>
                    <a:pt x="135" y="367"/>
                    <a:pt x="106" y="367"/>
                  </a:cubicBezTo>
                  <a:cubicBezTo>
                    <a:pt x="103" y="367"/>
                    <a:pt x="101" y="370"/>
                    <a:pt x="101" y="372"/>
                  </a:cubicBezTo>
                  <a:cubicBezTo>
                    <a:pt x="101" y="375"/>
                    <a:pt x="103" y="377"/>
                    <a:pt x="106" y="377"/>
                  </a:cubicBezTo>
                  <a:lnTo>
                    <a:pt x="296" y="377"/>
                  </a:lnTo>
                  <a:cubicBezTo>
                    <a:pt x="298" y="377"/>
                    <a:pt x="300" y="375"/>
                    <a:pt x="300" y="372"/>
                  </a:cubicBezTo>
                  <a:cubicBezTo>
                    <a:pt x="300" y="370"/>
                    <a:pt x="298" y="367"/>
                    <a:pt x="296" y="367"/>
                  </a:cubicBezTo>
                  <a:cubicBezTo>
                    <a:pt x="267" y="367"/>
                    <a:pt x="243" y="345"/>
                    <a:pt x="241" y="317"/>
                  </a:cubicBezTo>
                  <a:lnTo>
                    <a:pt x="384" y="317"/>
                  </a:lnTo>
                  <a:cubicBezTo>
                    <a:pt x="394" y="317"/>
                    <a:pt x="402" y="309"/>
                    <a:pt x="402" y="299"/>
                  </a:cubicBezTo>
                  <a:lnTo>
                    <a:pt x="402" y="18"/>
                  </a:lnTo>
                  <a:cubicBezTo>
                    <a:pt x="402" y="8"/>
                    <a:pt x="394" y="0"/>
                    <a:pt x="384" y="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 name="Freeform 203">
              <a:extLst>
                <a:ext uri="{FF2B5EF4-FFF2-40B4-BE49-F238E27FC236}">
                  <a16:creationId xmlns:a16="http://schemas.microsoft.com/office/drawing/2014/main" id="{E648CA22-E752-45E4-8B5D-10B6E7E6E4AD}"/>
                </a:ext>
              </a:extLst>
            </p:cNvPr>
            <p:cNvSpPr>
              <a:spLocks noEditPoints="1"/>
            </p:cNvSpPr>
            <p:nvPr/>
          </p:nvSpPr>
          <p:spPr bwMode="auto">
            <a:xfrm>
              <a:off x="6189663" y="4983163"/>
              <a:ext cx="274638" cy="182563"/>
            </a:xfrm>
            <a:custGeom>
              <a:avLst/>
              <a:gdLst>
                <a:gd name="T0" fmla="*/ 352 w 361"/>
                <a:gd name="T1" fmla="*/ 71 h 239"/>
                <a:gd name="T2" fmla="*/ 94 w 361"/>
                <a:gd name="T3" fmla="*/ 71 h 239"/>
                <a:gd name="T4" fmla="*/ 94 w 361"/>
                <a:gd name="T5" fmla="*/ 58 h 239"/>
                <a:gd name="T6" fmla="*/ 111 w 361"/>
                <a:gd name="T7" fmla="*/ 58 h 239"/>
                <a:gd name="T8" fmla="*/ 116 w 361"/>
                <a:gd name="T9" fmla="*/ 53 h 239"/>
                <a:gd name="T10" fmla="*/ 116 w 361"/>
                <a:gd name="T11" fmla="*/ 27 h 239"/>
                <a:gd name="T12" fmla="*/ 111 w 361"/>
                <a:gd name="T13" fmla="*/ 23 h 239"/>
                <a:gd name="T14" fmla="*/ 94 w 361"/>
                <a:gd name="T15" fmla="*/ 23 h 239"/>
                <a:gd name="T16" fmla="*/ 94 w 361"/>
                <a:gd name="T17" fmla="*/ 10 h 239"/>
                <a:gd name="T18" fmla="*/ 352 w 361"/>
                <a:gd name="T19" fmla="*/ 10 h 239"/>
                <a:gd name="T20" fmla="*/ 352 w 361"/>
                <a:gd name="T21" fmla="*/ 71 h 239"/>
                <a:gd name="T22" fmla="*/ 352 w 361"/>
                <a:gd name="T23" fmla="*/ 230 h 239"/>
                <a:gd name="T24" fmla="*/ 9 w 361"/>
                <a:gd name="T25" fmla="*/ 230 h 239"/>
                <a:gd name="T26" fmla="*/ 9 w 361"/>
                <a:gd name="T27" fmla="*/ 80 h 239"/>
                <a:gd name="T28" fmla="*/ 352 w 361"/>
                <a:gd name="T29" fmla="*/ 80 h 239"/>
                <a:gd name="T30" fmla="*/ 352 w 361"/>
                <a:gd name="T31" fmla="*/ 230 h 239"/>
                <a:gd name="T32" fmla="*/ 9 w 361"/>
                <a:gd name="T33" fmla="*/ 10 h 239"/>
                <a:gd name="T34" fmla="*/ 59 w 361"/>
                <a:gd name="T35" fmla="*/ 10 h 239"/>
                <a:gd name="T36" fmla="*/ 59 w 361"/>
                <a:gd name="T37" fmla="*/ 23 h 239"/>
                <a:gd name="T38" fmla="*/ 41 w 361"/>
                <a:gd name="T39" fmla="*/ 23 h 239"/>
                <a:gd name="T40" fmla="*/ 36 w 361"/>
                <a:gd name="T41" fmla="*/ 27 h 239"/>
                <a:gd name="T42" fmla="*/ 36 w 361"/>
                <a:gd name="T43" fmla="*/ 53 h 239"/>
                <a:gd name="T44" fmla="*/ 41 w 361"/>
                <a:gd name="T45" fmla="*/ 58 h 239"/>
                <a:gd name="T46" fmla="*/ 59 w 361"/>
                <a:gd name="T47" fmla="*/ 58 h 239"/>
                <a:gd name="T48" fmla="*/ 59 w 361"/>
                <a:gd name="T49" fmla="*/ 71 h 239"/>
                <a:gd name="T50" fmla="*/ 9 w 361"/>
                <a:gd name="T51" fmla="*/ 71 h 239"/>
                <a:gd name="T52" fmla="*/ 9 w 361"/>
                <a:gd name="T53" fmla="*/ 10 h 239"/>
                <a:gd name="T54" fmla="*/ 68 w 361"/>
                <a:gd name="T55" fmla="*/ 27 h 239"/>
                <a:gd name="T56" fmla="*/ 68 w 361"/>
                <a:gd name="T57" fmla="*/ 10 h 239"/>
                <a:gd name="T58" fmla="*/ 84 w 361"/>
                <a:gd name="T59" fmla="*/ 10 h 239"/>
                <a:gd name="T60" fmla="*/ 84 w 361"/>
                <a:gd name="T61" fmla="*/ 27 h 239"/>
                <a:gd name="T62" fmla="*/ 89 w 361"/>
                <a:gd name="T63" fmla="*/ 32 h 239"/>
                <a:gd name="T64" fmla="*/ 107 w 361"/>
                <a:gd name="T65" fmla="*/ 32 h 239"/>
                <a:gd name="T66" fmla="*/ 107 w 361"/>
                <a:gd name="T67" fmla="*/ 48 h 239"/>
                <a:gd name="T68" fmla="*/ 89 w 361"/>
                <a:gd name="T69" fmla="*/ 48 h 239"/>
                <a:gd name="T70" fmla="*/ 84 w 361"/>
                <a:gd name="T71" fmla="*/ 53 h 239"/>
                <a:gd name="T72" fmla="*/ 84 w 361"/>
                <a:gd name="T73" fmla="*/ 71 h 239"/>
                <a:gd name="T74" fmla="*/ 68 w 361"/>
                <a:gd name="T75" fmla="*/ 71 h 239"/>
                <a:gd name="T76" fmla="*/ 68 w 361"/>
                <a:gd name="T77" fmla="*/ 53 h 239"/>
                <a:gd name="T78" fmla="*/ 63 w 361"/>
                <a:gd name="T79" fmla="*/ 48 h 239"/>
                <a:gd name="T80" fmla="*/ 46 w 361"/>
                <a:gd name="T81" fmla="*/ 48 h 239"/>
                <a:gd name="T82" fmla="*/ 46 w 361"/>
                <a:gd name="T83" fmla="*/ 32 h 239"/>
                <a:gd name="T84" fmla="*/ 63 w 361"/>
                <a:gd name="T85" fmla="*/ 32 h 239"/>
                <a:gd name="T86" fmla="*/ 68 w 361"/>
                <a:gd name="T87" fmla="*/ 27 h 239"/>
                <a:gd name="T88" fmla="*/ 357 w 361"/>
                <a:gd name="T89" fmla="*/ 0 h 239"/>
                <a:gd name="T90" fmla="*/ 5 w 361"/>
                <a:gd name="T91" fmla="*/ 0 h 239"/>
                <a:gd name="T92" fmla="*/ 0 w 361"/>
                <a:gd name="T93" fmla="*/ 5 h 239"/>
                <a:gd name="T94" fmla="*/ 0 w 361"/>
                <a:gd name="T95" fmla="*/ 75 h 239"/>
                <a:gd name="T96" fmla="*/ 0 w 361"/>
                <a:gd name="T97" fmla="*/ 235 h 239"/>
                <a:gd name="T98" fmla="*/ 5 w 361"/>
                <a:gd name="T99" fmla="*/ 239 h 239"/>
                <a:gd name="T100" fmla="*/ 357 w 361"/>
                <a:gd name="T101" fmla="*/ 239 h 239"/>
                <a:gd name="T102" fmla="*/ 361 w 361"/>
                <a:gd name="T103" fmla="*/ 235 h 239"/>
                <a:gd name="T104" fmla="*/ 361 w 361"/>
                <a:gd name="T105" fmla="*/ 75 h 239"/>
                <a:gd name="T106" fmla="*/ 361 w 361"/>
                <a:gd name="T107" fmla="*/ 5 h 239"/>
                <a:gd name="T108" fmla="*/ 357 w 361"/>
                <a:gd name="T109"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1" h="239">
                  <a:moveTo>
                    <a:pt x="352" y="71"/>
                  </a:moveTo>
                  <a:lnTo>
                    <a:pt x="94" y="71"/>
                  </a:lnTo>
                  <a:lnTo>
                    <a:pt x="94" y="58"/>
                  </a:lnTo>
                  <a:lnTo>
                    <a:pt x="111" y="58"/>
                  </a:lnTo>
                  <a:cubicBezTo>
                    <a:pt x="114" y="58"/>
                    <a:pt x="116" y="56"/>
                    <a:pt x="116" y="53"/>
                  </a:cubicBezTo>
                  <a:lnTo>
                    <a:pt x="116" y="27"/>
                  </a:lnTo>
                  <a:cubicBezTo>
                    <a:pt x="116" y="25"/>
                    <a:pt x="114" y="23"/>
                    <a:pt x="111" y="23"/>
                  </a:cubicBezTo>
                  <a:lnTo>
                    <a:pt x="94" y="23"/>
                  </a:lnTo>
                  <a:lnTo>
                    <a:pt x="94" y="10"/>
                  </a:lnTo>
                  <a:lnTo>
                    <a:pt x="352" y="10"/>
                  </a:lnTo>
                  <a:lnTo>
                    <a:pt x="352" y="71"/>
                  </a:lnTo>
                  <a:close/>
                  <a:moveTo>
                    <a:pt x="352" y="230"/>
                  </a:moveTo>
                  <a:lnTo>
                    <a:pt x="9" y="230"/>
                  </a:lnTo>
                  <a:lnTo>
                    <a:pt x="9" y="80"/>
                  </a:lnTo>
                  <a:lnTo>
                    <a:pt x="352" y="80"/>
                  </a:lnTo>
                  <a:lnTo>
                    <a:pt x="352" y="230"/>
                  </a:lnTo>
                  <a:close/>
                  <a:moveTo>
                    <a:pt x="9" y="10"/>
                  </a:moveTo>
                  <a:lnTo>
                    <a:pt x="59" y="10"/>
                  </a:lnTo>
                  <a:lnTo>
                    <a:pt x="59" y="23"/>
                  </a:lnTo>
                  <a:lnTo>
                    <a:pt x="41" y="23"/>
                  </a:lnTo>
                  <a:cubicBezTo>
                    <a:pt x="38" y="23"/>
                    <a:pt x="36" y="25"/>
                    <a:pt x="36" y="27"/>
                  </a:cubicBezTo>
                  <a:lnTo>
                    <a:pt x="36" y="53"/>
                  </a:lnTo>
                  <a:cubicBezTo>
                    <a:pt x="36" y="56"/>
                    <a:pt x="38" y="58"/>
                    <a:pt x="41" y="58"/>
                  </a:cubicBezTo>
                  <a:lnTo>
                    <a:pt x="59" y="58"/>
                  </a:lnTo>
                  <a:lnTo>
                    <a:pt x="59" y="71"/>
                  </a:lnTo>
                  <a:lnTo>
                    <a:pt x="9" y="71"/>
                  </a:lnTo>
                  <a:lnTo>
                    <a:pt x="9" y="10"/>
                  </a:lnTo>
                  <a:close/>
                  <a:moveTo>
                    <a:pt x="68" y="27"/>
                  </a:moveTo>
                  <a:lnTo>
                    <a:pt x="68" y="10"/>
                  </a:lnTo>
                  <a:lnTo>
                    <a:pt x="84" y="10"/>
                  </a:lnTo>
                  <a:lnTo>
                    <a:pt x="84" y="27"/>
                  </a:lnTo>
                  <a:cubicBezTo>
                    <a:pt x="84" y="30"/>
                    <a:pt x="86" y="32"/>
                    <a:pt x="89" y="32"/>
                  </a:cubicBezTo>
                  <a:lnTo>
                    <a:pt x="107" y="32"/>
                  </a:lnTo>
                  <a:lnTo>
                    <a:pt x="107" y="48"/>
                  </a:lnTo>
                  <a:lnTo>
                    <a:pt x="89" y="48"/>
                  </a:lnTo>
                  <a:cubicBezTo>
                    <a:pt x="86" y="48"/>
                    <a:pt x="84" y="50"/>
                    <a:pt x="84" y="53"/>
                  </a:cubicBezTo>
                  <a:lnTo>
                    <a:pt x="84" y="71"/>
                  </a:lnTo>
                  <a:lnTo>
                    <a:pt x="68" y="71"/>
                  </a:lnTo>
                  <a:lnTo>
                    <a:pt x="68" y="53"/>
                  </a:lnTo>
                  <a:cubicBezTo>
                    <a:pt x="68" y="50"/>
                    <a:pt x="66" y="48"/>
                    <a:pt x="63" y="48"/>
                  </a:cubicBezTo>
                  <a:lnTo>
                    <a:pt x="46" y="48"/>
                  </a:lnTo>
                  <a:lnTo>
                    <a:pt x="46" y="32"/>
                  </a:lnTo>
                  <a:lnTo>
                    <a:pt x="63" y="32"/>
                  </a:lnTo>
                  <a:cubicBezTo>
                    <a:pt x="66" y="32"/>
                    <a:pt x="68" y="30"/>
                    <a:pt x="68" y="27"/>
                  </a:cubicBezTo>
                  <a:close/>
                  <a:moveTo>
                    <a:pt x="357" y="0"/>
                  </a:moveTo>
                  <a:lnTo>
                    <a:pt x="5" y="0"/>
                  </a:lnTo>
                  <a:cubicBezTo>
                    <a:pt x="2" y="0"/>
                    <a:pt x="0" y="2"/>
                    <a:pt x="0" y="5"/>
                  </a:cubicBezTo>
                  <a:lnTo>
                    <a:pt x="0" y="75"/>
                  </a:lnTo>
                  <a:lnTo>
                    <a:pt x="0" y="235"/>
                  </a:lnTo>
                  <a:cubicBezTo>
                    <a:pt x="0" y="237"/>
                    <a:pt x="2" y="239"/>
                    <a:pt x="5" y="239"/>
                  </a:cubicBezTo>
                  <a:lnTo>
                    <a:pt x="357" y="239"/>
                  </a:lnTo>
                  <a:cubicBezTo>
                    <a:pt x="359" y="239"/>
                    <a:pt x="361" y="237"/>
                    <a:pt x="361" y="235"/>
                  </a:cubicBezTo>
                  <a:lnTo>
                    <a:pt x="361" y="75"/>
                  </a:lnTo>
                  <a:lnTo>
                    <a:pt x="361" y="5"/>
                  </a:lnTo>
                  <a:cubicBezTo>
                    <a:pt x="361" y="2"/>
                    <a:pt x="359" y="0"/>
                    <a:pt x="357" y="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 name="Oval 204">
              <a:extLst>
                <a:ext uri="{FF2B5EF4-FFF2-40B4-BE49-F238E27FC236}">
                  <a16:creationId xmlns:a16="http://schemas.microsoft.com/office/drawing/2014/main" id="{95F255F0-7B3F-4648-8F2C-4A785485BE3F}"/>
                </a:ext>
              </a:extLst>
            </p:cNvPr>
            <p:cNvSpPr>
              <a:spLocks noChangeArrowheads="1"/>
            </p:cNvSpPr>
            <p:nvPr/>
          </p:nvSpPr>
          <p:spPr bwMode="auto">
            <a:xfrm>
              <a:off x="6434138" y="5176838"/>
              <a:ext cx="12700" cy="11113"/>
            </a:xfrm>
            <a:prstGeom prst="ellips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 name="Freeform 205">
              <a:extLst>
                <a:ext uri="{FF2B5EF4-FFF2-40B4-BE49-F238E27FC236}">
                  <a16:creationId xmlns:a16="http://schemas.microsoft.com/office/drawing/2014/main" id="{7EE8A197-AC8A-484E-9CEC-7BAD82928F0C}"/>
                </a:ext>
              </a:extLst>
            </p:cNvPr>
            <p:cNvSpPr>
              <a:spLocks/>
            </p:cNvSpPr>
            <p:nvPr/>
          </p:nvSpPr>
          <p:spPr bwMode="auto">
            <a:xfrm>
              <a:off x="6254751" y="5059363"/>
              <a:ext cx="180975" cy="6350"/>
            </a:xfrm>
            <a:custGeom>
              <a:avLst/>
              <a:gdLst>
                <a:gd name="T0" fmla="*/ 233 w 237"/>
                <a:gd name="T1" fmla="*/ 0 h 9"/>
                <a:gd name="T2" fmla="*/ 5 w 237"/>
                <a:gd name="T3" fmla="*/ 0 h 9"/>
                <a:gd name="T4" fmla="*/ 0 w 237"/>
                <a:gd name="T5" fmla="*/ 4 h 9"/>
                <a:gd name="T6" fmla="*/ 5 w 237"/>
                <a:gd name="T7" fmla="*/ 9 h 9"/>
                <a:gd name="T8" fmla="*/ 233 w 237"/>
                <a:gd name="T9" fmla="*/ 9 h 9"/>
                <a:gd name="T10" fmla="*/ 237 w 237"/>
                <a:gd name="T11" fmla="*/ 4 h 9"/>
                <a:gd name="T12" fmla="*/ 233 w 237"/>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37" h="9">
                  <a:moveTo>
                    <a:pt x="233" y="0"/>
                  </a:moveTo>
                  <a:lnTo>
                    <a:pt x="5" y="0"/>
                  </a:lnTo>
                  <a:cubicBezTo>
                    <a:pt x="2" y="0"/>
                    <a:pt x="0" y="2"/>
                    <a:pt x="0" y="4"/>
                  </a:cubicBezTo>
                  <a:cubicBezTo>
                    <a:pt x="0" y="7"/>
                    <a:pt x="2" y="9"/>
                    <a:pt x="5" y="9"/>
                  </a:cubicBezTo>
                  <a:lnTo>
                    <a:pt x="233" y="9"/>
                  </a:lnTo>
                  <a:cubicBezTo>
                    <a:pt x="235" y="9"/>
                    <a:pt x="237" y="7"/>
                    <a:pt x="237" y="4"/>
                  </a:cubicBezTo>
                  <a:cubicBezTo>
                    <a:pt x="237" y="2"/>
                    <a:pt x="235" y="0"/>
                    <a:pt x="233" y="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 name="Freeform 207">
              <a:extLst>
                <a:ext uri="{FF2B5EF4-FFF2-40B4-BE49-F238E27FC236}">
                  <a16:creationId xmlns:a16="http://schemas.microsoft.com/office/drawing/2014/main" id="{960CDE3D-8EB4-498B-946A-9165C7B946E9}"/>
                </a:ext>
              </a:extLst>
            </p:cNvPr>
            <p:cNvSpPr>
              <a:spLocks/>
            </p:cNvSpPr>
            <p:nvPr/>
          </p:nvSpPr>
          <p:spPr bwMode="auto">
            <a:xfrm>
              <a:off x="6218238" y="5083176"/>
              <a:ext cx="217488" cy="7938"/>
            </a:xfrm>
            <a:custGeom>
              <a:avLst/>
              <a:gdLst>
                <a:gd name="T0" fmla="*/ 281 w 285"/>
                <a:gd name="T1" fmla="*/ 0 h 10"/>
                <a:gd name="T2" fmla="*/ 5 w 285"/>
                <a:gd name="T3" fmla="*/ 0 h 10"/>
                <a:gd name="T4" fmla="*/ 0 w 285"/>
                <a:gd name="T5" fmla="*/ 5 h 10"/>
                <a:gd name="T6" fmla="*/ 5 w 285"/>
                <a:gd name="T7" fmla="*/ 10 h 10"/>
                <a:gd name="T8" fmla="*/ 281 w 285"/>
                <a:gd name="T9" fmla="*/ 10 h 10"/>
                <a:gd name="T10" fmla="*/ 285 w 285"/>
                <a:gd name="T11" fmla="*/ 5 h 10"/>
                <a:gd name="T12" fmla="*/ 281 w 28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85" h="10">
                  <a:moveTo>
                    <a:pt x="281" y="0"/>
                  </a:moveTo>
                  <a:lnTo>
                    <a:pt x="5" y="0"/>
                  </a:lnTo>
                  <a:cubicBezTo>
                    <a:pt x="2" y="0"/>
                    <a:pt x="0" y="2"/>
                    <a:pt x="0" y="5"/>
                  </a:cubicBezTo>
                  <a:cubicBezTo>
                    <a:pt x="0" y="8"/>
                    <a:pt x="2" y="10"/>
                    <a:pt x="5" y="10"/>
                  </a:cubicBezTo>
                  <a:lnTo>
                    <a:pt x="281" y="10"/>
                  </a:lnTo>
                  <a:cubicBezTo>
                    <a:pt x="283" y="10"/>
                    <a:pt x="285" y="8"/>
                    <a:pt x="285" y="5"/>
                  </a:cubicBezTo>
                  <a:cubicBezTo>
                    <a:pt x="285" y="2"/>
                    <a:pt x="283" y="0"/>
                    <a:pt x="281" y="0"/>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Freeform 208">
              <a:extLst>
                <a:ext uri="{FF2B5EF4-FFF2-40B4-BE49-F238E27FC236}">
                  <a16:creationId xmlns:a16="http://schemas.microsoft.com/office/drawing/2014/main" id="{34C62334-334B-43F5-B018-F6F6A2CE0E49}"/>
                </a:ext>
              </a:extLst>
            </p:cNvPr>
            <p:cNvSpPr>
              <a:spLocks/>
            </p:cNvSpPr>
            <p:nvPr/>
          </p:nvSpPr>
          <p:spPr bwMode="auto">
            <a:xfrm>
              <a:off x="6218238" y="5108576"/>
              <a:ext cx="217488" cy="6350"/>
            </a:xfrm>
            <a:custGeom>
              <a:avLst/>
              <a:gdLst>
                <a:gd name="T0" fmla="*/ 281 w 285"/>
                <a:gd name="T1" fmla="*/ 0 h 9"/>
                <a:gd name="T2" fmla="*/ 5 w 285"/>
                <a:gd name="T3" fmla="*/ 0 h 9"/>
                <a:gd name="T4" fmla="*/ 0 w 285"/>
                <a:gd name="T5" fmla="*/ 5 h 9"/>
                <a:gd name="T6" fmla="*/ 5 w 285"/>
                <a:gd name="T7" fmla="*/ 9 h 9"/>
                <a:gd name="T8" fmla="*/ 281 w 285"/>
                <a:gd name="T9" fmla="*/ 9 h 9"/>
                <a:gd name="T10" fmla="*/ 285 w 285"/>
                <a:gd name="T11" fmla="*/ 5 h 9"/>
                <a:gd name="T12" fmla="*/ 281 w 285"/>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85" h="9">
                  <a:moveTo>
                    <a:pt x="281" y="0"/>
                  </a:moveTo>
                  <a:lnTo>
                    <a:pt x="5" y="0"/>
                  </a:lnTo>
                  <a:cubicBezTo>
                    <a:pt x="2" y="0"/>
                    <a:pt x="0" y="2"/>
                    <a:pt x="0" y="5"/>
                  </a:cubicBezTo>
                  <a:cubicBezTo>
                    <a:pt x="0" y="7"/>
                    <a:pt x="2" y="9"/>
                    <a:pt x="5" y="9"/>
                  </a:cubicBezTo>
                  <a:lnTo>
                    <a:pt x="281" y="9"/>
                  </a:lnTo>
                  <a:cubicBezTo>
                    <a:pt x="283" y="9"/>
                    <a:pt x="285" y="7"/>
                    <a:pt x="285" y="5"/>
                  </a:cubicBezTo>
                  <a:cubicBezTo>
                    <a:pt x="285" y="2"/>
                    <a:pt x="283" y="0"/>
                    <a:pt x="281" y="0"/>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 name="Freeform 209">
              <a:extLst>
                <a:ext uri="{FF2B5EF4-FFF2-40B4-BE49-F238E27FC236}">
                  <a16:creationId xmlns:a16="http://schemas.microsoft.com/office/drawing/2014/main" id="{E18C74D0-AE3E-4831-AF3B-F3E1E91891AC}"/>
                </a:ext>
              </a:extLst>
            </p:cNvPr>
            <p:cNvSpPr>
              <a:spLocks/>
            </p:cNvSpPr>
            <p:nvPr/>
          </p:nvSpPr>
          <p:spPr bwMode="auto">
            <a:xfrm>
              <a:off x="6218238" y="5133976"/>
              <a:ext cx="217488" cy="6350"/>
            </a:xfrm>
            <a:custGeom>
              <a:avLst/>
              <a:gdLst>
                <a:gd name="T0" fmla="*/ 281 w 285"/>
                <a:gd name="T1" fmla="*/ 0 h 9"/>
                <a:gd name="T2" fmla="*/ 5 w 285"/>
                <a:gd name="T3" fmla="*/ 0 h 9"/>
                <a:gd name="T4" fmla="*/ 0 w 285"/>
                <a:gd name="T5" fmla="*/ 4 h 9"/>
                <a:gd name="T6" fmla="*/ 5 w 285"/>
                <a:gd name="T7" fmla="*/ 9 h 9"/>
                <a:gd name="T8" fmla="*/ 281 w 285"/>
                <a:gd name="T9" fmla="*/ 9 h 9"/>
                <a:gd name="T10" fmla="*/ 285 w 285"/>
                <a:gd name="T11" fmla="*/ 4 h 9"/>
                <a:gd name="T12" fmla="*/ 281 w 285"/>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85" h="9">
                  <a:moveTo>
                    <a:pt x="281" y="0"/>
                  </a:moveTo>
                  <a:lnTo>
                    <a:pt x="5" y="0"/>
                  </a:lnTo>
                  <a:cubicBezTo>
                    <a:pt x="2" y="0"/>
                    <a:pt x="0" y="2"/>
                    <a:pt x="0" y="4"/>
                  </a:cubicBezTo>
                  <a:cubicBezTo>
                    <a:pt x="0" y="7"/>
                    <a:pt x="2" y="9"/>
                    <a:pt x="5" y="9"/>
                  </a:cubicBezTo>
                  <a:lnTo>
                    <a:pt x="281" y="9"/>
                  </a:lnTo>
                  <a:cubicBezTo>
                    <a:pt x="283" y="9"/>
                    <a:pt x="285" y="7"/>
                    <a:pt x="285" y="4"/>
                  </a:cubicBezTo>
                  <a:cubicBezTo>
                    <a:pt x="285" y="2"/>
                    <a:pt x="283" y="0"/>
                    <a:pt x="281" y="0"/>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16" name="Cyber_security2" descr="{&quot;Key&quot;:&quot;POWER_USER_SHAPE_ICON&quot;,&quot;Value&quot;:&quot;POWER_USER_SHAPE_ICON_STYLE_1&quot;}">
            <a:extLst>
              <a:ext uri="{FF2B5EF4-FFF2-40B4-BE49-F238E27FC236}">
                <a16:creationId xmlns:a16="http://schemas.microsoft.com/office/drawing/2014/main" id="{E062C050-83EA-42AD-9571-C95FB268CE26}"/>
              </a:ext>
            </a:extLst>
          </p:cNvPr>
          <p:cNvGrpSpPr>
            <a:grpSpLocks noChangeAspect="1"/>
          </p:cNvGrpSpPr>
          <p:nvPr/>
        </p:nvGrpSpPr>
        <p:grpSpPr>
          <a:xfrm>
            <a:off x="9139455" y="3494716"/>
            <a:ext cx="1107684" cy="641579"/>
            <a:chOff x="5095875" y="3181351"/>
            <a:chExt cx="641351" cy="371475"/>
          </a:xfrm>
          <a:solidFill>
            <a:schemeClr val="bg1"/>
          </a:solidFill>
        </p:grpSpPr>
        <p:sp>
          <p:nvSpPr>
            <p:cNvPr id="117" name="Rectangle 372">
              <a:extLst>
                <a:ext uri="{FF2B5EF4-FFF2-40B4-BE49-F238E27FC236}">
                  <a16:creationId xmlns:a16="http://schemas.microsoft.com/office/drawing/2014/main" id="{4FF044B6-BF63-4C67-BA7C-14A6184325AA}"/>
                </a:ext>
              </a:extLst>
            </p:cNvPr>
            <p:cNvSpPr>
              <a:spLocks noChangeArrowheads="1"/>
            </p:cNvSpPr>
            <p:nvPr/>
          </p:nvSpPr>
          <p:spPr bwMode="auto">
            <a:xfrm>
              <a:off x="5311775" y="3300413"/>
              <a:ext cx="211138" cy="182563"/>
            </a:xfrm>
            <a:prstGeom prst="rect">
              <a:avLst/>
            </a:prstGeom>
            <a:grp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 name="Oval 373">
              <a:extLst>
                <a:ext uri="{FF2B5EF4-FFF2-40B4-BE49-F238E27FC236}">
                  <a16:creationId xmlns:a16="http://schemas.microsoft.com/office/drawing/2014/main" id="{752885C0-A4CB-4C81-83E9-CB72E0D60E2F}"/>
                </a:ext>
              </a:extLst>
            </p:cNvPr>
            <p:cNvSpPr>
              <a:spLocks noChangeArrowheads="1"/>
            </p:cNvSpPr>
            <p:nvPr/>
          </p:nvSpPr>
          <p:spPr bwMode="auto">
            <a:xfrm>
              <a:off x="5392738" y="3357563"/>
              <a:ext cx="49213" cy="50800"/>
            </a:xfrm>
            <a:prstGeom prst="ellips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 name="Oval 374">
              <a:extLst>
                <a:ext uri="{FF2B5EF4-FFF2-40B4-BE49-F238E27FC236}">
                  <a16:creationId xmlns:a16="http://schemas.microsoft.com/office/drawing/2014/main" id="{1B9F5E0F-B9A8-4AB1-AA2B-CC4AB639D7CB}"/>
                </a:ext>
              </a:extLst>
            </p:cNvPr>
            <p:cNvSpPr>
              <a:spLocks noChangeArrowheads="1"/>
            </p:cNvSpPr>
            <p:nvPr/>
          </p:nvSpPr>
          <p:spPr bwMode="auto">
            <a:xfrm>
              <a:off x="5659438" y="3236913"/>
              <a:ext cx="50800" cy="50800"/>
            </a:xfrm>
            <a:prstGeom prst="ellips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 name="Oval 375">
              <a:extLst>
                <a:ext uri="{FF2B5EF4-FFF2-40B4-BE49-F238E27FC236}">
                  <a16:creationId xmlns:a16="http://schemas.microsoft.com/office/drawing/2014/main" id="{FDF90841-2218-4EA4-AD59-780856F0A11F}"/>
                </a:ext>
              </a:extLst>
            </p:cNvPr>
            <p:cNvSpPr>
              <a:spLocks noChangeArrowheads="1"/>
            </p:cNvSpPr>
            <p:nvPr/>
          </p:nvSpPr>
          <p:spPr bwMode="auto">
            <a:xfrm>
              <a:off x="5681663" y="3367088"/>
              <a:ext cx="50800" cy="50800"/>
            </a:xfrm>
            <a:prstGeom prst="ellips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Oval 376">
              <a:extLst>
                <a:ext uri="{FF2B5EF4-FFF2-40B4-BE49-F238E27FC236}">
                  <a16:creationId xmlns:a16="http://schemas.microsoft.com/office/drawing/2014/main" id="{EBD434E3-17D4-416C-BD97-C2FB4A80AE55}"/>
                </a:ext>
              </a:extLst>
            </p:cNvPr>
            <p:cNvSpPr>
              <a:spLocks noChangeArrowheads="1"/>
            </p:cNvSpPr>
            <p:nvPr/>
          </p:nvSpPr>
          <p:spPr bwMode="auto">
            <a:xfrm>
              <a:off x="5659438" y="3495676"/>
              <a:ext cx="50800" cy="52388"/>
            </a:xfrm>
            <a:prstGeom prst="ellips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Oval 377">
              <a:extLst>
                <a:ext uri="{FF2B5EF4-FFF2-40B4-BE49-F238E27FC236}">
                  <a16:creationId xmlns:a16="http://schemas.microsoft.com/office/drawing/2014/main" id="{2DDD2E4D-0B19-4E9B-B2E2-49A420EA6E81}"/>
                </a:ext>
              </a:extLst>
            </p:cNvPr>
            <p:cNvSpPr>
              <a:spLocks noChangeArrowheads="1"/>
            </p:cNvSpPr>
            <p:nvPr/>
          </p:nvSpPr>
          <p:spPr bwMode="auto">
            <a:xfrm>
              <a:off x="5124450" y="3495676"/>
              <a:ext cx="50800" cy="52388"/>
            </a:xfrm>
            <a:prstGeom prst="ellips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Oval 378">
              <a:extLst>
                <a:ext uri="{FF2B5EF4-FFF2-40B4-BE49-F238E27FC236}">
                  <a16:creationId xmlns:a16="http://schemas.microsoft.com/office/drawing/2014/main" id="{DD55AC9D-9D4D-4CAA-8A5E-66E83E638840}"/>
                </a:ext>
              </a:extLst>
            </p:cNvPr>
            <p:cNvSpPr>
              <a:spLocks noChangeArrowheads="1"/>
            </p:cNvSpPr>
            <p:nvPr/>
          </p:nvSpPr>
          <p:spPr bwMode="auto">
            <a:xfrm>
              <a:off x="5102225" y="3367088"/>
              <a:ext cx="50800" cy="50800"/>
            </a:xfrm>
            <a:prstGeom prst="ellips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Oval 379">
              <a:extLst>
                <a:ext uri="{FF2B5EF4-FFF2-40B4-BE49-F238E27FC236}">
                  <a16:creationId xmlns:a16="http://schemas.microsoft.com/office/drawing/2014/main" id="{A8D92692-51AB-4300-9CB0-C96A3B6515FD}"/>
                </a:ext>
              </a:extLst>
            </p:cNvPr>
            <p:cNvSpPr>
              <a:spLocks noChangeArrowheads="1"/>
            </p:cNvSpPr>
            <p:nvPr/>
          </p:nvSpPr>
          <p:spPr bwMode="auto">
            <a:xfrm>
              <a:off x="5124450" y="3236913"/>
              <a:ext cx="50800" cy="50800"/>
            </a:xfrm>
            <a:prstGeom prst="ellips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Freeform 383">
              <a:extLst>
                <a:ext uri="{FF2B5EF4-FFF2-40B4-BE49-F238E27FC236}">
                  <a16:creationId xmlns:a16="http://schemas.microsoft.com/office/drawing/2014/main" id="{4FEABD4C-DCAA-406C-9231-3F5A550D466E}"/>
                </a:ext>
              </a:extLst>
            </p:cNvPr>
            <p:cNvSpPr>
              <a:spLocks noEditPoints="1"/>
            </p:cNvSpPr>
            <p:nvPr/>
          </p:nvSpPr>
          <p:spPr bwMode="auto">
            <a:xfrm>
              <a:off x="5307013" y="3295651"/>
              <a:ext cx="220663" cy="193675"/>
            </a:xfrm>
            <a:custGeom>
              <a:avLst/>
              <a:gdLst>
                <a:gd name="T0" fmla="*/ 16 w 328"/>
                <a:gd name="T1" fmla="*/ 269 h 286"/>
                <a:gd name="T2" fmla="*/ 312 w 328"/>
                <a:gd name="T3" fmla="*/ 269 h 286"/>
                <a:gd name="T4" fmla="*/ 312 w 328"/>
                <a:gd name="T5" fmla="*/ 16 h 286"/>
                <a:gd name="T6" fmla="*/ 16 w 328"/>
                <a:gd name="T7" fmla="*/ 16 h 286"/>
                <a:gd name="T8" fmla="*/ 16 w 328"/>
                <a:gd name="T9" fmla="*/ 269 h 286"/>
                <a:gd name="T10" fmla="*/ 328 w 328"/>
                <a:gd name="T11" fmla="*/ 286 h 286"/>
                <a:gd name="T12" fmla="*/ 0 w 328"/>
                <a:gd name="T13" fmla="*/ 286 h 286"/>
                <a:gd name="T14" fmla="*/ 0 w 328"/>
                <a:gd name="T15" fmla="*/ 0 h 286"/>
                <a:gd name="T16" fmla="*/ 328 w 328"/>
                <a:gd name="T17" fmla="*/ 0 h 286"/>
                <a:gd name="T18" fmla="*/ 328 w 328"/>
                <a:gd name="T19"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8" h="286">
                  <a:moveTo>
                    <a:pt x="16" y="269"/>
                  </a:moveTo>
                  <a:lnTo>
                    <a:pt x="312" y="269"/>
                  </a:lnTo>
                  <a:lnTo>
                    <a:pt x="312" y="16"/>
                  </a:lnTo>
                  <a:lnTo>
                    <a:pt x="16" y="16"/>
                  </a:lnTo>
                  <a:lnTo>
                    <a:pt x="16" y="269"/>
                  </a:lnTo>
                  <a:close/>
                  <a:moveTo>
                    <a:pt x="328" y="286"/>
                  </a:moveTo>
                  <a:lnTo>
                    <a:pt x="0" y="286"/>
                  </a:lnTo>
                  <a:lnTo>
                    <a:pt x="0" y="0"/>
                  </a:lnTo>
                  <a:lnTo>
                    <a:pt x="328" y="0"/>
                  </a:lnTo>
                  <a:lnTo>
                    <a:pt x="328" y="28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Freeform 384">
              <a:extLst>
                <a:ext uri="{FF2B5EF4-FFF2-40B4-BE49-F238E27FC236}">
                  <a16:creationId xmlns:a16="http://schemas.microsoft.com/office/drawing/2014/main" id="{7B3CD720-8AD7-4F65-A1D1-BBC12D0EC34F}"/>
                </a:ext>
              </a:extLst>
            </p:cNvPr>
            <p:cNvSpPr>
              <a:spLocks/>
            </p:cNvSpPr>
            <p:nvPr/>
          </p:nvSpPr>
          <p:spPr bwMode="auto">
            <a:xfrm>
              <a:off x="5334000" y="3181351"/>
              <a:ext cx="166688" cy="125413"/>
            </a:xfrm>
            <a:custGeom>
              <a:avLst/>
              <a:gdLst>
                <a:gd name="T0" fmla="*/ 245 w 245"/>
                <a:gd name="T1" fmla="*/ 186 h 186"/>
                <a:gd name="T2" fmla="*/ 201 w 245"/>
                <a:gd name="T3" fmla="*/ 186 h 186"/>
                <a:gd name="T4" fmla="*/ 201 w 245"/>
                <a:gd name="T5" fmla="*/ 170 h 186"/>
                <a:gd name="T6" fmla="*/ 229 w 245"/>
                <a:gd name="T7" fmla="*/ 170 h 186"/>
                <a:gd name="T8" fmla="*/ 229 w 245"/>
                <a:gd name="T9" fmla="*/ 122 h 186"/>
                <a:gd name="T10" fmla="*/ 123 w 245"/>
                <a:gd name="T11" fmla="*/ 16 h 186"/>
                <a:gd name="T12" fmla="*/ 17 w 245"/>
                <a:gd name="T13" fmla="*/ 122 h 186"/>
                <a:gd name="T14" fmla="*/ 17 w 245"/>
                <a:gd name="T15" fmla="*/ 170 h 186"/>
                <a:gd name="T16" fmla="*/ 45 w 245"/>
                <a:gd name="T17" fmla="*/ 170 h 186"/>
                <a:gd name="T18" fmla="*/ 45 w 245"/>
                <a:gd name="T19" fmla="*/ 186 h 186"/>
                <a:gd name="T20" fmla="*/ 0 w 245"/>
                <a:gd name="T21" fmla="*/ 186 h 186"/>
                <a:gd name="T22" fmla="*/ 0 w 245"/>
                <a:gd name="T23" fmla="*/ 122 h 186"/>
                <a:gd name="T24" fmla="*/ 123 w 245"/>
                <a:gd name="T25" fmla="*/ 0 h 186"/>
                <a:gd name="T26" fmla="*/ 245 w 245"/>
                <a:gd name="T27" fmla="*/ 122 h 186"/>
                <a:gd name="T28" fmla="*/ 245 w 245"/>
                <a:gd name="T29"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5" h="186">
                  <a:moveTo>
                    <a:pt x="245" y="186"/>
                  </a:moveTo>
                  <a:lnTo>
                    <a:pt x="201" y="186"/>
                  </a:lnTo>
                  <a:lnTo>
                    <a:pt x="201" y="170"/>
                  </a:lnTo>
                  <a:lnTo>
                    <a:pt x="229" y="170"/>
                  </a:lnTo>
                  <a:lnTo>
                    <a:pt x="229" y="122"/>
                  </a:lnTo>
                  <a:cubicBezTo>
                    <a:pt x="229" y="64"/>
                    <a:pt x="181" y="16"/>
                    <a:pt x="123" y="16"/>
                  </a:cubicBezTo>
                  <a:cubicBezTo>
                    <a:pt x="65" y="16"/>
                    <a:pt x="17" y="64"/>
                    <a:pt x="17" y="122"/>
                  </a:cubicBezTo>
                  <a:lnTo>
                    <a:pt x="17" y="170"/>
                  </a:lnTo>
                  <a:lnTo>
                    <a:pt x="45" y="170"/>
                  </a:lnTo>
                  <a:lnTo>
                    <a:pt x="45" y="186"/>
                  </a:lnTo>
                  <a:lnTo>
                    <a:pt x="0" y="186"/>
                  </a:lnTo>
                  <a:lnTo>
                    <a:pt x="0" y="122"/>
                  </a:lnTo>
                  <a:cubicBezTo>
                    <a:pt x="0" y="55"/>
                    <a:pt x="55" y="0"/>
                    <a:pt x="123" y="0"/>
                  </a:cubicBezTo>
                  <a:cubicBezTo>
                    <a:pt x="190" y="0"/>
                    <a:pt x="245" y="55"/>
                    <a:pt x="245" y="122"/>
                  </a:cubicBezTo>
                  <a:lnTo>
                    <a:pt x="245" y="18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385">
              <a:extLst>
                <a:ext uri="{FF2B5EF4-FFF2-40B4-BE49-F238E27FC236}">
                  <a16:creationId xmlns:a16="http://schemas.microsoft.com/office/drawing/2014/main" id="{936D8AD6-00D5-4677-A0B1-A124F5104CEA}"/>
                </a:ext>
              </a:extLst>
            </p:cNvPr>
            <p:cNvSpPr>
              <a:spLocks noEditPoints="1"/>
            </p:cNvSpPr>
            <p:nvPr/>
          </p:nvSpPr>
          <p:spPr bwMode="auto">
            <a:xfrm>
              <a:off x="5386388" y="3351213"/>
              <a:ext cx="61913" cy="61913"/>
            </a:xfrm>
            <a:custGeom>
              <a:avLst/>
              <a:gdLst>
                <a:gd name="T0" fmla="*/ 46 w 91"/>
                <a:gd name="T1" fmla="*/ 17 h 91"/>
                <a:gd name="T2" fmla="*/ 17 w 91"/>
                <a:gd name="T3" fmla="*/ 46 h 91"/>
                <a:gd name="T4" fmla="*/ 46 w 91"/>
                <a:gd name="T5" fmla="*/ 75 h 91"/>
                <a:gd name="T6" fmla="*/ 75 w 91"/>
                <a:gd name="T7" fmla="*/ 46 h 91"/>
                <a:gd name="T8" fmla="*/ 46 w 91"/>
                <a:gd name="T9" fmla="*/ 17 h 91"/>
                <a:gd name="T10" fmla="*/ 46 w 91"/>
                <a:gd name="T11" fmla="*/ 91 h 91"/>
                <a:gd name="T12" fmla="*/ 0 w 91"/>
                <a:gd name="T13" fmla="*/ 46 h 91"/>
                <a:gd name="T14" fmla="*/ 46 w 91"/>
                <a:gd name="T15" fmla="*/ 0 h 91"/>
                <a:gd name="T16" fmla="*/ 91 w 91"/>
                <a:gd name="T17" fmla="*/ 46 h 91"/>
                <a:gd name="T18" fmla="*/ 46 w 91"/>
                <a:gd name="T1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91">
                  <a:moveTo>
                    <a:pt x="46" y="17"/>
                  </a:moveTo>
                  <a:cubicBezTo>
                    <a:pt x="30" y="17"/>
                    <a:pt x="17" y="30"/>
                    <a:pt x="17" y="46"/>
                  </a:cubicBezTo>
                  <a:cubicBezTo>
                    <a:pt x="17" y="62"/>
                    <a:pt x="30" y="75"/>
                    <a:pt x="46" y="75"/>
                  </a:cubicBezTo>
                  <a:cubicBezTo>
                    <a:pt x="62" y="75"/>
                    <a:pt x="75" y="62"/>
                    <a:pt x="75" y="46"/>
                  </a:cubicBezTo>
                  <a:cubicBezTo>
                    <a:pt x="75" y="30"/>
                    <a:pt x="62" y="17"/>
                    <a:pt x="46" y="17"/>
                  </a:cubicBezTo>
                  <a:close/>
                  <a:moveTo>
                    <a:pt x="46" y="91"/>
                  </a:moveTo>
                  <a:cubicBezTo>
                    <a:pt x="21" y="91"/>
                    <a:pt x="0" y="71"/>
                    <a:pt x="0" y="46"/>
                  </a:cubicBezTo>
                  <a:cubicBezTo>
                    <a:pt x="0" y="21"/>
                    <a:pt x="21" y="0"/>
                    <a:pt x="46" y="0"/>
                  </a:cubicBezTo>
                  <a:cubicBezTo>
                    <a:pt x="71" y="0"/>
                    <a:pt x="91" y="21"/>
                    <a:pt x="91" y="46"/>
                  </a:cubicBezTo>
                  <a:cubicBezTo>
                    <a:pt x="91" y="71"/>
                    <a:pt x="71" y="91"/>
                    <a:pt x="46" y="91"/>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Rectangle 386">
              <a:extLst>
                <a:ext uri="{FF2B5EF4-FFF2-40B4-BE49-F238E27FC236}">
                  <a16:creationId xmlns:a16="http://schemas.microsoft.com/office/drawing/2014/main" id="{269BE077-5192-442C-ACF1-EA8CCCAD4EBF}"/>
                </a:ext>
              </a:extLst>
            </p:cNvPr>
            <p:cNvSpPr>
              <a:spLocks noChangeArrowheads="1"/>
            </p:cNvSpPr>
            <p:nvPr/>
          </p:nvSpPr>
          <p:spPr bwMode="auto">
            <a:xfrm>
              <a:off x="5411788" y="3408363"/>
              <a:ext cx="11113" cy="36513"/>
            </a:xfrm>
            <a:prstGeom prst="rect">
              <a:avLst/>
            </a:prstGeom>
            <a:grp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Freeform 387">
              <a:extLst>
                <a:ext uri="{FF2B5EF4-FFF2-40B4-BE49-F238E27FC236}">
                  <a16:creationId xmlns:a16="http://schemas.microsoft.com/office/drawing/2014/main" id="{068C72D0-E798-4F0D-9CF3-AC31E45248DA}"/>
                </a:ext>
              </a:extLst>
            </p:cNvPr>
            <p:cNvSpPr>
              <a:spLocks/>
            </p:cNvSpPr>
            <p:nvPr/>
          </p:nvSpPr>
          <p:spPr bwMode="auto">
            <a:xfrm>
              <a:off x="5556250" y="3276601"/>
              <a:ext cx="115888" cy="71438"/>
            </a:xfrm>
            <a:custGeom>
              <a:avLst/>
              <a:gdLst>
                <a:gd name="T0" fmla="*/ 36 w 73"/>
                <a:gd name="T1" fmla="*/ 45 h 45"/>
                <a:gd name="T2" fmla="*/ 0 w 73"/>
                <a:gd name="T3" fmla="*/ 45 h 45"/>
                <a:gd name="T4" fmla="*/ 0 w 73"/>
                <a:gd name="T5" fmla="*/ 38 h 45"/>
                <a:gd name="T6" fmla="*/ 33 w 73"/>
                <a:gd name="T7" fmla="*/ 38 h 45"/>
                <a:gd name="T8" fmla="*/ 67 w 73"/>
                <a:gd name="T9" fmla="*/ 0 h 45"/>
                <a:gd name="T10" fmla="*/ 73 w 73"/>
                <a:gd name="T11" fmla="*/ 5 h 45"/>
                <a:gd name="T12" fmla="*/ 36 w 73"/>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73" h="45">
                  <a:moveTo>
                    <a:pt x="36" y="45"/>
                  </a:moveTo>
                  <a:lnTo>
                    <a:pt x="0" y="45"/>
                  </a:lnTo>
                  <a:lnTo>
                    <a:pt x="0" y="38"/>
                  </a:lnTo>
                  <a:lnTo>
                    <a:pt x="33" y="38"/>
                  </a:lnTo>
                  <a:lnTo>
                    <a:pt x="67" y="0"/>
                  </a:lnTo>
                  <a:lnTo>
                    <a:pt x="73" y="5"/>
                  </a:lnTo>
                  <a:lnTo>
                    <a:pt x="36" y="45"/>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388">
              <a:extLst>
                <a:ext uri="{FF2B5EF4-FFF2-40B4-BE49-F238E27FC236}">
                  <a16:creationId xmlns:a16="http://schemas.microsoft.com/office/drawing/2014/main" id="{75FDA533-35F7-4DB6-A7FD-453D547D6CC8}"/>
                </a:ext>
              </a:extLst>
            </p:cNvPr>
            <p:cNvSpPr>
              <a:spLocks noEditPoints="1"/>
            </p:cNvSpPr>
            <p:nvPr/>
          </p:nvSpPr>
          <p:spPr bwMode="auto">
            <a:xfrm>
              <a:off x="5653088" y="3230563"/>
              <a:ext cx="61913" cy="61913"/>
            </a:xfrm>
            <a:custGeom>
              <a:avLst/>
              <a:gdLst>
                <a:gd name="T0" fmla="*/ 46 w 92"/>
                <a:gd name="T1" fmla="*/ 16 h 92"/>
                <a:gd name="T2" fmla="*/ 16 w 92"/>
                <a:gd name="T3" fmla="*/ 46 h 92"/>
                <a:gd name="T4" fmla="*/ 46 w 92"/>
                <a:gd name="T5" fmla="*/ 75 h 92"/>
                <a:gd name="T6" fmla="*/ 75 w 92"/>
                <a:gd name="T7" fmla="*/ 46 h 92"/>
                <a:gd name="T8" fmla="*/ 46 w 92"/>
                <a:gd name="T9" fmla="*/ 16 h 92"/>
                <a:gd name="T10" fmla="*/ 46 w 92"/>
                <a:gd name="T11" fmla="*/ 92 h 92"/>
                <a:gd name="T12" fmla="*/ 0 w 92"/>
                <a:gd name="T13" fmla="*/ 46 h 92"/>
                <a:gd name="T14" fmla="*/ 46 w 92"/>
                <a:gd name="T15" fmla="*/ 0 h 92"/>
                <a:gd name="T16" fmla="*/ 92 w 92"/>
                <a:gd name="T17" fmla="*/ 46 h 92"/>
                <a:gd name="T18" fmla="*/ 46 w 92"/>
                <a:gd name="T1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46" y="16"/>
                  </a:moveTo>
                  <a:cubicBezTo>
                    <a:pt x="29" y="16"/>
                    <a:pt x="16" y="29"/>
                    <a:pt x="16" y="46"/>
                  </a:cubicBezTo>
                  <a:cubicBezTo>
                    <a:pt x="16" y="62"/>
                    <a:pt x="29" y="75"/>
                    <a:pt x="46" y="75"/>
                  </a:cubicBezTo>
                  <a:cubicBezTo>
                    <a:pt x="62" y="75"/>
                    <a:pt x="75" y="62"/>
                    <a:pt x="75" y="46"/>
                  </a:cubicBezTo>
                  <a:cubicBezTo>
                    <a:pt x="75" y="29"/>
                    <a:pt x="62" y="16"/>
                    <a:pt x="46" y="16"/>
                  </a:cubicBezTo>
                  <a:close/>
                  <a:moveTo>
                    <a:pt x="46" y="92"/>
                  </a:moveTo>
                  <a:cubicBezTo>
                    <a:pt x="20" y="92"/>
                    <a:pt x="0" y="71"/>
                    <a:pt x="0" y="46"/>
                  </a:cubicBezTo>
                  <a:cubicBezTo>
                    <a:pt x="0" y="20"/>
                    <a:pt x="20" y="0"/>
                    <a:pt x="46" y="0"/>
                  </a:cubicBezTo>
                  <a:cubicBezTo>
                    <a:pt x="71" y="0"/>
                    <a:pt x="92" y="20"/>
                    <a:pt x="92" y="46"/>
                  </a:cubicBezTo>
                  <a:cubicBezTo>
                    <a:pt x="92" y="71"/>
                    <a:pt x="71" y="92"/>
                    <a:pt x="46" y="92"/>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Freeform 389">
              <a:extLst>
                <a:ext uri="{FF2B5EF4-FFF2-40B4-BE49-F238E27FC236}">
                  <a16:creationId xmlns:a16="http://schemas.microsoft.com/office/drawing/2014/main" id="{C257EF5B-B500-4361-93B8-98F26162E971}"/>
                </a:ext>
              </a:extLst>
            </p:cNvPr>
            <p:cNvSpPr>
              <a:spLocks noEditPoints="1"/>
            </p:cNvSpPr>
            <p:nvPr/>
          </p:nvSpPr>
          <p:spPr bwMode="auto">
            <a:xfrm>
              <a:off x="5675313" y="3360738"/>
              <a:ext cx="61913" cy="61913"/>
            </a:xfrm>
            <a:custGeom>
              <a:avLst/>
              <a:gdLst>
                <a:gd name="T0" fmla="*/ 46 w 92"/>
                <a:gd name="T1" fmla="*/ 17 h 92"/>
                <a:gd name="T2" fmla="*/ 17 w 92"/>
                <a:gd name="T3" fmla="*/ 46 h 92"/>
                <a:gd name="T4" fmla="*/ 46 w 92"/>
                <a:gd name="T5" fmla="*/ 76 h 92"/>
                <a:gd name="T6" fmla="*/ 75 w 92"/>
                <a:gd name="T7" fmla="*/ 46 h 92"/>
                <a:gd name="T8" fmla="*/ 46 w 92"/>
                <a:gd name="T9" fmla="*/ 17 h 92"/>
                <a:gd name="T10" fmla="*/ 46 w 92"/>
                <a:gd name="T11" fmla="*/ 92 h 92"/>
                <a:gd name="T12" fmla="*/ 0 w 92"/>
                <a:gd name="T13" fmla="*/ 46 h 92"/>
                <a:gd name="T14" fmla="*/ 46 w 92"/>
                <a:gd name="T15" fmla="*/ 0 h 92"/>
                <a:gd name="T16" fmla="*/ 92 w 92"/>
                <a:gd name="T17" fmla="*/ 46 h 92"/>
                <a:gd name="T18" fmla="*/ 46 w 92"/>
                <a:gd name="T1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46" y="17"/>
                  </a:moveTo>
                  <a:cubicBezTo>
                    <a:pt x="30" y="17"/>
                    <a:pt x="17" y="30"/>
                    <a:pt x="17" y="46"/>
                  </a:cubicBezTo>
                  <a:cubicBezTo>
                    <a:pt x="17" y="62"/>
                    <a:pt x="30" y="76"/>
                    <a:pt x="46" y="76"/>
                  </a:cubicBezTo>
                  <a:cubicBezTo>
                    <a:pt x="62" y="76"/>
                    <a:pt x="75" y="62"/>
                    <a:pt x="75" y="46"/>
                  </a:cubicBezTo>
                  <a:cubicBezTo>
                    <a:pt x="75" y="30"/>
                    <a:pt x="62" y="17"/>
                    <a:pt x="46" y="17"/>
                  </a:cubicBezTo>
                  <a:close/>
                  <a:moveTo>
                    <a:pt x="46" y="92"/>
                  </a:moveTo>
                  <a:cubicBezTo>
                    <a:pt x="21" y="92"/>
                    <a:pt x="0" y="72"/>
                    <a:pt x="0" y="46"/>
                  </a:cubicBezTo>
                  <a:cubicBezTo>
                    <a:pt x="0" y="21"/>
                    <a:pt x="21" y="0"/>
                    <a:pt x="46" y="0"/>
                  </a:cubicBezTo>
                  <a:cubicBezTo>
                    <a:pt x="71" y="0"/>
                    <a:pt x="92" y="21"/>
                    <a:pt x="92" y="46"/>
                  </a:cubicBezTo>
                  <a:cubicBezTo>
                    <a:pt x="92" y="72"/>
                    <a:pt x="71" y="92"/>
                    <a:pt x="46" y="92"/>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reeform 390">
              <a:extLst>
                <a:ext uri="{FF2B5EF4-FFF2-40B4-BE49-F238E27FC236}">
                  <a16:creationId xmlns:a16="http://schemas.microsoft.com/office/drawing/2014/main" id="{0596D34F-A676-4415-B463-240203A73946}"/>
                </a:ext>
              </a:extLst>
            </p:cNvPr>
            <p:cNvSpPr>
              <a:spLocks/>
            </p:cNvSpPr>
            <p:nvPr/>
          </p:nvSpPr>
          <p:spPr bwMode="auto">
            <a:xfrm>
              <a:off x="5556250" y="3435351"/>
              <a:ext cx="115888" cy="71438"/>
            </a:xfrm>
            <a:custGeom>
              <a:avLst/>
              <a:gdLst>
                <a:gd name="T0" fmla="*/ 67 w 73"/>
                <a:gd name="T1" fmla="*/ 45 h 45"/>
                <a:gd name="T2" fmla="*/ 33 w 73"/>
                <a:gd name="T3" fmla="*/ 7 h 45"/>
                <a:gd name="T4" fmla="*/ 0 w 73"/>
                <a:gd name="T5" fmla="*/ 7 h 45"/>
                <a:gd name="T6" fmla="*/ 0 w 73"/>
                <a:gd name="T7" fmla="*/ 0 h 45"/>
                <a:gd name="T8" fmla="*/ 36 w 73"/>
                <a:gd name="T9" fmla="*/ 0 h 45"/>
                <a:gd name="T10" fmla="*/ 73 w 73"/>
                <a:gd name="T11" fmla="*/ 40 h 45"/>
                <a:gd name="T12" fmla="*/ 67 w 73"/>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73" h="45">
                  <a:moveTo>
                    <a:pt x="67" y="45"/>
                  </a:moveTo>
                  <a:lnTo>
                    <a:pt x="33" y="7"/>
                  </a:lnTo>
                  <a:lnTo>
                    <a:pt x="0" y="7"/>
                  </a:lnTo>
                  <a:lnTo>
                    <a:pt x="0" y="0"/>
                  </a:lnTo>
                  <a:lnTo>
                    <a:pt x="36" y="0"/>
                  </a:lnTo>
                  <a:lnTo>
                    <a:pt x="73" y="40"/>
                  </a:lnTo>
                  <a:lnTo>
                    <a:pt x="67" y="45"/>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Freeform 391">
              <a:extLst>
                <a:ext uri="{FF2B5EF4-FFF2-40B4-BE49-F238E27FC236}">
                  <a16:creationId xmlns:a16="http://schemas.microsoft.com/office/drawing/2014/main" id="{27A7EE55-98F3-47EA-8F9B-799628571006}"/>
                </a:ext>
              </a:extLst>
            </p:cNvPr>
            <p:cNvSpPr>
              <a:spLocks noEditPoints="1"/>
            </p:cNvSpPr>
            <p:nvPr/>
          </p:nvSpPr>
          <p:spPr bwMode="auto">
            <a:xfrm>
              <a:off x="5653088" y="3490913"/>
              <a:ext cx="61913" cy="61913"/>
            </a:xfrm>
            <a:custGeom>
              <a:avLst/>
              <a:gdLst>
                <a:gd name="T0" fmla="*/ 46 w 92"/>
                <a:gd name="T1" fmla="*/ 17 h 92"/>
                <a:gd name="T2" fmla="*/ 16 w 92"/>
                <a:gd name="T3" fmla="*/ 46 h 92"/>
                <a:gd name="T4" fmla="*/ 46 w 92"/>
                <a:gd name="T5" fmla="*/ 75 h 92"/>
                <a:gd name="T6" fmla="*/ 75 w 92"/>
                <a:gd name="T7" fmla="*/ 46 h 92"/>
                <a:gd name="T8" fmla="*/ 46 w 92"/>
                <a:gd name="T9" fmla="*/ 17 h 92"/>
                <a:gd name="T10" fmla="*/ 46 w 92"/>
                <a:gd name="T11" fmla="*/ 92 h 92"/>
                <a:gd name="T12" fmla="*/ 0 w 92"/>
                <a:gd name="T13" fmla="*/ 46 h 92"/>
                <a:gd name="T14" fmla="*/ 46 w 92"/>
                <a:gd name="T15" fmla="*/ 0 h 92"/>
                <a:gd name="T16" fmla="*/ 92 w 92"/>
                <a:gd name="T17" fmla="*/ 46 h 92"/>
                <a:gd name="T18" fmla="*/ 46 w 92"/>
                <a:gd name="T1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46" y="17"/>
                  </a:moveTo>
                  <a:cubicBezTo>
                    <a:pt x="29" y="17"/>
                    <a:pt x="16" y="30"/>
                    <a:pt x="16" y="46"/>
                  </a:cubicBezTo>
                  <a:cubicBezTo>
                    <a:pt x="16" y="62"/>
                    <a:pt x="29" y="75"/>
                    <a:pt x="46" y="75"/>
                  </a:cubicBezTo>
                  <a:cubicBezTo>
                    <a:pt x="62" y="75"/>
                    <a:pt x="75" y="62"/>
                    <a:pt x="75" y="46"/>
                  </a:cubicBezTo>
                  <a:cubicBezTo>
                    <a:pt x="75" y="30"/>
                    <a:pt x="62" y="17"/>
                    <a:pt x="46" y="17"/>
                  </a:cubicBezTo>
                  <a:close/>
                  <a:moveTo>
                    <a:pt x="46" y="92"/>
                  </a:moveTo>
                  <a:cubicBezTo>
                    <a:pt x="20" y="92"/>
                    <a:pt x="0" y="71"/>
                    <a:pt x="0" y="46"/>
                  </a:cubicBezTo>
                  <a:cubicBezTo>
                    <a:pt x="0" y="21"/>
                    <a:pt x="20" y="0"/>
                    <a:pt x="46" y="0"/>
                  </a:cubicBezTo>
                  <a:cubicBezTo>
                    <a:pt x="71" y="0"/>
                    <a:pt x="92" y="21"/>
                    <a:pt x="92" y="46"/>
                  </a:cubicBezTo>
                  <a:cubicBezTo>
                    <a:pt x="92" y="71"/>
                    <a:pt x="71" y="92"/>
                    <a:pt x="46" y="92"/>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Rectangle 392">
              <a:extLst>
                <a:ext uri="{FF2B5EF4-FFF2-40B4-BE49-F238E27FC236}">
                  <a16:creationId xmlns:a16="http://schemas.microsoft.com/office/drawing/2014/main" id="{EEE38805-69B8-4681-BD59-C741986DD650}"/>
                </a:ext>
              </a:extLst>
            </p:cNvPr>
            <p:cNvSpPr>
              <a:spLocks noChangeArrowheads="1"/>
            </p:cNvSpPr>
            <p:nvPr/>
          </p:nvSpPr>
          <p:spPr bwMode="auto">
            <a:xfrm>
              <a:off x="5556250" y="3386138"/>
              <a:ext cx="125413" cy="11113"/>
            </a:xfrm>
            <a:prstGeom prst="rect">
              <a:avLst/>
            </a:prstGeom>
            <a:grp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Freeform 393">
              <a:extLst>
                <a:ext uri="{FF2B5EF4-FFF2-40B4-BE49-F238E27FC236}">
                  <a16:creationId xmlns:a16="http://schemas.microsoft.com/office/drawing/2014/main" id="{337E26B1-B703-4F80-BD20-5FDE0800767C}"/>
                </a:ext>
              </a:extLst>
            </p:cNvPr>
            <p:cNvSpPr>
              <a:spLocks/>
            </p:cNvSpPr>
            <p:nvPr/>
          </p:nvSpPr>
          <p:spPr bwMode="auto">
            <a:xfrm>
              <a:off x="5162550" y="3435351"/>
              <a:ext cx="115888" cy="71438"/>
            </a:xfrm>
            <a:custGeom>
              <a:avLst/>
              <a:gdLst>
                <a:gd name="T0" fmla="*/ 5 w 73"/>
                <a:gd name="T1" fmla="*/ 45 h 45"/>
                <a:gd name="T2" fmla="*/ 0 w 73"/>
                <a:gd name="T3" fmla="*/ 40 h 45"/>
                <a:gd name="T4" fmla="*/ 37 w 73"/>
                <a:gd name="T5" fmla="*/ 0 h 45"/>
                <a:gd name="T6" fmla="*/ 73 w 73"/>
                <a:gd name="T7" fmla="*/ 0 h 45"/>
                <a:gd name="T8" fmla="*/ 73 w 73"/>
                <a:gd name="T9" fmla="*/ 7 h 45"/>
                <a:gd name="T10" fmla="*/ 40 w 73"/>
                <a:gd name="T11" fmla="*/ 7 h 45"/>
                <a:gd name="T12" fmla="*/ 5 w 73"/>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73" h="45">
                  <a:moveTo>
                    <a:pt x="5" y="45"/>
                  </a:moveTo>
                  <a:lnTo>
                    <a:pt x="0" y="40"/>
                  </a:lnTo>
                  <a:lnTo>
                    <a:pt x="37" y="0"/>
                  </a:lnTo>
                  <a:lnTo>
                    <a:pt x="73" y="0"/>
                  </a:lnTo>
                  <a:lnTo>
                    <a:pt x="73" y="7"/>
                  </a:lnTo>
                  <a:lnTo>
                    <a:pt x="40" y="7"/>
                  </a:lnTo>
                  <a:lnTo>
                    <a:pt x="5" y="45"/>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Freeform 394">
              <a:extLst>
                <a:ext uri="{FF2B5EF4-FFF2-40B4-BE49-F238E27FC236}">
                  <a16:creationId xmlns:a16="http://schemas.microsoft.com/office/drawing/2014/main" id="{78A1F276-8C1E-47D2-BCE8-9EBF24743664}"/>
                </a:ext>
              </a:extLst>
            </p:cNvPr>
            <p:cNvSpPr>
              <a:spLocks noEditPoints="1"/>
            </p:cNvSpPr>
            <p:nvPr/>
          </p:nvSpPr>
          <p:spPr bwMode="auto">
            <a:xfrm>
              <a:off x="5119688" y="3490913"/>
              <a:ext cx="61913" cy="61913"/>
            </a:xfrm>
            <a:custGeom>
              <a:avLst/>
              <a:gdLst>
                <a:gd name="T0" fmla="*/ 46 w 92"/>
                <a:gd name="T1" fmla="*/ 17 h 92"/>
                <a:gd name="T2" fmla="*/ 16 w 92"/>
                <a:gd name="T3" fmla="*/ 46 h 92"/>
                <a:gd name="T4" fmla="*/ 46 w 92"/>
                <a:gd name="T5" fmla="*/ 75 h 92"/>
                <a:gd name="T6" fmla="*/ 75 w 92"/>
                <a:gd name="T7" fmla="*/ 46 h 92"/>
                <a:gd name="T8" fmla="*/ 46 w 92"/>
                <a:gd name="T9" fmla="*/ 17 h 92"/>
                <a:gd name="T10" fmla="*/ 46 w 92"/>
                <a:gd name="T11" fmla="*/ 92 h 92"/>
                <a:gd name="T12" fmla="*/ 0 w 92"/>
                <a:gd name="T13" fmla="*/ 46 h 92"/>
                <a:gd name="T14" fmla="*/ 46 w 92"/>
                <a:gd name="T15" fmla="*/ 0 h 92"/>
                <a:gd name="T16" fmla="*/ 92 w 92"/>
                <a:gd name="T17" fmla="*/ 46 h 92"/>
                <a:gd name="T18" fmla="*/ 46 w 92"/>
                <a:gd name="T1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46" y="17"/>
                  </a:moveTo>
                  <a:cubicBezTo>
                    <a:pt x="29" y="17"/>
                    <a:pt x="16" y="30"/>
                    <a:pt x="16" y="46"/>
                  </a:cubicBezTo>
                  <a:cubicBezTo>
                    <a:pt x="16" y="62"/>
                    <a:pt x="29" y="75"/>
                    <a:pt x="46" y="75"/>
                  </a:cubicBezTo>
                  <a:cubicBezTo>
                    <a:pt x="62" y="75"/>
                    <a:pt x="75" y="62"/>
                    <a:pt x="75" y="46"/>
                  </a:cubicBezTo>
                  <a:cubicBezTo>
                    <a:pt x="75" y="30"/>
                    <a:pt x="62" y="17"/>
                    <a:pt x="46" y="17"/>
                  </a:cubicBezTo>
                  <a:close/>
                  <a:moveTo>
                    <a:pt x="46" y="92"/>
                  </a:moveTo>
                  <a:cubicBezTo>
                    <a:pt x="20" y="92"/>
                    <a:pt x="0" y="71"/>
                    <a:pt x="0" y="46"/>
                  </a:cubicBezTo>
                  <a:cubicBezTo>
                    <a:pt x="0" y="21"/>
                    <a:pt x="20" y="0"/>
                    <a:pt x="46" y="0"/>
                  </a:cubicBezTo>
                  <a:cubicBezTo>
                    <a:pt x="71" y="0"/>
                    <a:pt x="92" y="21"/>
                    <a:pt x="92" y="46"/>
                  </a:cubicBezTo>
                  <a:cubicBezTo>
                    <a:pt x="92" y="71"/>
                    <a:pt x="71" y="92"/>
                    <a:pt x="46" y="92"/>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Freeform 395">
              <a:extLst>
                <a:ext uri="{FF2B5EF4-FFF2-40B4-BE49-F238E27FC236}">
                  <a16:creationId xmlns:a16="http://schemas.microsoft.com/office/drawing/2014/main" id="{344FECB2-4BD8-4445-A521-6A8E61F9D826}"/>
                </a:ext>
              </a:extLst>
            </p:cNvPr>
            <p:cNvSpPr>
              <a:spLocks noEditPoints="1"/>
            </p:cNvSpPr>
            <p:nvPr/>
          </p:nvSpPr>
          <p:spPr bwMode="auto">
            <a:xfrm>
              <a:off x="5095875" y="3360738"/>
              <a:ext cx="61913" cy="61913"/>
            </a:xfrm>
            <a:custGeom>
              <a:avLst/>
              <a:gdLst>
                <a:gd name="T0" fmla="*/ 46 w 92"/>
                <a:gd name="T1" fmla="*/ 17 h 92"/>
                <a:gd name="T2" fmla="*/ 17 w 92"/>
                <a:gd name="T3" fmla="*/ 46 h 92"/>
                <a:gd name="T4" fmla="*/ 46 w 92"/>
                <a:gd name="T5" fmla="*/ 76 h 92"/>
                <a:gd name="T6" fmla="*/ 76 w 92"/>
                <a:gd name="T7" fmla="*/ 46 h 92"/>
                <a:gd name="T8" fmla="*/ 46 w 92"/>
                <a:gd name="T9" fmla="*/ 17 h 92"/>
                <a:gd name="T10" fmla="*/ 46 w 92"/>
                <a:gd name="T11" fmla="*/ 92 h 92"/>
                <a:gd name="T12" fmla="*/ 0 w 92"/>
                <a:gd name="T13" fmla="*/ 46 h 92"/>
                <a:gd name="T14" fmla="*/ 46 w 92"/>
                <a:gd name="T15" fmla="*/ 0 h 92"/>
                <a:gd name="T16" fmla="*/ 92 w 92"/>
                <a:gd name="T17" fmla="*/ 46 h 92"/>
                <a:gd name="T18" fmla="*/ 46 w 92"/>
                <a:gd name="T1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46" y="17"/>
                  </a:moveTo>
                  <a:cubicBezTo>
                    <a:pt x="30" y="17"/>
                    <a:pt x="17" y="30"/>
                    <a:pt x="17" y="46"/>
                  </a:cubicBezTo>
                  <a:cubicBezTo>
                    <a:pt x="17" y="62"/>
                    <a:pt x="30" y="76"/>
                    <a:pt x="46" y="76"/>
                  </a:cubicBezTo>
                  <a:cubicBezTo>
                    <a:pt x="62" y="76"/>
                    <a:pt x="76" y="62"/>
                    <a:pt x="76" y="46"/>
                  </a:cubicBezTo>
                  <a:cubicBezTo>
                    <a:pt x="76" y="30"/>
                    <a:pt x="62" y="17"/>
                    <a:pt x="46" y="17"/>
                  </a:cubicBezTo>
                  <a:close/>
                  <a:moveTo>
                    <a:pt x="46" y="92"/>
                  </a:moveTo>
                  <a:cubicBezTo>
                    <a:pt x="21" y="92"/>
                    <a:pt x="0" y="72"/>
                    <a:pt x="0" y="46"/>
                  </a:cubicBezTo>
                  <a:cubicBezTo>
                    <a:pt x="0" y="21"/>
                    <a:pt x="21" y="0"/>
                    <a:pt x="46" y="0"/>
                  </a:cubicBezTo>
                  <a:cubicBezTo>
                    <a:pt x="72" y="0"/>
                    <a:pt x="92" y="21"/>
                    <a:pt x="92" y="46"/>
                  </a:cubicBezTo>
                  <a:cubicBezTo>
                    <a:pt x="92" y="72"/>
                    <a:pt x="72" y="92"/>
                    <a:pt x="46" y="92"/>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Freeform 396">
              <a:extLst>
                <a:ext uri="{FF2B5EF4-FFF2-40B4-BE49-F238E27FC236}">
                  <a16:creationId xmlns:a16="http://schemas.microsoft.com/office/drawing/2014/main" id="{29BBB0D1-962E-4D1D-960E-E06158319A0A}"/>
                </a:ext>
              </a:extLst>
            </p:cNvPr>
            <p:cNvSpPr>
              <a:spLocks/>
            </p:cNvSpPr>
            <p:nvPr/>
          </p:nvSpPr>
          <p:spPr bwMode="auto">
            <a:xfrm>
              <a:off x="5162550" y="3276601"/>
              <a:ext cx="115888" cy="71438"/>
            </a:xfrm>
            <a:custGeom>
              <a:avLst/>
              <a:gdLst>
                <a:gd name="T0" fmla="*/ 73 w 73"/>
                <a:gd name="T1" fmla="*/ 45 h 45"/>
                <a:gd name="T2" fmla="*/ 37 w 73"/>
                <a:gd name="T3" fmla="*/ 45 h 45"/>
                <a:gd name="T4" fmla="*/ 0 w 73"/>
                <a:gd name="T5" fmla="*/ 5 h 45"/>
                <a:gd name="T6" fmla="*/ 5 w 73"/>
                <a:gd name="T7" fmla="*/ 0 h 45"/>
                <a:gd name="T8" fmla="*/ 40 w 73"/>
                <a:gd name="T9" fmla="*/ 38 h 45"/>
                <a:gd name="T10" fmla="*/ 73 w 73"/>
                <a:gd name="T11" fmla="*/ 38 h 45"/>
                <a:gd name="T12" fmla="*/ 73 w 73"/>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73" h="45">
                  <a:moveTo>
                    <a:pt x="73" y="45"/>
                  </a:moveTo>
                  <a:lnTo>
                    <a:pt x="37" y="45"/>
                  </a:lnTo>
                  <a:lnTo>
                    <a:pt x="0" y="5"/>
                  </a:lnTo>
                  <a:lnTo>
                    <a:pt x="5" y="0"/>
                  </a:lnTo>
                  <a:lnTo>
                    <a:pt x="40" y="38"/>
                  </a:lnTo>
                  <a:lnTo>
                    <a:pt x="73" y="38"/>
                  </a:lnTo>
                  <a:lnTo>
                    <a:pt x="73" y="45"/>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Freeform 397">
              <a:extLst>
                <a:ext uri="{FF2B5EF4-FFF2-40B4-BE49-F238E27FC236}">
                  <a16:creationId xmlns:a16="http://schemas.microsoft.com/office/drawing/2014/main" id="{7412EBE8-665C-47F0-B635-2F0F354AE0A0}"/>
                </a:ext>
              </a:extLst>
            </p:cNvPr>
            <p:cNvSpPr>
              <a:spLocks noEditPoints="1"/>
            </p:cNvSpPr>
            <p:nvPr/>
          </p:nvSpPr>
          <p:spPr bwMode="auto">
            <a:xfrm>
              <a:off x="5119688" y="3230563"/>
              <a:ext cx="61913" cy="61913"/>
            </a:xfrm>
            <a:custGeom>
              <a:avLst/>
              <a:gdLst>
                <a:gd name="T0" fmla="*/ 46 w 92"/>
                <a:gd name="T1" fmla="*/ 16 h 92"/>
                <a:gd name="T2" fmla="*/ 16 w 92"/>
                <a:gd name="T3" fmla="*/ 46 h 92"/>
                <a:gd name="T4" fmla="*/ 46 w 92"/>
                <a:gd name="T5" fmla="*/ 75 h 92"/>
                <a:gd name="T6" fmla="*/ 75 w 92"/>
                <a:gd name="T7" fmla="*/ 46 h 92"/>
                <a:gd name="T8" fmla="*/ 46 w 92"/>
                <a:gd name="T9" fmla="*/ 16 h 92"/>
                <a:gd name="T10" fmla="*/ 46 w 92"/>
                <a:gd name="T11" fmla="*/ 92 h 92"/>
                <a:gd name="T12" fmla="*/ 0 w 92"/>
                <a:gd name="T13" fmla="*/ 46 h 92"/>
                <a:gd name="T14" fmla="*/ 46 w 92"/>
                <a:gd name="T15" fmla="*/ 0 h 92"/>
                <a:gd name="T16" fmla="*/ 92 w 92"/>
                <a:gd name="T17" fmla="*/ 46 h 92"/>
                <a:gd name="T18" fmla="*/ 46 w 92"/>
                <a:gd name="T1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46" y="16"/>
                  </a:moveTo>
                  <a:cubicBezTo>
                    <a:pt x="29" y="16"/>
                    <a:pt x="16" y="29"/>
                    <a:pt x="16" y="46"/>
                  </a:cubicBezTo>
                  <a:cubicBezTo>
                    <a:pt x="16" y="62"/>
                    <a:pt x="29" y="75"/>
                    <a:pt x="46" y="75"/>
                  </a:cubicBezTo>
                  <a:cubicBezTo>
                    <a:pt x="62" y="75"/>
                    <a:pt x="75" y="62"/>
                    <a:pt x="75" y="46"/>
                  </a:cubicBezTo>
                  <a:cubicBezTo>
                    <a:pt x="75" y="29"/>
                    <a:pt x="62" y="16"/>
                    <a:pt x="46" y="16"/>
                  </a:cubicBezTo>
                  <a:close/>
                  <a:moveTo>
                    <a:pt x="46" y="92"/>
                  </a:moveTo>
                  <a:cubicBezTo>
                    <a:pt x="20" y="92"/>
                    <a:pt x="0" y="71"/>
                    <a:pt x="0" y="46"/>
                  </a:cubicBezTo>
                  <a:cubicBezTo>
                    <a:pt x="0" y="20"/>
                    <a:pt x="20" y="0"/>
                    <a:pt x="46" y="0"/>
                  </a:cubicBezTo>
                  <a:cubicBezTo>
                    <a:pt x="71" y="0"/>
                    <a:pt x="92" y="20"/>
                    <a:pt x="92" y="46"/>
                  </a:cubicBezTo>
                  <a:cubicBezTo>
                    <a:pt x="92" y="71"/>
                    <a:pt x="71" y="92"/>
                    <a:pt x="46" y="92"/>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Rectangle 398">
              <a:extLst>
                <a:ext uri="{FF2B5EF4-FFF2-40B4-BE49-F238E27FC236}">
                  <a16:creationId xmlns:a16="http://schemas.microsoft.com/office/drawing/2014/main" id="{E8C4BA3D-8242-474E-B421-872D59DB634F}"/>
                </a:ext>
              </a:extLst>
            </p:cNvPr>
            <p:cNvSpPr>
              <a:spLocks noChangeArrowheads="1"/>
            </p:cNvSpPr>
            <p:nvPr/>
          </p:nvSpPr>
          <p:spPr bwMode="auto">
            <a:xfrm>
              <a:off x="5153025" y="3386138"/>
              <a:ext cx="125413" cy="11113"/>
            </a:xfrm>
            <a:prstGeom prst="rect">
              <a:avLst/>
            </a:prstGeom>
            <a:grp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75" name="Analytics22" descr="{&quot;Key&quot;:&quot;POWER_USER_SHAPE_ICON&quot;,&quot;Value&quot;:&quot;POWER_USER_SHAPE_ICON_STYLE_1&quot;}">
            <a:extLst>
              <a:ext uri="{FF2B5EF4-FFF2-40B4-BE49-F238E27FC236}">
                <a16:creationId xmlns:a16="http://schemas.microsoft.com/office/drawing/2014/main" id="{09F8DDC7-3778-4AD6-941A-65299AA5E063}"/>
              </a:ext>
            </a:extLst>
          </p:cNvPr>
          <p:cNvGrpSpPr>
            <a:grpSpLocks noChangeAspect="1"/>
          </p:cNvGrpSpPr>
          <p:nvPr/>
        </p:nvGrpSpPr>
        <p:grpSpPr>
          <a:xfrm>
            <a:off x="1880248" y="3476232"/>
            <a:ext cx="811261" cy="661932"/>
            <a:chOff x="4287838" y="1695450"/>
            <a:chExt cx="896938" cy="731838"/>
          </a:xfrm>
          <a:noFill/>
        </p:grpSpPr>
        <p:sp>
          <p:nvSpPr>
            <p:cNvPr id="176" name="Oval 291">
              <a:extLst>
                <a:ext uri="{FF2B5EF4-FFF2-40B4-BE49-F238E27FC236}">
                  <a16:creationId xmlns:a16="http://schemas.microsoft.com/office/drawing/2014/main" id="{127DA9E6-4A39-46B2-BAEA-C39D035AE627}"/>
                </a:ext>
              </a:extLst>
            </p:cNvPr>
            <p:cNvSpPr>
              <a:spLocks noChangeArrowheads="1"/>
            </p:cNvSpPr>
            <p:nvPr/>
          </p:nvSpPr>
          <p:spPr bwMode="auto">
            <a:xfrm>
              <a:off x="4621213" y="1754188"/>
              <a:ext cx="257175" cy="257175"/>
            </a:xfrm>
            <a:prstGeom prst="ellipse">
              <a:avLst/>
            </a:prstGeom>
            <a:grpFill/>
            <a:ln w="381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 name="Line 292">
              <a:extLst>
                <a:ext uri="{FF2B5EF4-FFF2-40B4-BE49-F238E27FC236}">
                  <a16:creationId xmlns:a16="http://schemas.microsoft.com/office/drawing/2014/main" id="{A08D85D1-1F60-4C84-BC5D-BF93FD4361AD}"/>
                </a:ext>
              </a:extLst>
            </p:cNvPr>
            <p:cNvSpPr>
              <a:spLocks noChangeShapeType="1"/>
            </p:cNvSpPr>
            <p:nvPr/>
          </p:nvSpPr>
          <p:spPr bwMode="auto">
            <a:xfrm>
              <a:off x="4921250" y="2290763"/>
              <a:ext cx="95250" cy="0"/>
            </a:xfrm>
            <a:prstGeom prst="line">
              <a:avLst/>
            </a:prstGeom>
            <a:grpFill/>
            <a:ln w="381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 name="Line 293">
              <a:extLst>
                <a:ext uri="{FF2B5EF4-FFF2-40B4-BE49-F238E27FC236}">
                  <a16:creationId xmlns:a16="http://schemas.microsoft.com/office/drawing/2014/main" id="{C62F4AD7-586C-4BF6-BB1E-FB7C71E500F3}"/>
                </a:ext>
              </a:extLst>
            </p:cNvPr>
            <p:cNvSpPr>
              <a:spLocks noChangeShapeType="1"/>
            </p:cNvSpPr>
            <p:nvPr/>
          </p:nvSpPr>
          <p:spPr bwMode="auto">
            <a:xfrm>
              <a:off x="4484688" y="2290763"/>
              <a:ext cx="92075" cy="0"/>
            </a:xfrm>
            <a:prstGeom prst="line">
              <a:avLst/>
            </a:prstGeom>
            <a:grpFill/>
            <a:ln w="381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 name="Freeform 294">
              <a:extLst>
                <a:ext uri="{FF2B5EF4-FFF2-40B4-BE49-F238E27FC236}">
                  <a16:creationId xmlns:a16="http://schemas.microsoft.com/office/drawing/2014/main" id="{C7690915-E29E-4277-B7C5-A471FE298A09}"/>
                </a:ext>
              </a:extLst>
            </p:cNvPr>
            <p:cNvSpPr>
              <a:spLocks/>
            </p:cNvSpPr>
            <p:nvPr/>
          </p:nvSpPr>
          <p:spPr bwMode="auto">
            <a:xfrm>
              <a:off x="4525963" y="2352675"/>
              <a:ext cx="447675" cy="74613"/>
            </a:xfrm>
            <a:custGeom>
              <a:avLst/>
              <a:gdLst>
                <a:gd name="T0" fmla="*/ 527 w 596"/>
                <a:gd name="T1" fmla="*/ 0 h 100"/>
                <a:gd name="T2" fmla="*/ 583 w 596"/>
                <a:gd name="T3" fmla="*/ 0 h 100"/>
                <a:gd name="T4" fmla="*/ 592 w 596"/>
                <a:gd name="T5" fmla="*/ 16 h 100"/>
                <a:gd name="T6" fmla="*/ 534 w 596"/>
                <a:gd name="T7" fmla="*/ 91 h 100"/>
                <a:gd name="T8" fmla="*/ 514 w 596"/>
                <a:gd name="T9" fmla="*/ 98 h 100"/>
                <a:gd name="T10" fmla="*/ 82 w 596"/>
                <a:gd name="T11" fmla="*/ 98 h 100"/>
                <a:gd name="T12" fmla="*/ 66 w 596"/>
                <a:gd name="T13" fmla="*/ 92 h 100"/>
                <a:gd name="T14" fmla="*/ 4 w 596"/>
                <a:gd name="T15" fmla="*/ 16 h 100"/>
                <a:gd name="T16" fmla="*/ 13 w 596"/>
                <a:gd name="T17" fmla="*/ 0 h 100"/>
                <a:gd name="T18" fmla="*/ 68 w 59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6" h="100">
                  <a:moveTo>
                    <a:pt x="527" y="0"/>
                  </a:moveTo>
                  <a:lnTo>
                    <a:pt x="583" y="0"/>
                  </a:lnTo>
                  <a:cubicBezTo>
                    <a:pt x="592" y="0"/>
                    <a:pt x="596" y="7"/>
                    <a:pt x="592" y="16"/>
                  </a:cubicBezTo>
                  <a:lnTo>
                    <a:pt x="534" y="91"/>
                  </a:lnTo>
                  <a:cubicBezTo>
                    <a:pt x="527" y="100"/>
                    <a:pt x="521" y="98"/>
                    <a:pt x="514" y="98"/>
                  </a:cubicBezTo>
                  <a:lnTo>
                    <a:pt x="82" y="98"/>
                  </a:lnTo>
                  <a:cubicBezTo>
                    <a:pt x="74" y="98"/>
                    <a:pt x="71" y="100"/>
                    <a:pt x="66" y="92"/>
                  </a:cubicBezTo>
                  <a:lnTo>
                    <a:pt x="4" y="16"/>
                  </a:lnTo>
                  <a:cubicBezTo>
                    <a:pt x="0" y="7"/>
                    <a:pt x="4" y="0"/>
                    <a:pt x="13" y="0"/>
                  </a:cubicBezTo>
                  <a:lnTo>
                    <a:pt x="68" y="0"/>
                  </a:lnTo>
                </a:path>
              </a:pathLst>
            </a:custGeom>
            <a:grpFill/>
            <a:ln w="381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 name="Freeform 295">
              <a:extLst>
                <a:ext uri="{FF2B5EF4-FFF2-40B4-BE49-F238E27FC236}">
                  <a16:creationId xmlns:a16="http://schemas.microsoft.com/office/drawing/2014/main" id="{2FB243F7-ADDA-466C-8E10-FD326F1E28E3}"/>
                </a:ext>
              </a:extLst>
            </p:cNvPr>
            <p:cNvSpPr>
              <a:spLocks/>
            </p:cNvSpPr>
            <p:nvPr/>
          </p:nvSpPr>
          <p:spPr bwMode="auto">
            <a:xfrm>
              <a:off x="4576763" y="2182813"/>
              <a:ext cx="344488" cy="242888"/>
            </a:xfrm>
            <a:custGeom>
              <a:avLst/>
              <a:gdLst>
                <a:gd name="T0" fmla="*/ 0 w 459"/>
                <a:gd name="T1" fmla="*/ 320 h 322"/>
                <a:gd name="T2" fmla="*/ 0 w 459"/>
                <a:gd name="T3" fmla="*/ 13 h 322"/>
                <a:gd name="T4" fmla="*/ 14 w 459"/>
                <a:gd name="T5" fmla="*/ 0 h 322"/>
                <a:gd name="T6" fmla="*/ 446 w 459"/>
                <a:gd name="T7" fmla="*/ 0 h 322"/>
                <a:gd name="T8" fmla="*/ 459 w 459"/>
                <a:gd name="T9" fmla="*/ 13 h 322"/>
                <a:gd name="T10" fmla="*/ 459 w 459"/>
                <a:gd name="T11" fmla="*/ 322 h 322"/>
              </a:gdLst>
              <a:ahLst/>
              <a:cxnLst>
                <a:cxn ang="0">
                  <a:pos x="T0" y="T1"/>
                </a:cxn>
                <a:cxn ang="0">
                  <a:pos x="T2" y="T3"/>
                </a:cxn>
                <a:cxn ang="0">
                  <a:pos x="T4" y="T5"/>
                </a:cxn>
                <a:cxn ang="0">
                  <a:pos x="T6" y="T7"/>
                </a:cxn>
                <a:cxn ang="0">
                  <a:pos x="T8" y="T9"/>
                </a:cxn>
                <a:cxn ang="0">
                  <a:pos x="T10" y="T11"/>
                </a:cxn>
              </a:cxnLst>
              <a:rect l="0" t="0" r="r" b="b"/>
              <a:pathLst>
                <a:path w="459" h="322">
                  <a:moveTo>
                    <a:pt x="0" y="320"/>
                  </a:moveTo>
                  <a:lnTo>
                    <a:pt x="0" y="13"/>
                  </a:lnTo>
                  <a:cubicBezTo>
                    <a:pt x="0" y="6"/>
                    <a:pt x="6" y="0"/>
                    <a:pt x="14" y="0"/>
                  </a:cubicBezTo>
                  <a:lnTo>
                    <a:pt x="446" y="0"/>
                  </a:lnTo>
                  <a:cubicBezTo>
                    <a:pt x="453" y="0"/>
                    <a:pt x="459" y="6"/>
                    <a:pt x="459" y="13"/>
                  </a:cubicBezTo>
                  <a:lnTo>
                    <a:pt x="459" y="322"/>
                  </a:lnTo>
                </a:path>
              </a:pathLst>
            </a:custGeom>
            <a:grpFill/>
            <a:ln w="381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 name="Line 296">
              <a:extLst>
                <a:ext uri="{FF2B5EF4-FFF2-40B4-BE49-F238E27FC236}">
                  <a16:creationId xmlns:a16="http://schemas.microsoft.com/office/drawing/2014/main" id="{4F4B2E29-D2A4-4AF3-A208-70510639698B}"/>
                </a:ext>
              </a:extLst>
            </p:cNvPr>
            <p:cNvSpPr>
              <a:spLocks noChangeShapeType="1"/>
            </p:cNvSpPr>
            <p:nvPr/>
          </p:nvSpPr>
          <p:spPr bwMode="auto">
            <a:xfrm>
              <a:off x="4746625" y="2303463"/>
              <a:ext cx="6350" cy="0"/>
            </a:xfrm>
            <a:prstGeom prst="line">
              <a:avLst/>
            </a:prstGeom>
            <a:grpFill/>
            <a:ln w="38100" cap="rnd">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 name="Line 297">
              <a:extLst>
                <a:ext uri="{FF2B5EF4-FFF2-40B4-BE49-F238E27FC236}">
                  <a16:creationId xmlns:a16="http://schemas.microsoft.com/office/drawing/2014/main" id="{18AB3F75-BF42-41E3-879D-DA6B26082C18}"/>
                </a:ext>
              </a:extLst>
            </p:cNvPr>
            <p:cNvSpPr>
              <a:spLocks noChangeShapeType="1"/>
            </p:cNvSpPr>
            <p:nvPr/>
          </p:nvSpPr>
          <p:spPr bwMode="auto">
            <a:xfrm>
              <a:off x="4397375" y="1766888"/>
              <a:ext cx="0" cy="119063"/>
            </a:xfrm>
            <a:prstGeom prst="line">
              <a:avLst/>
            </a:prstGeom>
            <a:grpFill/>
            <a:ln w="381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 name="Line 298">
              <a:extLst>
                <a:ext uri="{FF2B5EF4-FFF2-40B4-BE49-F238E27FC236}">
                  <a16:creationId xmlns:a16="http://schemas.microsoft.com/office/drawing/2014/main" id="{10AFC12C-4D7F-48AC-86A6-708AB1117090}"/>
                </a:ext>
              </a:extLst>
            </p:cNvPr>
            <p:cNvSpPr>
              <a:spLocks noChangeShapeType="1"/>
            </p:cNvSpPr>
            <p:nvPr/>
          </p:nvSpPr>
          <p:spPr bwMode="auto">
            <a:xfrm>
              <a:off x="4549775" y="1739900"/>
              <a:ext cx="0" cy="146050"/>
            </a:xfrm>
            <a:prstGeom prst="line">
              <a:avLst/>
            </a:prstGeom>
            <a:grpFill/>
            <a:ln w="381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 name="Line 299">
              <a:extLst>
                <a:ext uri="{FF2B5EF4-FFF2-40B4-BE49-F238E27FC236}">
                  <a16:creationId xmlns:a16="http://schemas.microsoft.com/office/drawing/2014/main" id="{2ED0A011-B161-434B-B679-8F47FEB676D4}"/>
                </a:ext>
              </a:extLst>
            </p:cNvPr>
            <p:cNvSpPr>
              <a:spLocks noChangeShapeType="1"/>
            </p:cNvSpPr>
            <p:nvPr/>
          </p:nvSpPr>
          <p:spPr bwMode="auto">
            <a:xfrm>
              <a:off x="4473575" y="1695450"/>
              <a:ext cx="0" cy="190500"/>
            </a:xfrm>
            <a:prstGeom prst="line">
              <a:avLst/>
            </a:prstGeom>
            <a:grpFill/>
            <a:ln w="381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 name="Oval 300">
              <a:extLst>
                <a:ext uri="{FF2B5EF4-FFF2-40B4-BE49-F238E27FC236}">
                  <a16:creationId xmlns:a16="http://schemas.microsoft.com/office/drawing/2014/main" id="{22BC3D67-1D5B-4CE4-9B51-112357D2E24A}"/>
                </a:ext>
              </a:extLst>
            </p:cNvPr>
            <p:cNvSpPr>
              <a:spLocks noChangeArrowheads="1"/>
            </p:cNvSpPr>
            <p:nvPr/>
          </p:nvSpPr>
          <p:spPr bwMode="auto">
            <a:xfrm>
              <a:off x="4454525" y="2025650"/>
              <a:ext cx="55563" cy="57150"/>
            </a:xfrm>
            <a:prstGeom prst="ellipse">
              <a:avLst/>
            </a:prstGeom>
            <a:grpFill/>
            <a:ln w="381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 name="Oval 301">
              <a:extLst>
                <a:ext uri="{FF2B5EF4-FFF2-40B4-BE49-F238E27FC236}">
                  <a16:creationId xmlns:a16="http://schemas.microsoft.com/office/drawing/2014/main" id="{86F7D9A0-40D5-4DC2-BD6F-102C79555FF5}"/>
                </a:ext>
              </a:extLst>
            </p:cNvPr>
            <p:cNvSpPr>
              <a:spLocks noChangeArrowheads="1"/>
            </p:cNvSpPr>
            <p:nvPr/>
          </p:nvSpPr>
          <p:spPr bwMode="auto">
            <a:xfrm>
              <a:off x="4525963" y="1941513"/>
              <a:ext cx="57150" cy="55563"/>
            </a:xfrm>
            <a:prstGeom prst="ellipse">
              <a:avLst/>
            </a:prstGeom>
            <a:grpFill/>
            <a:ln w="381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 name="Oval 302">
              <a:extLst>
                <a:ext uri="{FF2B5EF4-FFF2-40B4-BE49-F238E27FC236}">
                  <a16:creationId xmlns:a16="http://schemas.microsoft.com/office/drawing/2014/main" id="{1F2D2066-274B-4E49-B0D0-1F858A47B731}"/>
                </a:ext>
              </a:extLst>
            </p:cNvPr>
            <p:cNvSpPr>
              <a:spLocks noChangeArrowheads="1"/>
            </p:cNvSpPr>
            <p:nvPr/>
          </p:nvSpPr>
          <p:spPr bwMode="auto">
            <a:xfrm>
              <a:off x="4287838" y="2054225"/>
              <a:ext cx="57150" cy="55563"/>
            </a:xfrm>
            <a:prstGeom prst="ellipse">
              <a:avLst/>
            </a:prstGeom>
            <a:grpFill/>
            <a:ln w="381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 name="Oval 303">
              <a:extLst>
                <a:ext uri="{FF2B5EF4-FFF2-40B4-BE49-F238E27FC236}">
                  <a16:creationId xmlns:a16="http://schemas.microsoft.com/office/drawing/2014/main" id="{58AB6894-D109-4B74-BC3C-38F136BF7D63}"/>
                </a:ext>
              </a:extLst>
            </p:cNvPr>
            <p:cNvSpPr>
              <a:spLocks noChangeArrowheads="1"/>
            </p:cNvSpPr>
            <p:nvPr/>
          </p:nvSpPr>
          <p:spPr bwMode="auto">
            <a:xfrm>
              <a:off x="4359275" y="1968500"/>
              <a:ext cx="57150" cy="57150"/>
            </a:xfrm>
            <a:prstGeom prst="ellipse">
              <a:avLst/>
            </a:prstGeom>
            <a:grpFill/>
            <a:ln w="381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 name="Line 304">
              <a:extLst>
                <a:ext uri="{FF2B5EF4-FFF2-40B4-BE49-F238E27FC236}">
                  <a16:creationId xmlns:a16="http://schemas.microsoft.com/office/drawing/2014/main" id="{73CD503A-AB1A-4AF4-990D-94E47DE716C2}"/>
                </a:ext>
              </a:extLst>
            </p:cNvPr>
            <p:cNvSpPr>
              <a:spLocks noChangeShapeType="1"/>
            </p:cNvSpPr>
            <p:nvPr/>
          </p:nvSpPr>
          <p:spPr bwMode="auto">
            <a:xfrm flipV="1">
              <a:off x="4335463" y="2019300"/>
              <a:ext cx="33338" cy="41275"/>
            </a:xfrm>
            <a:prstGeom prst="line">
              <a:avLst/>
            </a:prstGeom>
            <a:grpFill/>
            <a:ln w="381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 name="Line 305">
              <a:extLst>
                <a:ext uri="{FF2B5EF4-FFF2-40B4-BE49-F238E27FC236}">
                  <a16:creationId xmlns:a16="http://schemas.microsoft.com/office/drawing/2014/main" id="{25E0DED2-50D9-425C-B9BD-51C00D781AC8}"/>
                </a:ext>
              </a:extLst>
            </p:cNvPr>
            <p:cNvSpPr>
              <a:spLocks noChangeShapeType="1"/>
            </p:cNvSpPr>
            <p:nvPr/>
          </p:nvSpPr>
          <p:spPr bwMode="auto">
            <a:xfrm>
              <a:off x="4411663" y="2012950"/>
              <a:ext cx="47625" cy="26988"/>
            </a:xfrm>
            <a:prstGeom prst="line">
              <a:avLst/>
            </a:prstGeom>
            <a:grpFill/>
            <a:ln w="381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 name="Line 306">
              <a:extLst>
                <a:ext uri="{FF2B5EF4-FFF2-40B4-BE49-F238E27FC236}">
                  <a16:creationId xmlns:a16="http://schemas.microsoft.com/office/drawing/2014/main" id="{CA0CE45A-8184-4D15-B33D-0EE63D27EBA7}"/>
                </a:ext>
              </a:extLst>
            </p:cNvPr>
            <p:cNvSpPr>
              <a:spLocks noChangeShapeType="1"/>
            </p:cNvSpPr>
            <p:nvPr/>
          </p:nvSpPr>
          <p:spPr bwMode="auto">
            <a:xfrm flipV="1">
              <a:off x="4500563" y="1992313"/>
              <a:ext cx="36513" cy="39688"/>
            </a:xfrm>
            <a:prstGeom prst="line">
              <a:avLst/>
            </a:prstGeom>
            <a:grpFill/>
            <a:ln w="381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2" name="Freeform 307">
              <a:extLst>
                <a:ext uri="{FF2B5EF4-FFF2-40B4-BE49-F238E27FC236}">
                  <a16:creationId xmlns:a16="http://schemas.microsoft.com/office/drawing/2014/main" id="{1E4EFF91-F0EF-413F-8D20-3A0598F04D84}"/>
                </a:ext>
              </a:extLst>
            </p:cNvPr>
            <p:cNvSpPr>
              <a:spLocks/>
            </p:cNvSpPr>
            <p:nvPr/>
          </p:nvSpPr>
          <p:spPr bwMode="auto">
            <a:xfrm>
              <a:off x="4919663" y="1792288"/>
              <a:ext cx="139700" cy="207963"/>
            </a:xfrm>
            <a:custGeom>
              <a:avLst/>
              <a:gdLst>
                <a:gd name="T0" fmla="*/ 187 w 187"/>
                <a:gd name="T1" fmla="*/ 168 h 278"/>
                <a:gd name="T2" fmla="*/ 60 w 187"/>
                <a:gd name="T3" fmla="*/ 278 h 278"/>
                <a:gd name="T4" fmla="*/ 77 w 187"/>
                <a:gd name="T5" fmla="*/ 41 h 278"/>
                <a:gd name="T6" fmla="*/ 187 w 187"/>
                <a:gd name="T7" fmla="*/ 0 h 278"/>
                <a:gd name="T8" fmla="*/ 187 w 187"/>
                <a:gd name="T9" fmla="*/ 168 h 278"/>
              </a:gdLst>
              <a:ahLst/>
              <a:cxnLst>
                <a:cxn ang="0">
                  <a:pos x="T0" y="T1"/>
                </a:cxn>
                <a:cxn ang="0">
                  <a:pos x="T2" y="T3"/>
                </a:cxn>
                <a:cxn ang="0">
                  <a:pos x="T4" y="T5"/>
                </a:cxn>
                <a:cxn ang="0">
                  <a:pos x="T6" y="T7"/>
                </a:cxn>
                <a:cxn ang="0">
                  <a:pos x="T8" y="T9"/>
                </a:cxn>
              </a:cxnLst>
              <a:rect l="0" t="0" r="r" b="b"/>
              <a:pathLst>
                <a:path w="187" h="278">
                  <a:moveTo>
                    <a:pt x="187" y="168"/>
                  </a:moveTo>
                  <a:lnTo>
                    <a:pt x="60" y="278"/>
                  </a:lnTo>
                  <a:cubicBezTo>
                    <a:pt x="0" y="208"/>
                    <a:pt x="7" y="102"/>
                    <a:pt x="77" y="41"/>
                  </a:cubicBezTo>
                  <a:cubicBezTo>
                    <a:pt x="109" y="13"/>
                    <a:pt x="145" y="0"/>
                    <a:pt x="187" y="0"/>
                  </a:cubicBezTo>
                  <a:lnTo>
                    <a:pt x="187" y="168"/>
                  </a:lnTo>
                  <a:close/>
                </a:path>
              </a:pathLst>
            </a:custGeom>
            <a:grpFill/>
            <a:ln w="381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3" name="Freeform 308">
              <a:extLst>
                <a:ext uri="{FF2B5EF4-FFF2-40B4-BE49-F238E27FC236}">
                  <a16:creationId xmlns:a16="http://schemas.microsoft.com/office/drawing/2014/main" id="{FAE1F8AF-6533-49AB-AA15-3BAE9395665E}"/>
                </a:ext>
              </a:extLst>
            </p:cNvPr>
            <p:cNvSpPr>
              <a:spLocks/>
            </p:cNvSpPr>
            <p:nvPr/>
          </p:nvSpPr>
          <p:spPr bwMode="auto">
            <a:xfrm>
              <a:off x="4964113" y="1917700"/>
              <a:ext cx="220663" cy="134938"/>
            </a:xfrm>
            <a:custGeom>
              <a:avLst/>
              <a:gdLst>
                <a:gd name="T0" fmla="*/ 127 w 294"/>
                <a:gd name="T1" fmla="*/ 0 h 179"/>
                <a:gd name="T2" fmla="*/ 294 w 294"/>
                <a:gd name="T3" fmla="*/ 23 h 179"/>
                <a:gd name="T4" fmla="*/ 104 w 294"/>
                <a:gd name="T5" fmla="*/ 166 h 179"/>
                <a:gd name="T6" fmla="*/ 0 w 294"/>
                <a:gd name="T7" fmla="*/ 110 h 179"/>
                <a:gd name="T8" fmla="*/ 127 w 294"/>
                <a:gd name="T9" fmla="*/ 0 h 179"/>
              </a:gdLst>
              <a:ahLst/>
              <a:cxnLst>
                <a:cxn ang="0">
                  <a:pos x="T0" y="T1"/>
                </a:cxn>
                <a:cxn ang="0">
                  <a:pos x="T2" y="T3"/>
                </a:cxn>
                <a:cxn ang="0">
                  <a:pos x="T4" y="T5"/>
                </a:cxn>
                <a:cxn ang="0">
                  <a:pos x="T6" y="T7"/>
                </a:cxn>
                <a:cxn ang="0">
                  <a:pos x="T8" y="T9"/>
                </a:cxn>
              </a:cxnLst>
              <a:rect l="0" t="0" r="r" b="b"/>
              <a:pathLst>
                <a:path w="294" h="179">
                  <a:moveTo>
                    <a:pt x="127" y="0"/>
                  </a:moveTo>
                  <a:lnTo>
                    <a:pt x="294" y="23"/>
                  </a:lnTo>
                  <a:cubicBezTo>
                    <a:pt x="281" y="115"/>
                    <a:pt x="196" y="179"/>
                    <a:pt x="104" y="166"/>
                  </a:cubicBezTo>
                  <a:cubicBezTo>
                    <a:pt x="62" y="160"/>
                    <a:pt x="28" y="142"/>
                    <a:pt x="0" y="110"/>
                  </a:cubicBezTo>
                  <a:lnTo>
                    <a:pt x="127" y="0"/>
                  </a:lnTo>
                  <a:close/>
                </a:path>
              </a:pathLst>
            </a:custGeom>
            <a:grpFill/>
            <a:ln w="381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 name="Freeform 309">
              <a:extLst>
                <a:ext uri="{FF2B5EF4-FFF2-40B4-BE49-F238E27FC236}">
                  <a16:creationId xmlns:a16="http://schemas.microsoft.com/office/drawing/2014/main" id="{2839E980-78F7-4AC6-9BA2-AA14ED722375}"/>
                </a:ext>
              </a:extLst>
            </p:cNvPr>
            <p:cNvSpPr>
              <a:spLocks/>
            </p:cNvSpPr>
            <p:nvPr/>
          </p:nvSpPr>
          <p:spPr bwMode="auto">
            <a:xfrm>
              <a:off x="5059363" y="1792288"/>
              <a:ext cx="125413" cy="142875"/>
            </a:xfrm>
            <a:custGeom>
              <a:avLst/>
              <a:gdLst>
                <a:gd name="T0" fmla="*/ 0 w 168"/>
                <a:gd name="T1" fmla="*/ 168 h 191"/>
                <a:gd name="T2" fmla="*/ 0 w 168"/>
                <a:gd name="T3" fmla="*/ 0 h 191"/>
                <a:gd name="T4" fmla="*/ 168 w 168"/>
                <a:gd name="T5" fmla="*/ 168 h 191"/>
                <a:gd name="T6" fmla="*/ 167 w 168"/>
                <a:gd name="T7" fmla="*/ 191 h 191"/>
                <a:gd name="T8" fmla="*/ 0 w 168"/>
                <a:gd name="T9" fmla="*/ 168 h 191"/>
              </a:gdLst>
              <a:ahLst/>
              <a:cxnLst>
                <a:cxn ang="0">
                  <a:pos x="T0" y="T1"/>
                </a:cxn>
                <a:cxn ang="0">
                  <a:pos x="T2" y="T3"/>
                </a:cxn>
                <a:cxn ang="0">
                  <a:pos x="T4" y="T5"/>
                </a:cxn>
                <a:cxn ang="0">
                  <a:pos x="T6" y="T7"/>
                </a:cxn>
                <a:cxn ang="0">
                  <a:pos x="T8" y="T9"/>
                </a:cxn>
              </a:cxnLst>
              <a:rect l="0" t="0" r="r" b="b"/>
              <a:pathLst>
                <a:path w="168" h="191">
                  <a:moveTo>
                    <a:pt x="0" y="168"/>
                  </a:moveTo>
                  <a:lnTo>
                    <a:pt x="0" y="0"/>
                  </a:lnTo>
                  <a:cubicBezTo>
                    <a:pt x="93" y="0"/>
                    <a:pt x="168" y="75"/>
                    <a:pt x="168" y="168"/>
                  </a:cubicBezTo>
                  <a:cubicBezTo>
                    <a:pt x="168" y="176"/>
                    <a:pt x="168" y="183"/>
                    <a:pt x="167" y="191"/>
                  </a:cubicBezTo>
                  <a:lnTo>
                    <a:pt x="0" y="168"/>
                  </a:lnTo>
                  <a:close/>
                </a:path>
              </a:pathLst>
            </a:custGeom>
            <a:grpFill/>
            <a:ln w="381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5" name="Freeform 310">
              <a:extLst>
                <a:ext uri="{FF2B5EF4-FFF2-40B4-BE49-F238E27FC236}">
                  <a16:creationId xmlns:a16="http://schemas.microsoft.com/office/drawing/2014/main" id="{DAB01C0E-AAB3-4617-9C7C-FDEC54308E44}"/>
                </a:ext>
              </a:extLst>
            </p:cNvPr>
            <p:cNvSpPr>
              <a:spLocks/>
            </p:cNvSpPr>
            <p:nvPr/>
          </p:nvSpPr>
          <p:spPr bwMode="auto">
            <a:xfrm>
              <a:off x="4524375" y="2055813"/>
              <a:ext cx="450850" cy="234950"/>
            </a:xfrm>
            <a:custGeom>
              <a:avLst/>
              <a:gdLst>
                <a:gd name="T0" fmla="*/ 601 w 601"/>
                <a:gd name="T1" fmla="*/ 312 h 312"/>
                <a:gd name="T2" fmla="*/ 601 w 601"/>
                <a:gd name="T3" fmla="*/ 205 h 312"/>
                <a:gd name="T4" fmla="*/ 412 w 601"/>
                <a:gd name="T5" fmla="*/ 1 h 312"/>
                <a:gd name="T6" fmla="*/ 301 w 601"/>
                <a:gd name="T7" fmla="*/ 85 h 312"/>
                <a:gd name="T8" fmla="*/ 189 w 601"/>
                <a:gd name="T9" fmla="*/ 0 h 312"/>
                <a:gd name="T10" fmla="*/ 0 w 601"/>
                <a:gd name="T11" fmla="*/ 205 h 312"/>
                <a:gd name="T12" fmla="*/ 0 w 601"/>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601" h="312">
                  <a:moveTo>
                    <a:pt x="601" y="312"/>
                  </a:moveTo>
                  <a:lnTo>
                    <a:pt x="601" y="205"/>
                  </a:lnTo>
                  <a:cubicBezTo>
                    <a:pt x="601" y="119"/>
                    <a:pt x="535" y="33"/>
                    <a:pt x="412" y="1"/>
                  </a:cubicBezTo>
                  <a:lnTo>
                    <a:pt x="301" y="85"/>
                  </a:lnTo>
                  <a:lnTo>
                    <a:pt x="189" y="0"/>
                  </a:lnTo>
                  <a:cubicBezTo>
                    <a:pt x="67" y="30"/>
                    <a:pt x="0" y="110"/>
                    <a:pt x="0" y="205"/>
                  </a:cubicBezTo>
                  <a:lnTo>
                    <a:pt x="0" y="312"/>
                  </a:lnTo>
                </a:path>
              </a:pathLst>
            </a:custGeom>
            <a:grpFill/>
            <a:ln w="381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custDataLst>
      <p:tags r:id="rId1"/>
    </p:custDataLst>
    <p:extLst>
      <p:ext uri="{BB962C8B-B14F-4D97-AF65-F5344CB8AC3E}">
        <p14:creationId xmlns:p14="http://schemas.microsoft.com/office/powerpoint/2010/main" val="1593454967"/>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arn(inVertical)">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barn(inVertical)">
                                      <p:cBhvr>
                                        <p:cTn id="12" dur="500"/>
                                        <p:tgtEl>
                                          <p:spTgt spid="4"/>
                                        </p:tgtEl>
                                      </p:cBhvr>
                                    </p:animEffect>
                                  </p:childTnLst>
                                </p:cTn>
                              </p:par>
                              <p:par>
                                <p:cTn id="13" presetID="16" presetClass="entr" presetSubtype="21" fill="hold" nodeType="withEffect">
                                  <p:stCondLst>
                                    <p:cond delay="0"/>
                                  </p:stCondLst>
                                  <p:childTnLst>
                                    <p:set>
                                      <p:cBhvr>
                                        <p:cTn id="14" dur="1" fill="hold">
                                          <p:stCondLst>
                                            <p:cond delay="0"/>
                                          </p:stCondLst>
                                        </p:cTn>
                                        <p:tgtEl>
                                          <p:spTgt spid="175"/>
                                        </p:tgtEl>
                                        <p:attrNameLst>
                                          <p:attrName>style.visibility</p:attrName>
                                        </p:attrNameLst>
                                      </p:cBhvr>
                                      <p:to>
                                        <p:strVal val="visible"/>
                                      </p:to>
                                    </p:set>
                                    <p:animEffect transition="in" filter="barn(inVertical)">
                                      <p:cBhvr>
                                        <p:cTn id="15" dur="500"/>
                                        <p:tgtEl>
                                          <p:spTgt spid="175"/>
                                        </p:tgtEl>
                                      </p:cBhvr>
                                    </p:animEffect>
                                  </p:childTnLst>
                                </p:cTn>
                              </p:par>
                            </p:childTnLst>
                          </p:cTn>
                        </p:par>
                      </p:childTnLst>
                    </p:cTn>
                  </p:par>
                  <p:par>
                    <p:cTn id="16" fill="hold">
                      <p:stCondLst>
                        <p:cond delay="indefinite"/>
                      </p:stCondLst>
                      <p:childTnLst>
                        <p:par>
                          <p:cTn id="17" fill="hold">
                            <p:stCondLst>
                              <p:cond delay="0"/>
                            </p:stCondLst>
                            <p:childTnLst>
                              <p:par>
                                <p:cTn id="18" presetID="16" presetClass="entr" presetSubtype="21" fill="hold" grpId="0" nodeType="click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barn(inVertical)">
                                      <p:cBhvr>
                                        <p:cTn id="20" dur="500"/>
                                        <p:tgtEl>
                                          <p:spTgt spid="5"/>
                                        </p:tgtEl>
                                      </p:cBhvr>
                                    </p:animEffect>
                                  </p:childTnLst>
                                </p:cTn>
                              </p:par>
                              <p:par>
                                <p:cTn id="21" presetID="16" presetClass="entr" presetSubtype="21" fill="hold" nodeType="withEffect">
                                  <p:stCondLst>
                                    <p:cond delay="0"/>
                                  </p:stCondLst>
                                  <p:childTnLst>
                                    <p:set>
                                      <p:cBhvr>
                                        <p:cTn id="22" dur="1" fill="hold">
                                          <p:stCondLst>
                                            <p:cond delay="0"/>
                                          </p:stCondLst>
                                        </p:cTn>
                                        <p:tgtEl>
                                          <p:spTgt spid="55"/>
                                        </p:tgtEl>
                                        <p:attrNameLst>
                                          <p:attrName>style.visibility</p:attrName>
                                        </p:attrNameLst>
                                      </p:cBhvr>
                                      <p:to>
                                        <p:strVal val="visible"/>
                                      </p:to>
                                    </p:set>
                                    <p:animEffect transition="in" filter="barn(inVertical)">
                                      <p:cBhvr>
                                        <p:cTn id="23" dur="500"/>
                                        <p:tgtEl>
                                          <p:spTgt spid="55"/>
                                        </p:tgtEl>
                                      </p:cBhvr>
                                    </p:animEffect>
                                  </p:childTnLst>
                                </p:cTn>
                              </p:par>
                            </p:childTnLst>
                          </p:cTn>
                        </p:par>
                      </p:childTnLst>
                    </p:cTn>
                  </p:par>
                  <p:par>
                    <p:cTn id="24" fill="hold">
                      <p:stCondLst>
                        <p:cond delay="indefinite"/>
                      </p:stCondLst>
                      <p:childTnLst>
                        <p:par>
                          <p:cTn id="25" fill="hold">
                            <p:stCondLst>
                              <p:cond delay="0"/>
                            </p:stCondLst>
                            <p:childTnLst>
                              <p:par>
                                <p:cTn id="26" presetID="16" presetClass="entr" presetSubtype="21" fill="hold" grpId="0" nodeType="click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barn(inVertical)">
                                      <p:cBhvr>
                                        <p:cTn id="28" dur="500"/>
                                        <p:tgtEl>
                                          <p:spTgt spid="6"/>
                                        </p:tgtEl>
                                      </p:cBhvr>
                                    </p:animEffect>
                                  </p:childTnLst>
                                </p:cTn>
                              </p:par>
                              <p:par>
                                <p:cTn id="29" presetID="16" presetClass="entr" presetSubtype="21" fill="hold" nodeType="withEffect">
                                  <p:stCondLst>
                                    <p:cond delay="0"/>
                                  </p:stCondLst>
                                  <p:childTnLst>
                                    <p:set>
                                      <p:cBhvr>
                                        <p:cTn id="30" dur="1" fill="hold">
                                          <p:stCondLst>
                                            <p:cond delay="0"/>
                                          </p:stCondLst>
                                        </p:cTn>
                                        <p:tgtEl>
                                          <p:spTgt spid="108"/>
                                        </p:tgtEl>
                                        <p:attrNameLst>
                                          <p:attrName>style.visibility</p:attrName>
                                        </p:attrNameLst>
                                      </p:cBhvr>
                                      <p:to>
                                        <p:strVal val="visible"/>
                                      </p:to>
                                    </p:set>
                                    <p:animEffect transition="in" filter="barn(inVertical)">
                                      <p:cBhvr>
                                        <p:cTn id="31" dur="500"/>
                                        <p:tgtEl>
                                          <p:spTgt spid="108"/>
                                        </p:tgtEl>
                                      </p:cBhvr>
                                    </p:animEffect>
                                  </p:childTnLst>
                                </p:cTn>
                              </p:par>
                            </p:childTnLst>
                          </p:cTn>
                        </p:par>
                      </p:childTnLst>
                    </p:cTn>
                  </p:par>
                  <p:par>
                    <p:cTn id="32" fill="hold">
                      <p:stCondLst>
                        <p:cond delay="indefinite"/>
                      </p:stCondLst>
                      <p:childTnLst>
                        <p:par>
                          <p:cTn id="33" fill="hold">
                            <p:stCondLst>
                              <p:cond delay="0"/>
                            </p:stCondLst>
                            <p:childTnLst>
                              <p:par>
                                <p:cTn id="34" presetID="16" presetClass="entr" presetSubtype="21" fill="hold" grpId="0" nodeType="clickEffect">
                                  <p:stCondLst>
                                    <p:cond delay="0"/>
                                  </p:stCondLst>
                                  <p:childTnLst>
                                    <p:set>
                                      <p:cBhvr>
                                        <p:cTn id="35" dur="1" fill="hold">
                                          <p:stCondLst>
                                            <p:cond delay="0"/>
                                          </p:stCondLst>
                                        </p:cTn>
                                        <p:tgtEl>
                                          <p:spTgt spid="8"/>
                                        </p:tgtEl>
                                        <p:attrNameLst>
                                          <p:attrName>style.visibility</p:attrName>
                                        </p:attrNameLst>
                                      </p:cBhvr>
                                      <p:to>
                                        <p:strVal val="visible"/>
                                      </p:to>
                                    </p:set>
                                    <p:animEffect transition="in" filter="barn(inVertical)">
                                      <p:cBhvr>
                                        <p:cTn id="36" dur="500"/>
                                        <p:tgtEl>
                                          <p:spTgt spid="8"/>
                                        </p:tgtEl>
                                      </p:cBhvr>
                                    </p:animEffect>
                                  </p:childTnLst>
                                </p:cTn>
                              </p:par>
                            </p:childTnLst>
                          </p:cTn>
                        </p:par>
                        <p:par>
                          <p:cTn id="37" fill="hold">
                            <p:stCondLst>
                              <p:cond delay="500"/>
                            </p:stCondLst>
                            <p:childTnLst>
                              <p:par>
                                <p:cTn id="38" presetID="16" presetClass="entr" presetSubtype="21" fill="hold" nodeType="afterEffect">
                                  <p:stCondLst>
                                    <p:cond delay="0"/>
                                  </p:stCondLst>
                                  <p:childTnLst>
                                    <p:set>
                                      <p:cBhvr>
                                        <p:cTn id="39" dur="1" fill="hold">
                                          <p:stCondLst>
                                            <p:cond delay="0"/>
                                          </p:stCondLst>
                                        </p:cTn>
                                        <p:tgtEl>
                                          <p:spTgt spid="116"/>
                                        </p:tgtEl>
                                        <p:attrNameLst>
                                          <p:attrName>style.visibility</p:attrName>
                                        </p:attrNameLst>
                                      </p:cBhvr>
                                      <p:to>
                                        <p:strVal val="visible"/>
                                      </p:to>
                                    </p:set>
                                    <p:animEffect transition="in" filter="barn(inVertical)">
                                      <p:cBhvr>
                                        <p:cTn id="40"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8" grpId="0" animBg="1"/>
      <p:bldP spid="1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6FC6D9-F5A0-44CF-8E90-D7CDE235EC66}"/>
              </a:ext>
            </a:extLst>
          </p:cNvPr>
          <p:cNvSpPr/>
          <p:nvPr/>
        </p:nvSpPr>
        <p:spPr>
          <a:xfrm>
            <a:off x="1355676" y="604251"/>
            <a:ext cx="10135737" cy="2677656"/>
          </a:xfrm>
          <a:prstGeom prst="rect">
            <a:avLst/>
          </a:prstGeom>
        </p:spPr>
        <p:txBody>
          <a:bodyPr wrap="square">
            <a:spAutoFit/>
          </a:bodyPr>
          <a:lstStyle/>
          <a:p>
            <a:r>
              <a:rPr lang="vi-VN" sz="2800">
                <a:solidFill>
                  <a:schemeClr val="tx1">
                    <a:lumMod val="85000"/>
                    <a:lumOff val="15000"/>
                  </a:schemeClr>
                </a:solidFill>
                <a:latin typeface="GillSans" panose="02020500000000000000" pitchFamily="18" charset="0"/>
                <a:ea typeface="GillSans" panose="02020500000000000000" pitchFamily="18" charset="0"/>
                <a:cs typeface="GillSans" panose="02020500000000000000" pitchFamily="18" charset="0"/>
              </a:rPr>
              <a:t>Trong ba nhóm đối tượng</a:t>
            </a:r>
            <a:r>
              <a:rPr lang="en-US" sz="2800">
                <a:solidFill>
                  <a:schemeClr val="tx1">
                    <a:lumMod val="85000"/>
                    <a:lumOff val="15000"/>
                  </a:schemeClr>
                </a:solidFill>
                <a:latin typeface="GillSans" panose="02020500000000000000" pitchFamily="18" charset="0"/>
                <a:ea typeface="GillSans" panose="02020500000000000000" pitchFamily="18" charset="0"/>
                <a:cs typeface="GillSans" panose="02020500000000000000" pitchFamily="18" charset="0"/>
              </a:rPr>
              <a:t> sau:</a:t>
            </a:r>
          </a:p>
          <a:p>
            <a:r>
              <a:rPr lang="en-US" sz="2800">
                <a:solidFill>
                  <a:schemeClr val="tx1">
                    <a:lumMod val="85000"/>
                    <a:lumOff val="15000"/>
                  </a:schemeClr>
                </a:solidFill>
                <a:latin typeface="GillSans" panose="02020500000000000000" pitchFamily="18" charset="0"/>
                <a:ea typeface="GillSans" panose="02020500000000000000" pitchFamily="18" charset="0"/>
                <a:cs typeface="GillSans" panose="02020500000000000000" pitchFamily="18" charset="0"/>
              </a:rPr>
              <a:t>+ L</a:t>
            </a:r>
            <a:r>
              <a:rPr lang="vi-VN" sz="2800">
                <a:solidFill>
                  <a:schemeClr val="tx1">
                    <a:lumMod val="85000"/>
                    <a:lumOff val="15000"/>
                  </a:schemeClr>
                </a:solidFill>
                <a:latin typeface="GillSans" panose="02020500000000000000" pitchFamily="18" charset="0"/>
                <a:ea typeface="GillSans" panose="02020500000000000000" pitchFamily="18" charset="0"/>
                <a:cs typeface="GillSans" panose="02020500000000000000" pitchFamily="18" charset="0"/>
              </a:rPr>
              <a:t>àm phần mềm</a:t>
            </a:r>
            <a:endParaRPr lang="en-US" sz="2800">
              <a:solidFill>
                <a:schemeClr val="tx1">
                  <a:lumMod val="85000"/>
                  <a:lumOff val="15000"/>
                </a:schemeClr>
              </a:solidFill>
              <a:latin typeface="GillSans" panose="02020500000000000000" pitchFamily="18" charset="0"/>
              <a:ea typeface="GillSans" panose="02020500000000000000" pitchFamily="18" charset="0"/>
              <a:cs typeface="GillSans" panose="02020500000000000000" pitchFamily="18" charset="0"/>
            </a:endParaRPr>
          </a:p>
          <a:p>
            <a:r>
              <a:rPr lang="en-US" sz="2800">
                <a:solidFill>
                  <a:schemeClr val="tx1">
                    <a:lumMod val="85000"/>
                    <a:lumOff val="15000"/>
                  </a:schemeClr>
                </a:solidFill>
                <a:latin typeface="GillSans" panose="02020500000000000000" pitchFamily="18" charset="0"/>
                <a:ea typeface="GillSans" panose="02020500000000000000" pitchFamily="18" charset="0"/>
                <a:cs typeface="GillSans" panose="02020500000000000000" pitchFamily="18" charset="0"/>
              </a:rPr>
              <a:t>+</a:t>
            </a:r>
            <a:r>
              <a:rPr lang="vi-VN" sz="2800">
                <a:solidFill>
                  <a:schemeClr val="tx1">
                    <a:lumMod val="85000"/>
                    <a:lumOff val="15000"/>
                  </a:schemeClr>
                </a:solidFill>
                <a:latin typeface="GillSans" panose="02020500000000000000" pitchFamily="18" charset="0"/>
                <a:ea typeface="GillSans" panose="02020500000000000000" pitchFamily="18" charset="0"/>
                <a:cs typeface="GillSans" panose="02020500000000000000" pitchFamily="18" charset="0"/>
              </a:rPr>
              <a:t> </a:t>
            </a:r>
            <a:r>
              <a:rPr lang="en-US" sz="2800">
                <a:solidFill>
                  <a:schemeClr val="tx1">
                    <a:lumMod val="85000"/>
                    <a:lumOff val="15000"/>
                  </a:schemeClr>
                </a:solidFill>
                <a:latin typeface="GillSans" panose="02020500000000000000" pitchFamily="18" charset="0"/>
                <a:ea typeface="GillSans" panose="02020500000000000000" pitchFamily="18" charset="0"/>
                <a:cs typeface="GillSans" panose="02020500000000000000" pitchFamily="18" charset="0"/>
              </a:rPr>
              <a:t>S</a:t>
            </a:r>
            <a:r>
              <a:rPr lang="vi-VN" sz="2800">
                <a:solidFill>
                  <a:schemeClr val="tx1">
                    <a:lumMod val="85000"/>
                    <a:lumOff val="15000"/>
                  </a:schemeClr>
                </a:solidFill>
                <a:latin typeface="GillSans" panose="02020500000000000000" pitchFamily="18" charset="0"/>
                <a:ea typeface="GillSans" panose="02020500000000000000" pitchFamily="18" charset="0"/>
                <a:cs typeface="GillSans" panose="02020500000000000000" pitchFamily="18" charset="0"/>
              </a:rPr>
              <a:t>ử dụng phần mềm</a:t>
            </a:r>
            <a:endParaRPr lang="en-US" sz="2800">
              <a:solidFill>
                <a:schemeClr val="tx1">
                  <a:lumMod val="85000"/>
                  <a:lumOff val="15000"/>
                </a:schemeClr>
              </a:solidFill>
              <a:latin typeface="GillSans" panose="02020500000000000000" pitchFamily="18" charset="0"/>
              <a:ea typeface="GillSans" panose="02020500000000000000" pitchFamily="18" charset="0"/>
              <a:cs typeface="GillSans" panose="02020500000000000000" pitchFamily="18" charset="0"/>
            </a:endParaRPr>
          </a:p>
          <a:p>
            <a:r>
              <a:rPr lang="en-US" sz="2800">
                <a:solidFill>
                  <a:schemeClr val="tx1">
                    <a:lumMod val="85000"/>
                    <a:lumOff val="15000"/>
                  </a:schemeClr>
                </a:solidFill>
                <a:latin typeface="GillSans" panose="02020500000000000000" pitchFamily="18" charset="0"/>
                <a:ea typeface="GillSans" panose="02020500000000000000" pitchFamily="18" charset="0"/>
                <a:cs typeface="GillSans" panose="02020500000000000000" pitchFamily="18" charset="0"/>
              </a:rPr>
              <a:t>+</a:t>
            </a:r>
            <a:r>
              <a:rPr lang="vi-VN" sz="2800">
                <a:solidFill>
                  <a:schemeClr val="tx1">
                    <a:lumMod val="85000"/>
                    <a:lumOff val="15000"/>
                  </a:schemeClr>
                </a:solidFill>
                <a:latin typeface="GillSans" panose="02020500000000000000" pitchFamily="18" charset="0"/>
                <a:ea typeface="GillSans" panose="02020500000000000000" pitchFamily="18" charset="0"/>
                <a:cs typeface="GillSans" panose="02020500000000000000" pitchFamily="18" charset="0"/>
              </a:rPr>
              <a:t> </a:t>
            </a:r>
            <a:r>
              <a:rPr lang="en-US" sz="2800">
                <a:solidFill>
                  <a:schemeClr val="tx1">
                    <a:lumMod val="85000"/>
                    <a:lumOff val="15000"/>
                  </a:schemeClr>
                </a:solidFill>
                <a:latin typeface="GillSans" panose="02020500000000000000" pitchFamily="18" charset="0"/>
                <a:ea typeface="GillSans" panose="02020500000000000000" pitchFamily="18" charset="0"/>
                <a:cs typeface="GillSans" panose="02020500000000000000" pitchFamily="18" charset="0"/>
              </a:rPr>
              <a:t>Q</a:t>
            </a:r>
            <a:r>
              <a:rPr lang="vi-VN" sz="2800">
                <a:solidFill>
                  <a:schemeClr val="tx1">
                    <a:lumMod val="85000"/>
                    <a:lumOff val="15000"/>
                  </a:schemeClr>
                </a:solidFill>
                <a:latin typeface="GillSans" panose="02020500000000000000" pitchFamily="18" charset="0"/>
                <a:ea typeface="GillSans" panose="02020500000000000000" pitchFamily="18" charset="0"/>
                <a:cs typeface="GillSans" panose="02020500000000000000" pitchFamily="18" charset="0"/>
              </a:rPr>
              <a:t>uản trị CSDL</a:t>
            </a:r>
            <a:endParaRPr lang="en-US" sz="2800">
              <a:solidFill>
                <a:schemeClr val="tx1">
                  <a:lumMod val="85000"/>
                  <a:lumOff val="15000"/>
                </a:schemeClr>
              </a:solidFill>
              <a:latin typeface="GillSans" panose="02020500000000000000" pitchFamily="18" charset="0"/>
              <a:ea typeface="GillSans" panose="02020500000000000000" pitchFamily="18" charset="0"/>
              <a:cs typeface="GillSans" panose="02020500000000000000" pitchFamily="18" charset="0"/>
            </a:endParaRPr>
          </a:p>
          <a:p>
            <a:r>
              <a:rPr lang="en-US" sz="2800">
                <a:solidFill>
                  <a:schemeClr val="accent1">
                    <a:lumMod val="75000"/>
                  </a:schemeClr>
                </a:solidFill>
                <a:latin typeface="GillSans" panose="02020500000000000000" pitchFamily="18" charset="0"/>
                <a:ea typeface="GillSans" panose="02020500000000000000" pitchFamily="18" charset="0"/>
                <a:cs typeface="GillSans" panose="02020500000000000000" pitchFamily="18" charset="0"/>
              </a:rPr>
              <a:t>Theo em,</a:t>
            </a:r>
            <a:r>
              <a:rPr lang="vi-VN" sz="2800">
                <a:solidFill>
                  <a:schemeClr val="accent1">
                    <a:lumMod val="75000"/>
                  </a:schemeClr>
                </a:solidFill>
                <a:latin typeface="GillSans" panose="02020500000000000000" pitchFamily="18" charset="0"/>
                <a:ea typeface="GillSans" panose="02020500000000000000" pitchFamily="18" charset="0"/>
                <a:cs typeface="GillSans" panose="02020500000000000000" pitchFamily="18" charset="0"/>
              </a:rPr>
              <a:t> ai là ngưới chịu trách nhiệm chính m</a:t>
            </a:r>
            <a:r>
              <a:rPr lang="en-US" sz="2800">
                <a:solidFill>
                  <a:schemeClr val="accent1">
                    <a:lumMod val="75000"/>
                  </a:schemeClr>
                </a:solidFill>
                <a:latin typeface="GillSans" panose="02020500000000000000" pitchFamily="18" charset="0"/>
                <a:ea typeface="GillSans" panose="02020500000000000000" pitchFamily="18" charset="0"/>
                <a:cs typeface="GillSans" panose="02020500000000000000" pitchFamily="18" charset="0"/>
              </a:rPr>
              <a:t>ỗi</a:t>
            </a:r>
            <a:r>
              <a:rPr lang="vi-VN" sz="2800">
                <a:solidFill>
                  <a:schemeClr val="accent1">
                    <a:lumMod val="75000"/>
                  </a:schemeClr>
                </a:solidFill>
                <a:latin typeface="GillSans" panose="02020500000000000000" pitchFamily="18" charset="0"/>
                <a:ea typeface="GillSans" panose="02020500000000000000" pitchFamily="18" charset="0"/>
                <a:cs typeface="GillSans" panose="02020500000000000000" pitchFamily="18" charset="0"/>
              </a:rPr>
              <a:t> công việc sau đây: Cập nhật dữ liệu. Thiết kế dữ liệu, Sao lưu dữ liệu?</a:t>
            </a:r>
          </a:p>
        </p:txBody>
      </p:sp>
      <p:graphicFrame>
        <p:nvGraphicFramePr>
          <p:cNvPr id="11" name="Diagram 10">
            <a:extLst>
              <a:ext uri="{FF2B5EF4-FFF2-40B4-BE49-F238E27FC236}">
                <a16:creationId xmlns:a16="http://schemas.microsoft.com/office/drawing/2014/main" id="{DF932EAB-7E18-4BF5-896E-D7EFE48B836B}"/>
              </a:ext>
            </a:extLst>
          </p:cNvPr>
          <p:cNvGraphicFramePr/>
          <p:nvPr>
            <p:extLst>
              <p:ext uri="{D42A27DB-BD31-4B8C-83A1-F6EECF244321}">
                <p14:modId xmlns:p14="http://schemas.microsoft.com/office/powerpoint/2010/main" val="2661868927"/>
              </p:ext>
            </p:extLst>
          </p:nvPr>
        </p:nvGraphicFramePr>
        <p:xfrm>
          <a:off x="1991059" y="3753515"/>
          <a:ext cx="8128000" cy="31044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3" name="Class3" descr="{&quot;Key&quot;:&quot;POWER_USER_SHAPE_ICON&quot;,&quot;Value&quot;:&quot;POWER_USER_SHAPE_ICON_STYLE_1&quot;}">
            <a:extLst>
              <a:ext uri="{FF2B5EF4-FFF2-40B4-BE49-F238E27FC236}">
                <a16:creationId xmlns:a16="http://schemas.microsoft.com/office/drawing/2014/main" id="{692F700D-0B98-4690-8A71-37167A8C7805}"/>
              </a:ext>
            </a:extLst>
          </p:cNvPr>
          <p:cNvGrpSpPr>
            <a:grpSpLocks noChangeAspect="1"/>
          </p:cNvGrpSpPr>
          <p:nvPr>
            <p:custDataLst>
              <p:tags r:id="rId1"/>
            </p:custDataLst>
          </p:nvPr>
        </p:nvGrpSpPr>
        <p:grpSpPr>
          <a:xfrm>
            <a:off x="325866" y="792709"/>
            <a:ext cx="749442" cy="596900"/>
            <a:chOff x="4173538" y="158750"/>
            <a:chExt cx="896938" cy="714375"/>
          </a:xfrm>
          <a:noFill/>
        </p:grpSpPr>
        <p:sp>
          <p:nvSpPr>
            <p:cNvPr id="14" name="Oval 45">
              <a:extLst>
                <a:ext uri="{FF2B5EF4-FFF2-40B4-BE49-F238E27FC236}">
                  <a16:creationId xmlns:a16="http://schemas.microsoft.com/office/drawing/2014/main" id="{40443E1F-A370-4C9F-8613-605F7415C857}"/>
                </a:ext>
              </a:extLst>
            </p:cNvPr>
            <p:cNvSpPr>
              <a:spLocks noChangeArrowheads="1"/>
            </p:cNvSpPr>
            <p:nvPr/>
          </p:nvSpPr>
          <p:spPr bwMode="auto">
            <a:xfrm>
              <a:off x="4278313" y="184150"/>
              <a:ext cx="300038" cy="300038"/>
            </a:xfrm>
            <a:prstGeom prst="ellipse">
              <a:avLst/>
            </a:prstGeom>
            <a:grpFill/>
            <a:ln w="38100">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46">
              <a:extLst>
                <a:ext uri="{FF2B5EF4-FFF2-40B4-BE49-F238E27FC236}">
                  <a16:creationId xmlns:a16="http://schemas.microsoft.com/office/drawing/2014/main" id="{79AE04F7-97F8-4CAA-BAA4-C89F5DC433EB}"/>
                </a:ext>
              </a:extLst>
            </p:cNvPr>
            <p:cNvSpPr>
              <a:spLocks/>
            </p:cNvSpPr>
            <p:nvPr/>
          </p:nvSpPr>
          <p:spPr bwMode="auto">
            <a:xfrm>
              <a:off x="4173538" y="322262"/>
              <a:ext cx="838200" cy="550863"/>
            </a:xfrm>
            <a:custGeom>
              <a:avLst/>
              <a:gdLst>
                <a:gd name="T0" fmla="*/ 145 w 1100"/>
                <a:gd name="T1" fmla="*/ 536 h 723"/>
                <a:gd name="T2" fmla="*/ 184 w 1100"/>
                <a:gd name="T3" fmla="*/ 536 h 723"/>
                <a:gd name="T4" fmla="*/ 194 w 1100"/>
                <a:gd name="T5" fmla="*/ 723 h 723"/>
                <a:gd name="T6" fmla="*/ 583 w 1100"/>
                <a:gd name="T7" fmla="*/ 723 h 723"/>
                <a:gd name="T8" fmla="*/ 583 w 1100"/>
                <a:gd name="T9" fmla="*/ 494 h 723"/>
                <a:gd name="T10" fmla="*/ 1046 w 1100"/>
                <a:gd name="T11" fmla="*/ 263 h 723"/>
                <a:gd name="T12" fmla="*/ 1061 w 1100"/>
                <a:gd name="T13" fmla="*/ 120 h 723"/>
                <a:gd name="T14" fmla="*/ 1085 w 1100"/>
                <a:gd name="T15" fmla="*/ 57 h 723"/>
                <a:gd name="T16" fmla="*/ 1063 w 1100"/>
                <a:gd name="T17" fmla="*/ 8 h 723"/>
                <a:gd name="T18" fmla="*/ 1015 w 1100"/>
                <a:gd name="T19" fmla="*/ 30 h 723"/>
                <a:gd name="T20" fmla="*/ 992 w 1100"/>
                <a:gd name="T21" fmla="*/ 88 h 723"/>
                <a:gd name="T22" fmla="*/ 954 w 1100"/>
                <a:gd name="T23" fmla="*/ 97 h 723"/>
                <a:gd name="T24" fmla="*/ 315 w 1100"/>
                <a:gd name="T25" fmla="*/ 268 h 723"/>
                <a:gd name="T26" fmla="*/ 0 w 1100"/>
                <a:gd name="T27" fmla="*/ 538 h 723"/>
                <a:gd name="T28" fmla="*/ 0 w 1100"/>
                <a:gd name="T29" fmla="*/ 723 h 723"/>
                <a:gd name="T30" fmla="*/ 145 w 1100"/>
                <a:gd name="T31" fmla="*/ 723 h 723"/>
                <a:gd name="T32" fmla="*/ 145 w 1100"/>
                <a:gd name="T33" fmla="*/ 53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0" h="723">
                  <a:moveTo>
                    <a:pt x="145" y="536"/>
                  </a:moveTo>
                  <a:lnTo>
                    <a:pt x="184" y="536"/>
                  </a:lnTo>
                  <a:lnTo>
                    <a:pt x="194" y="723"/>
                  </a:lnTo>
                  <a:lnTo>
                    <a:pt x="583" y="723"/>
                  </a:lnTo>
                  <a:lnTo>
                    <a:pt x="583" y="494"/>
                  </a:lnTo>
                  <a:cubicBezTo>
                    <a:pt x="772" y="432"/>
                    <a:pt x="939" y="344"/>
                    <a:pt x="1046" y="263"/>
                  </a:cubicBezTo>
                  <a:cubicBezTo>
                    <a:pt x="1091" y="229"/>
                    <a:pt x="1100" y="166"/>
                    <a:pt x="1061" y="120"/>
                  </a:cubicBezTo>
                  <a:lnTo>
                    <a:pt x="1085" y="57"/>
                  </a:lnTo>
                  <a:cubicBezTo>
                    <a:pt x="1093" y="37"/>
                    <a:pt x="1083" y="15"/>
                    <a:pt x="1063" y="8"/>
                  </a:cubicBezTo>
                  <a:cubicBezTo>
                    <a:pt x="1044" y="0"/>
                    <a:pt x="1022" y="10"/>
                    <a:pt x="1015" y="30"/>
                  </a:cubicBezTo>
                  <a:lnTo>
                    <a:pt x="992" y="88"/>
                  </a:lnTo>
                  <a:cubicBezTo>
                    <a:pt x="980" y="89"/>
                    <a:pt x="966" y="90"/>
                    <a:pt x="954" y="97"/>
                  </a:cubicBezTo>
                  <a:cubicBezTo>
                    <a:pt x="624" y="282"/>
                    <a:pt x="513" y="268"/>
                    <a:pt x="315" y="268"/>
                  </a:cubicBezTo>
                  <a:cubicBezTo>
                    <a:pt x="132" y="268"/>
                    <a:pt x="0" y="339"/>
                    <a:pt x="0" y="538"/>
                  </a:cubicBezTo>
                  <a:lnTo>
                    <a:pt x="0" y="723"/>
                  </a:lnTo>
                  <a:lnTo>
                    <a:pt x="145" y="723"/>
                  </a:lnTo>
                  <a:lnTo>
                    <a:pt x="145" y="536"/>
                  </a:lnTo>
                  <a:close/>
                </a:path>
              </a:pathLst>
            </a:custGeom>
            <a:grpFill/>
            <a:ln w="38100">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Rectangle 47">
              <a:extLst>
                <a:ext uri="{FF2B5EF4-FFF2-40B4-BE49-F238E27FC236}">
                  <a16:creationId xmlns:a16="http://schemas.microsoft.com/office/drawing/2014/main" id="{1E6CB031-8C40-4BEB-8474-B1F8D0C884C5}"/>
                </a:ext>
              </a:extLst>
            </p:cNvPr>
            <p:cNvSpPr>
              <a:spLocks noChangeArrowheads="1"/>
            </p:cNvSpPr>
            <p:nvPr/>
          </p:nvSpPr>
          <p:spPr bwMode="auto">
            <a:xfrm>
              <a:off x="4668838" y="158750"/>
              <a:ext cx="401638" cy="41275"/>
            </a:xfrm>
            <a:prstGeom prst="rect">
              <a:avLst/>
            </a:prstGeom>
            <a:grpFill/>
            <a:ln w="38100">
              <a:solidFill>
                <a:srgbClr val="00B05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Rectangle 48">
              <a:extLst>
                <a:ext uri="{FF2B5EF4-FFF2-40B4-BE49-F238E27FC236}">
                  <a16:creationId xmlns:a16="http://schemas.microsoft.com/office/drawing/2014/main" id="{2D58492A-7758-4DD7-8E70-784174411C77}"/>
                </a:ext>
              </a:extLst>
            </p:cNvPr>
            <p:cNvSpPr>
              <a:spLocks noChangeArrowheads="1"/>
            </p:cNvSpPr>
            <p:nvPr/>
          </p:nvSpPr>
          <p:spPr bwMode="auto">
            <a:xfrm>
              <a:off x="4668838" y="266700"/>
              <a:ext cx="238125" cy="41275"/>
            </a:xfrm>
            <a:prstGeom prst="rect">
              <a:avLst/>
            </a:prstGeom>
            <a:grpFill/>
            <a:ln w="38100">
              <a:solidFill>
                <a:srgbClr val="00B05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727109191"/>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1">
                                            <p:graphicEl>
                                              <a:dgm id="{E515F2A8-4F82-4BC6-933C-3FDAB1AC6687}"/>
                                            </p:graphicEl>
                                          </p:spTgt>
                                        </p:tgtEl>
                                        <p:attrNameLst>
                                          <p:attrName>style.visibility</p:attrName>
                                        </p:attrNameLst>
                                      </p:cBhvr>
                                      <p:to>
                                        <p:strVal val="visible"/>
                                      </p:to>
                                    </p:set>
                                    <p:animEffect transition="in" filter="barn(inVertical)">
                                      <p:cBhvr>
                                        <p:cTn id="7" dur="500"/>
                                        <p:tgtEl>
                                          <p:spTgt spid="11">
                                            <p:graphicEl>
                                              <a:dgm id="{E515F2A8-4F82-4BC6-933C-3FDAB1AC6687}"/>
                                            </p:graphicEl>
                                          </p:spTgt>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11">
                                            <p:graphicEl>
                                              <a:dgm id="{805AD590-1628-4839-B593-BD691010A4AE}"/>
                                            </p:graphicEl>
                                          </p:spTgt>
                                        </p:tgtEl>
                                        <p:attrNameLst>
                                          <p:attrName>style.visibility</p:attrName>
                                        </p:attrNameLst>
                                      </p:cBhvr>
                                      <p:to>
                                        <p:strVal val="visible"/>
                                      </p:to>
                                    </p:set>
                                    <p:animEffect transition="in" filter="barn(inVertical)">
                                      <p:cBhvr>
                                        <p:cTn id="10" dur="500"/>
                                        <p:tgtEl>
                                          <p:spTgt spid="11">
                                            <p:graphicEl>
                                              <a:dgm id="{805AD590-1628-4839-B593-BD691010A4AE}"/>
                                            </p:graphicEl>
                                          </p:spTgt>
                                        </p:tgtEl>
                                      </p:cBhvr>
                                    </p:animEffect>
                                  </p:childTnLst>
                                </p:cTn>
                              </p:par>
                              <p:par>
                                <p:cTn id="11" presetID="16" presetClass="entr" presetSubtype="21" fill="hold" grpId="0" nodeType="withEffect">
                                  <p:stCondLst>
                                    <p:cond delay="0"/>
                                  </p:stCondLst>
                                  <p:childTnLst>
                                    <p:set>
                                      <p:cBhvr>
                                        <p:cTn id="12" dur="1" fill="hold">
                                          <p:stCondLst>
                                            <p:cond delay="0"/>
                                          </p:stCondLst>
                                        </p:cTn>
                                        <p:tgtEl>
                                          <p:spTgt spid="11">
                                            <p:graphicEl>
                                              <a:dgm id="{39711B2C-D87E-420A-A73E-C1BF7AC0BDCE}"/>
                                            </p:graphicEl>
                                          </p:spTgt>
                                        </p:tgtEl>
                                        <p:attrNameLst>
                                          <p:attrName>style.visibility</p:attrName>
                                        </p:attrNameLst>
                                      </p:cBhvr>
                                      <p:to>
                                        <p:strVal val="visible"/>
                                      </p:to>
                                    </p:set>
                                    <p:animEffect transition="in" filter="barn(inVertical)">
                                      <p:cBhvr>
                                        <p:cTn id="13" dur="500"/>
                                        <p:tgtEl>
                                          <p:spTgt spid="11">
                                            <p:graphicEl>
                                              <a:dgm id="{39711B2C-D87E-420A-A73E-C1BF7AC0BDCE}"/>
                                            </p:graphicEl>
                                          </p:spTgt>
                                        </p:tgtEl>
                                      </p:cBhvr>
                                    </p:animEffect>
                                  </p:childTnLst>
                                </p:cTn>
                              </p:par>
                            </p:childTnLst>
                          </p:cTn>
                        </p:par>
                      </p:childTnLst>
                    </p:cTn>
                  </p:par>
                  <p:par>
                    <p:cTn id="14" fill="hold">
                      <p:stCondLst>
                        <p:cond delay="indefinite"/>
                      </p:stCondLst>
                      <p:childTnLst>
                        <p:par>
                          <p:cTn id="15" fill="hold">
                            <p:stCondLst>
                              <p:cond delay="0"/>
                            </p:stCondLst>
                            <p:childTnLst>
                              <p:par>
                                <p:cTn id="16" presetID="16" presetClass="entr" presetSubtype="21" fill="hold" grpId="0" nodeType="clickEffect">
                                  <p:stCondLst>
                                    <p:cond delay="0"/>
                                  </p:stCondLst>
                                  <p:childTnLst>
                                    <p:set>
                                      <p:cBhvr>
                                        <p:cTn id="17" dur="1" fill="hold">
                                          <p:stCondLst>
                                            <p:cond delay="0"/>
                                          </p:stCondLst>
                                        </p:cTn>
                                        <p:tgtEl>
                                          <p:spTgt spid="11">
                                            <p:graphicEl>
                                              <a:dgm id="{9A47700C-3FFF-45FE-8C1F-B0DBE466C488}"/>
                                            </p:graphicEl>
                                          </p:spTgt>
                                        </p:tgtEl>
                                        <p:attrNameLst>
                                          <p:attrName>style.visibility</p:attrName>
                                        </p:attrNameLst>
                                      </p:cBhvr>
                                      <p:to>
                                        <p:strVal val="visible"/>
                                      </p:to>
                                    </p:set>
                                    <p:animEffect transition="in" filter="barn(inVertical)">
                                      <p:cBhvr>
                                        <p:cTn id="18" dur="500"/>
                                        <p:tgtEl>
                                          <p:spTgt spid="11">
                                            <p:graphicEl>
                                              <a:dgm id="{9A47700C-3FFF-45FE-8C1F-B0DBE466C488}"/>
                                            </p:graphicEl>
                                          </p:spTgt>
                                        </p:tgtEl>
                                      </p:cBhvr>
                                    </p:animEffect>
                                  </p:childTnLst>
                                </p:cTn>
                              </p:par>
                              <p:par>
                                <p:cTn id="19" presetID="16" presetClass="entr" presetSubtype="21" fill="hold" grpId="0" nodeType="withEffect">
                                  <p:stCondLst>
                                    <p:cond delay="0"/>
                                  </p:stCondLst>
                                  <p:childTnLst>
                                    <p:set>
                                      <p:cBhvr>
                                        <p:cTn id="20" dur="1" fill="hold">
                                          <p:stCondLst>
                                            <p:cond delay="0"/>
                                          </p:stCondLst>
                                        </p:cTn>
                                        <p:tgtEl>
                                          <p:spTgt spid="11">
                                            <p:graphicEl>
                                              <a:dgm id="{05CBFAC5-4317-4E3E-90E1-9479FBA8FE7D}"/>
                                            </p:graphicEl>
                                          </p:spTgt>
                                        </p:tgtEl>
                                        <p:attrNameLst>
                                          <p:attrName>style.visibility</p:attrName>
                                        </p:attrNameLst>
                                      </p:cBhvr>
                                      <p:to>
                                        <p:strVal val="visible"/>
                                      </p:to>
                                    </p:set>
                                    <p:animEffect transition="in" filter="barn(inVertical)">
                                      <p:cBhvr>
                                        <p:cTn id="21" dur="500"/>
                                        <p:tgtEl>
                                          <p:spTgt spid="11">
                                            <p:graphicEl>
                                              <a:dgm id="{05CBFAC5-4317-4E3E-90E1-9479FBA8FE7D}"/>
                                            </p:graphicEl>
                                          </p:spTgt>
                                        </p:tgtEl>
                                      </p:cBhvr>
                                    </p:animEffect>
                                  </p:childTnLst>
                                </p:cTn>
                              </p:par>
                              <p:par>
                                <p:cTn id="22" presetID="16" presetClass="entr" presetSubtype="21" fill="hold" grpId="0" nodeType="withEffect">
                                  <p:stCondLst>
                                    <p:cond delay="0"/>
                                  </p:stCondLst>
                                  <p:childTnLst>
                                    <p:set>
                                      <p:cBhvr>
                                        <p:cTn id="23" dur="1" fill="hold">
                                          <p:stCondLst>
                                            <p:cond delay="0"/>
                                          </p:stCondLst>
                                        </p:cTn>
                                        <p:tgtEl>
                                          <p:spTgt spid="11">
                                            <p:graphicEl>
                                              <a:dgm id="{27AB8230-78F9-428E-BB39-27AF0A1E4476}"/>
                                            </p:graphicEl>
                                          </p:spTgt>
                                        </p:tgtEl>
                                        <p:attrNameLst>
                                          <p:attrName>style.visibility</p:attrName>
                                        </p:attrNameLst>
                                      </p:cBhvr>
                                      <p:to>
                                        <p:strVal val="visible"/>
                                      </p:to>
                                    </p:set>
                                    <p:animEffect transition="in" filter="barn(inVertical)">
                                      <p:cBhvr>
                                        <p:cTn id="24" dur="500"/>
                                        <p:tgtEl>
                                          <p:spTgt spid="11">
                                            <p:graphicEl>
                                              <a:dgm id="{27AB8230-78F9-428E-BB39-27AF0A1E4476}"/>
                                            </p:graphicEl>
                                          </p:spTgt>
                                        </p:tgtEl>
                                      </p:cBhvr>
                                    </p:animEffect>
                                  </p:childTnLst>
                                </p:cTn>
                              </p:par>
                            </p:childTnLst>
                          </p:cTn>
                        </p:par>
                      </p:childTnLst>
                    </p:cTn>
                  </p:par>
                  <p:par>
                    <p:cTn id="25" fill="hold">
                      <p:stCondLst>
                        <p:cond delay="indefinite"/>
                      </p:stCondLst>
                      <p:childTnLst>
                        <p:par>
                          <p:cTn id="26" fill="hold">
                            <p:stCondLst>
                              <p:cond delay="0"/>
                            </p:stCondLst>
                            <p:childTnLst>
                              <p:par>
                                <p:cTn id="27" presetID="16" presetClass="entr" presetSubtype="21" fill="hold" grpId="0" nodeType="clickEffect">
                                  <p:stCondLst>
                                    <p:cond delay="0"/>
                                  </p:stCondLst>
                                  <p:childTnLst>
                                    <p:set>
                                      <p:cBhvr>
                                        <p:cTn id="28" dur="1" fill="hold">
                                          <p:stCondLst>
                                            <p:cond delay="0"/>
                                          </p:stCondLst>
                                        </p:cTn>
                                        <p:tgtEl>
                                          <p:spTgt spid="11">
                                            <p:graphicEl>
                                              <a:dgm id="{8C0B63C6-31A3-4673-A518-44DB055C9818}"/>
                                            </p:graphicEl>
                                          </p:spTgt>
                                        </p:tgtEl>
                                        <p:attrNameLst>
                                          <p:attrName>style.visibility</p:attrName>
                                        </p:attrNameLst>
                                      </p:cBhvr>
                                      <p:to>
                                        <p:strVal val="visible"/>
                                      </p:to>
                                    </p:set>
                                    <p:animEffect transition="in" filter="barn(inVertical)">
                                      <p:cBhvr>
                                        <p:cTn id="29" dur="500"/>
                                        <p:tgtEl>
                                          <p:spTgt spid="11">
                                            <p:graphicEl>
                                              <a:dgm id="{8C0B63C6-31A3-4673-A518-44DB055C9818}"/>
                                            </p:graphicEl>
                                          </p:spTgt>
                                        </p:tgtEl>
                                      </p:cBhvr>
                                    </p:animEffect>
                                  </p:childTnLst>
                                </p:cTn>
                              </p:par>
                              <p:par>
                                <p:cTn id="30" presetID="16" presetClass="entr" presetSubtype="21" fill="hold" grpId="0" nodeType="withEffect">
                                  <p:stCondLst>
                                    <p:cond delay="0"/>
                                  </p:stCondLst>
                                  <p:childTnLst>
                                    <p:set>
                                      <p:cBhvr>
                                        <p:cTn id="31" dur="1" fill="hold">
                                          <p:stCondLst>
                                            <p:cond delay="0"/>
                                          </p:stCondLst>
                                        </p:cTn>
                                        <p:tgtEl>
                                          <p:spTgt spid="11">
                                            <p:graphicEl>
                                              <a:dgm id="{D8E0D116-0A5F-4760-9F6A-9F135C410D03}"/>
                                            </p:graphicEl>
                                          </p:spTgt>
                                        </p:tgtEl>
                                        <p:attrNameLst>
                                          <p:attrName>style.visibility</p:attrName>
                                        </p:attrNameLst>
                                      </p:cBhvr>
                                      <p:to>
                                        <p:strVal val="visible"/>
                                      </p:to>
                                    </p:set>
                                    <p:animEffect transition="in" filter="barn(inVertical)">
                                      <p:cBhvr>
                                        <p:cTn id="32" dur="500"/>
                                        <p:tgtEl>
                                          <p:spTgt spid="11">
                                            <p:graphicEl>
                                              <a:dgm id="{D8E0D116-0A5F-4760-9F6A-9F135C410D03}"/>
                                            </p:graphicEl>
                                          </p:spTgt>
                                        </p:tgtEl>
                                      </p:cBhvr>
                                    </p:animEffect>
                                  </p:childTnLst>
                                </p:cTn>
                              </p:par>
                              <p:par>
                                <p:cTn id="33" presetID="16" presetClass="entr" presetSubtype="21" fill="hold" grpId="0" nodeType="withEffect">
                                  <p:stCondLst>
                                    <p:cond delay="0"/>
                                  </p:stCondLst>
                                  <p:childTnLst>
                                    <p:set>
                                      <p:cBhvr>
                                        <p:cTn id="34" dur="1" fill="hold">
                                          <p:stCondLst>
                                            <p:cond delay="0"/>
                                          </p:stCondLst>
                                        </p:cTn>
                                        <p:tgtEl>
                                          <p:spTgt spid="11">
                                            <p:graphicEl>
                                              <a:dgm id="{F54750E2-C4A7-4349-8EDF-B343EEC9704A}"/>
                                            </p:graphicEl>
                                          </p:spTgt>
                                        </p:tgtEl>
                                        <p:attrNameLst>
                                          <p:attrName>style.visibility</p:attrName>
                                        </p:attrNameLst>
                                      </p:cBhvr>
                                      <p:to>
                                        <p:strVal val="visible"/>
                                      </p:to>
                                    </p:set>
                                    <p:animEffect transition="in" filter="barn(inVertical)">
                                      <p:cBhvr>
                                        <p:cTn id="35" dur="500"/>
                                        <p:tgtEl>
                                          <p:spTgt spid="11">
                                            <p:graphicEl>
                                              <a:dgm id="{F54750E2-C4A7-4349-8EDF-B343EEC9704A}"/>
                                            </p:graphicEl>
                                          </p:spTgt>
                                        </p:tgtEl>
                                      </p:cBhvr>
                                    </p:animEffect>
                                  </p:childTnLst>
                                </p:cTn>
                              </p:par>
                            </p:childTnLst>
                          </p:cTn>
                        </p:par>
                      </p:childTnLst>
                    </p:cTn>
                  </p:par>
                  <p:par>
                    <p:cTn id="36" fill="hold">
                      <p:stCondLst>
                        <p:cond delay="indefinite"/>
                      </p:stCondLst>
                      <p:childTnLst>
                        <p:par>
                          <p:cTn id="37" fill="hold">
                            <p:stCondLst>
                              <p:cond delay="0"/>
                            </p:stCondLst>
                            <p:childTnLst>
                              <p:par>
                                <p:cTn id="38" presetID="16" presetClass="entr" presetSubtype="21" fill="hold" grpId="0" nodeType="clickEffect">
                                  <p:stCondLst>
                                    <p:cond delay="0"/>
                                  </p:stCondLst>
                                  <p:childTnLst>
                                    <p:set>
                                      <p:cBhvr>
                                        <p:cTn id="39" dur="1" fill="hold">
                                          <p:stCondLst>
                                            <p:cond delay="0"/>
                                          </p:stCondLst>
                                        </p:cTn>
                                        <p:tgtEl>
                                          <p:spTgt spid="11">
                                            <p:graphicEl>
                                              <a:dgm id="{42BFA08E-CFB4-471A-9AB0-EFA3008EA2A9}"/>
                                            </p:graphicEl>
                                          </p:spTgt>
                                        </p:tgtEl>
                                        <p:attrNameLst>
                                          <p:attrName>style.visibility</p:attrName>
                                        </p:attrNameLst>
                                      </p:cBhvr>
                                      <p:to>
                                        <p:strVal val="visible"/>
                                      </p:to>
                                    </p:set>
                                    <p:animEffect transition="in" filter="barn(inVertical)">
                                      <p:cBhvr>
                                        <p:cTn id="40" dur="500"/>
                                        <p:tgtEl>
                                          <p:spTgt spid="11">
                                            <p:graphicEl>
                                              <a:dgm id="{42BFA08E-CFB4-471A-9AB0-EFA3008EA2A9}"/>
                                            </p:graphicEl>
                                          </p:spTgt>
                                        </p:tgtEl>
                                      </p:cBhvr>
                                    </p:animEffect>
                                  </p:childTnLst>
                                </p:cTn>
                              </p:par>
                            </p:childTnLst>
                          </p:cTn>
                        </p:par>
                      </p:childTnLst>
                    </p:cTn>
                  </p:par>
                  <p:par>
                    <p:cTn id="41" fill="hold">
                      <p:stCondLst>
                        <p:cond delay="indefinite"/>
                      </p:stCondLst>
                      <p:childTnLst>
                        <p:par>
                          <p:cTn id="42" fill="hold">
                            <p:stCondLst>
                              <p:cond delay="0"/>
                            </p:stCondLst>
                            <p:childTnLst>
                              <p:par>
                                <p:cTn id="43" presetID="16" presetClass="entr" presetSubtype="21" fill="hold" grpId="0" nodeType="clickEffect">
                                  <p:stCondLst>
                                    <p:cond delay="0"/>
                                  </p:stCondLst>
                                  <p:childTnLst>
                                    <p:set>
                                      <p:cBhvr>
                                        <p:cTn id="44" dur="1" fill="hold">
                                          <p:stCondLst>
                                            <p:cond delay="0"/>
                                          </p:stCondLst>
                                        </p:cTn>
                                        <p:tgtEl>
                                          <p:spTgt spid="11">
                                            <p:graphicEl>
                                              <a:dgm id="{536F2803-1A91-4224-BA5E-3F16C9E272F0}"/>
                                            </p:graphicEl>
                                          </p:spTgt>
                                        </p:tgtEl>
                                        <p:attrNameLst>
                                          <p:attrName>style.visibility</p:attrName>
                                        </p:attrNameLst>
                                      </p:cBhvr>
                                      <p:to>
                                        <p:strVal val="visible"/>
                                      </p:to>
                                    </p:set>
                                    <p:animEffect transition="in" filter="barn(inVertical)">
                                      <p:cBhvr>
                                        <p:cTn id="45" dur="500"/>
                                        <p:tgtEl>
                                          <p:spTgt spid="11">
                                            <p:graphicEl>
                                              <a:dgm id="{536F2803-1A91-4224-BA5E-3F16C9E272F0}"/>
                                            </p:graphicEl>
                                          </p:spTgt>
                                        </p:tgtEl>
                                      </p:cBhvr>
                                    </p:animEffect>
                                  </p:childTnLst>
                                </p:cTn>
                              </p:par>
                            </p:childTnLst>
                          </p:cTn>
                        </p:par>
                      </p:childTnLst>
                    </p:cTn>
                  </p:par>
                  <p:par>
                    <p:cTn id="46" fill="hold">
                      <p:stCondLst>
                        <p:cond delay="indefinite"/>
                      </p:stCondLst>
                      <p:childTnLst>
                        <p:par>
                          <p:cTn id="47" fill="hold">
                            <p:stCondLst>
                              <p:cond delay="0"/>
                            </p:stCondLst>
                            <p:childTnLst>
                              <p:par>
                                <p:cTn id="48" presetID="16" presetClass="entr" presetSubtype="21" fill="hold" grpId="0" nodeType="clickEffect">
                                  <p:stCondLst>
                                    <p:cond delay="0"/>
                                  </p:stCondLst>
                                  <p:childTnLst>
                                    <p:set>
                                      <p:cBhvr>
                                        <p:cTn id="49" dur="1" fill="hold">
                                          <p:stCondLst>
                                            <p:cond delay="0"/>
                                          </p:stCondLst>
                                        </p:cTn>
                                        <p:tgtEl>
                                          <p:spTgt spid="11">
                                            <p:graphicEl>
                                              <a:dgm id="{79CEAEC6-3CE1-4A74-A239-A36702DE4810}"/>
                                            </p:graphicEl>
                                          </p:spTgt>
                                        </p:tgtEl>
                                        <p:attrNameLst>
                                          <p:attrName>style.visibility</p:attrName>
                                        </p:attrNameLst>
                                      </p:cBhvr>
                                      <p:to>
                                        <p:strVal val="visible"/>
                                      </p:to>
                                    </p:set>
                                    <p:animEffect transition="in" filter="barn(inVertical)">
                                      <p:cBhvr>
                                        <p:cTn id="50" dur="500"/>
                                        <p:tgtEl>
                                          <p:spTgt spid="11">
                                            <p:graphicEl>
                                              <a:dgm id="{79CEAEC6-3CE1-4A74-A239-A36702DE4810}"/>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1" grpId="0" uiExpand="1">
        <p:bldSub>
          <a:bldDgm bld="lvlOne"/>
        </p:bldSub>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e 9">
            <a:extLst>
              <a:ext uri="{FF2B5EF4-FFF2-40B4-BE49-F238E27FC236}">
                <a16:creationId xmlns:a16="http://schemas.microsoft.com/office/drawing/2014/main" id="{75B4BB64-19C1-5675-1E5D-55204A0A5920}"/>
              </a:ext>
            </a:extLst>
          </p:cNvPr>
          <p:cNvGrpSpPr/>
          <p:nvPr/>
        </p:nvGrpSpPr>
        <p:grpSpPr>
          <a:xfrm flipV="1">
            <a:off x="606357" y="1774015"/>
            <a:ext cx="2645924" cy="2558331"/>
            <a:chOff x="1160532" y="1698626"/>
            <a:chExt cx="2012812" cy="3460749"/>
          </a:xfrm>
        </p:grpSpPr>
        <p:sp>
          <p:nvSpPr>
            <p:cNvPr id="4" name="Rectangle : coins arrondis 4">
              <a:extLst>
                <a:ext uri="{FF2B5EF4-FFF2-40B4-BE49-F238E27FC236}">
                  <a16:creationId xmlns:a16="http://schemas.microsoft.com/office/drawing/2014/main" id="{14EA1EBA-DB1D-A0C1-B977-61E3B9087EA0}"/>
                </a:ext>
              </a:extLst>
            </p:cNvPr>
            <p:cNvSpPr/>
            <p:nvPr/>
          </p:nvSpPr>
          <p:spPr>
            <a:xfrm rot="10800000">
              <a:off x="1160533" y="1698626"/>
              <a:ext cx="2012811" cy="3457577"/>
            </a:xfrm>
            <a:prstGeom prst="roundRect">
              <a:avLst>
                <a:gd name="adj" fmla="val 9095"/>
              </a:avLst>
            </a:prstGeom>
            <a:solidFill>
              <a:schemeClr val="lt1"/>
            </a:solidFill>
            <a:ln>
              <a:solidFill>
                <a:srgbClr val="BFBFBF"/>
              </a:solidFill>
            </a:ln>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a:solidFill>
                  <a:schemeClr val="accent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rgbClr val="00B0F0"/>
                  </a:solidFill>
                </a:rPr>
                <a:t>NĂNG LỰC</a:t>
              </a:r>
              <a:endParaRPr kumimoji="0" lang="en-US" b="1" i="0" u="none" strike="noStrike" kern="1200" cap="none" spc="0" normalizeH="0" baseline="0" noProof="0" dirty="0">
                <a:ln>
                  <a:noFill/>
                </a:ln>
                <a:solidFill>
                  <a:srgbClr val="00B0F0"/>
                </a:solidFill>
                <a:effectLst/>
                <a:uLnTx/>
                <a:uFillTx/>
              </a:endParaRPr>
            </a:p>
            <a:p>
              <a:pPr lvl="0" algn="ctr">
                <a:defRPr/>
              </a:pPr>
              <a:r>
                <a:rPr lang="en-US" sz="2400">
                  <a:solidFill>
                    <a:schemeClr val="tx1">
                      <a:lumMod val="50000"/>
                      <a:lumOff val="50000"/>
                    </a:schemeClr>
                  </a:solidFill>
                  <a:latin typeface="GillSans" panose="02020500000000000000" pitchFamily="18" charset="0"/>
                  <a:ea typeface="GillSans" panose="02020500000000000000" pitchFamily="18" charset="0"/>
                  <a:cs typeface="GillSans" panose="02020500000000000000" pitchFamily="18" charset="0"/>
                </a:rPr>
                <a:t>C</a:t>
              </a:r>
              <a:r>
                <a:rPr lang="vi-VN" sz="2400">
                  <a:solidFill>
                    <a:schemeClr val="tx1">
                      <a:lumMod val="50000"/>
                      <a:lumOff val="50000"/>
                    </a:schemeClr>
                  </a:solidFill>
                  <a:latin typeface="GillSans" panose="02020500000000000000" pitchFamily="18" charset="0"/>
                  <a:ea typeface="GillSans" panose="02020500000000000000" pitchFamily="18" charset="0"/>
                  <a:cs typeface="GillSans" panose="02020500000000000000" pitchFamily="18" charset="0"/>
                </a:rPr>
                <a:t>ó kiến thức cơ bản về CSDL, biết thiết kế CSDL và sử dụng thành thạo hệ QTCSDL</a:t>
              </a:r>
              <a:endParaRPr kumimoji="0" lang="en-US" sz="2400" b="0" i="0" u="none" strike="noStrike" kern="1200" cap="none" spc="0" normalizeH="0" baseline="0" noProof="0" dirty="0">
                <a:ln>
                  <a:noFill/>
                </a:ln>
                <a:solidFill>
                  <a:schemeClr val="tx1">
                    <a:lumMod val="50000"/>
                    <a:lumOff val="50000"/>
                  </a:schemeClr>
                </a:solidFill>
                <a:effectLst/>
                <a:uLnTx/>
                <a:uFillTx/>
                <a:latin typeface="GillSans" panose="02020500000000000000" pitchFamily="18" charset="0"/>
                <a:ea typeface="GillSans" panose="02020500000000000000" pitchFamily="18" charset="0"/>
                <a:cs typeface="GillSans" panose="02020500000000000000" pitchFamily="18" charset="0"/>
              </a:endParaRPr>
            </a:p>
          </p:txBody>
        </p:sp>
        <p:sp>
          <p:nvSpPr>
            <p:cNvPr id="5" name="Rectangle : avec coins arrondis en haut 8">
              <a:extLst>
                <a:ext uri="{FF2B5EF4-FFF2-40B4-BE49-F238E27FC236}">
                  <a16:creationId xmlns:a16="http://schemas.microsoft.com/office/drawing/2014/main" id="{5C0C6ED3-BE38-500D-AC0B-2F0AA07E7536}"/>
                </a:ext>
              </a:extLst>
            </p:cNvPr>
            <p:cNvSpPr/>
            <p:nvPr/>
          </p:nvSpPr>
          <p:spPr>
            <a:xfrm flipH="1" flipV="1">
              <a:off x="1160532" y="4779317"/>
              <a:ext cx="2012811" cy="380058"/>
            </a:xfrm>
            <a:prstGeom prst="round2SameRect">
              <a:avLst>
                <a:gd name="adj1" fmla="val 46658"/>
                <a:gd name="adj2" fmla="val 0"/>
              </a:avLst>
            </a:prstGeom>
            <a:solidFill>
              <a:srgbClr val="00B0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ctr"/>
            <a:lstStyle/>
            <a:p>
              <a:pPr algn="ctr"/>
              <a:endParaRPr lang="en-US" dirty="0"/>
            </a:p>
          </p:txBody>
        </p:sp>
      </p:grpSp>
      <p:cxnSp>
        <p:nvCxnSpPr>
          <p:cNvPr id="7" name="Connecteur droit 11">
            <a:extLst>
              <a:ext uri="{FF2B5EF4-FFF2-40B4-BE49-F238E27FC236}">
                <a16:creationId xmlns:a16="http://schemas.microsoft.com/office/drawing/2014/main" id="{DEB78559-DA28-8A11-BD2D-0442E47E0ED2}"/>
              </a:ext>
            </a:extLst>
          </p:cNvPr>
          <p:cNvCxnSpPr>
            <a:cxnSpLocks/>
          </p:cNvCxnSpPr>
          <p:nvPr/>
        </p:nvCxnSpPr>
        <p:spPr>
          <a:xfrm>
            <a:off x="1956615" y="4332346"/>
            <a:ext cx="1" cy="60212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e 21">
            <a:extLst>
              <a:ext uri="{FF2B5EF4-FFF2-40B4-BE49-F238E27FC236}">
                <a16:creationId xmlns:a16="http://schemas.microsoft.com/office/drawing/2014/main" id="{BB56F0CA-F1F2-42F3-7D4B-ADC669D48100}"/>
              </a:ext>
            </a:extLst>
          </p:cNvPr>
          <p:cNvGrpSpPr/>
          <p:nvPr/>
        </p:nvGrpSpPr>
        <p:grpSpPr>
          <a:xfrm>
            <a:off x="1569971" y="4895399"/>
            <a:ext cx="718694" cy="718694"/>
            <a:chOff x="1782399" y="3916243"/>
            <a:chExt cx="718694" cy="718694"/>
          </a:xfrm>
        </p:grpSpPr>
        <p:sp>
          <p:nvSpPr>
            <p:cNvPr id="9" name="Ellipse 20">
              <a:extLst>
                <a:ext uri="{FF2B5EF4-FFF2-40B4-BE49-F238E27FC236}">
                  <a16:creationId xmlns:a16="http://schemas.microsoft.com/office/drawing/2014/main" id="{F3FD3B5D-CE9E-A916-E900-81E83733E334}"/>
                </a:ext>
              </a:extLst>
            </p:cNvPr>
            <p:cNvSpPr/>
            <p:nvPr/>
          </p:nvSpPr>
          <p:spPr>
            <a:xfrm>
              <a:off x="1782399" y="3916243"/>
              <a:ext cx="718694" cy="71869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sp>
          <p:nvSpPr>
            <p:cNvPr id="11" name="Ellipse 14">
              <a:extLst>
                <a:ext uri="{FF2B5EF4-FFF2-40B4-BE49-F238E27FC236}">
                  <a16:creationId xmlns:a16="http://schemas.microsoft.com/office/drawing/2014/main" id="{9FBFE8B3-A38A-2CE0-DADF-B06D25285658}"/>
                </a:ext>
              </a:extLst>
            </p:cNvPr>
            <p:cNvSpPr/>
            <p:nvPr/>
          </p:nvSpPr>
          <p:spPr>
            <a:xfrm>
              <a:off x="1814195" y="3948039"/>
              <a:ext cx="655102" cy="655102"/>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1</a:t>
              </a:r>
            </a:p>
          </p:txBody>
        </p:sp>
      </p:grpSp>
      <p:grpSp>
        <p:nvGrpSpPr>
          <p:cNvPr id="13" name="Groupe 24">
            <a:extLst>
              <a:ext uri="{FF2B5EF4-FFF2-40B4-BE49-F238E27FC236}">
                <a16:creationId xmlns:a16="http://schemas.microsoft.com/office/drawing/2014/main" id="{251CFCA6-BFCF-3D5B-11B0-9B9F24E8DCD7}"/>
              </a:ext>
            </a:extLst>
          </p:cNvPr>
          <p:cNvGrpSpPr/>
          <p:nvPr/>
        </p:nvGrpSpPr>
        <p:grpSpPr>
          <a:xfrm flipV="1">
            <a:off x="3659489" y="3429000"/>
            <a:ext cx="2645924" cy="2560676"/>
            <a:chOff x="1160532" y="1698626"/>
            <a:chExt cx="2012812" cy="3460749"/>
          </a:xfrm>
        </p:grpSpPr>
        <p:sp>
          <p:nvSpPr>
            <p:cNvPr id="14" name="Rectangle : coins arrondis 32">
              <a:extLst>
                <a:ext uri="{FF2B5EF4-FFF2-40B4-BE49-F238E27FC236}">
                  <a16:creationId xmlns:a16="http://schemas.microsoft.com/office/drawing/2014/main" id="{E9213A47-BDC1-639F-E4F4-4D40CC944FA3}"/>
                </a:ext>
              </a:extLst>
            </p:cNvPr>
            <p:cNvSpPr/>
            <p:nvPr/>
          </p:nvSpPr>
          <p:spPr>
            <a:xfrm rot="10800000">
              <a:off x="1160533" y="1698626"/>
              <a:ext cx="2012811" cy="3457579"/>
            </a:xfrm>
            <a:prstGeom prst="roundRect">
              <a:avLst>
                <a:gd name="adj" fmla="val 9095"/>
              </a:avLst>
            </a:prstGeom>
            <a:solidFill>
              <a:schemeClr val="lt1"/>
            </a:solidFill>
            <a:ln>
              <a:solidFill>
                <a:srgbClr val="BFBFBF"/>
              </a:solidFill>
            </a:ln>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chemeClr val="accent2"/>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a:solidFill>
                  <a:schemeClr val="accent2"/>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FC000"/>
                  </a:solidFill>
                  <a:effectLst/>
                  <a:uLnTx/>
                  <a:uFillTx/>
                  <a:ea typeface="+mn-ea"/>
                  <a:cs typeface="+mn-cs"/>
                </a:rPr>
                <a:t>PHẨM CHẤT</a:t>
              </a:r>
              <a:endParaRPr kumimoji="0" lang="en-US" b="1" i="0" u="none" strike="noStrike" kern="1200" cap="none" spc="0" normalizeH="0" baseline="0" noProof="0" dirty="0">
                <a:ln>
                  <a:noFill/>
                </a:ln>
                <a:solidFill>
                  <a:srgbClr val="FFC000"/>
                </a:solidFill>
                <a:effectLst/>
                <a:uLnTx/>
                <a:uFillTx/>
                <a:ea typeface="+mn-ea"/>
                <a:cs typeface="+mn-cs"/>
              </a:endParaRPr>
            </a:p>
            <a:p>
              <a:pPr algn="ctr">
                <a:defRPr/>
              </a:pPr>
              <a:r>
                <a:rPr lang="en-US" sz="2400">
                  <a:solidFill>
                    <a:schemeClr val="tx1">
                      <a:lumMod val="50000"/>
                      <a:lumOff val="50000"/>
                    </a:schemeClr>
                  </a:solidFill>
                  <a:latin typeface="GillSans" panose="02020500000000000000" pitchFamily="18" charset="0"/>
                  <a:ea typeface="GillSans" panose="02020500000000000000" pitchFamily="18" charset="0"/>
                  <a:cs typeface="GillSans" panose="02020500000000000000" pitchFamily="18" charset="0"/>
                </a:rPr>
                <a:t>Tính cách tỉ mỉ, cẩn thận, kiên nhẫn, kĩ năng phân tích, khả năng học tập suốt đời</a:t>
              </a:r>
            </a:p>
            <a:p>
              <a:pPr lvl="0" algn="ctr">
                <a:defRPr/>
              </a:pPr>
              <a:endParaRPr kumimoji="0" lang="en-US" sz="1600" b="0" i="0" u="none" strike="noStrike" kern="1200" cap="none" spc="0" normalizeH="0" baseline="0" noProof="0" dirty="0">
                <a:ln>
                  <a:noFill/>
                </a:ln>
                <a:solidFill>
                  <a:prstClr val="black"/>
                </a:solidFill>
                <a:effectLst/>
                <a:uLnTx/>
                <a:uFillTx/>
                <a:ea typeface="+mn-ea"/>
                <a:cs typeface="+mn-cs"/>
              </a:endParaRPr>
            </a:p>
          </p:txBody>
        </p:sp>
        <p:sp>
          <p:nvSpPr>
            <p:cNvPr id="15" name="Rectangle : avec coins arrondis en haut 33">
              <a:extLst>
                <a:ext uri="{FF2B5EF4-FFF2-40B4-BE49-F238E27FC236}">
                  <a16:creationId xmlns:a16="http://schemas.microsoft.com/office/drawing/2014/main" id="{14BCCD34-DB76-A50E-171C-5E5A38F53B73}"/>
                </a:ext>
              </a:extLst>
            </p:cNvPr>
            <p:cNvSpPr/>
            <p:nvPr/>
          </p:nvSpPr>
          <p:spPr>
            <a:xfrm flipH="1" flipV="1">
              <a:off x="1160532" y="4779317"/>
              <a:ext cx="2012811" cy="380058"/>
            </a:xfrm>
            <a:prstGeom prst="round2SameRect">
              <a:avLst>
                <a:gd name="adj1" fmla="val 46658"/>
                <a:gd name="adj2" fmla="val 0"/>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ctr"/>
            <a:lstStyle/>
            <a:p>
              <a:pPr algn="ctr"/>
              <a:endParaRPr lang="en-US" dirty="0"/>
            </a:p>
          </p:txBody>
        </p:sp>
      </p:grpSp>
      <p:cxnSp>
        <p:nvCxnSpPr>
          <p:cNvPr id="17" name="Connecteur droit 26">
            <a:extLst>
              <a:ext uri="{FF2B5EF4-FFF2-40B4-BE49-F238E27FC236}">
                <a16:creationId xmlns:a16="http://schemas.microsoft.com/office/drawing/2014/main" id="{CAE6438B-0971-B221-6526-03F6EECF00BD}"/>
              </a:ext>
            </a:extLst>
          </p:cNvPr>
          <p:cNvCxnSpPr>
            <a:cxnSpLocks/>
            <a:endCxn id="14" idx="0"/>
          </p:cNvCxnSpPr>
          <p:nvPr/>
        </p:nvCxnSpPr>
        <p:spPr>
          <a:xfrm flipH="1">
            <a:off x="4982451" y="2829225"/>
            <a:ext cx="2" cy="602121"/>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8" name="Groupe 34">
            <a:extLst>
              <a:ext uri="{FF2B5EF4-FFF2-40B4-BE49-F238E27FC236}">
                <a16:creationId xmlns:a16="http://schemas.microsoft.com/office/drawing/2014/main" id="{62EFC47B-2476-1EF6-BD18-124FE4562747}"/>
              </a:ext>
            </a:extLst>
          </p:cNvPr>
          <p:cNvGrpSpPr/>
          <p:nvPr/>
        </p:nvGrpSpPr>
        <p:grpSpPr>
          <a:xfrm>
            <a:off x="4623103" y="2109565"/>
            <a:ext cx="718694" cy="718694"/>
            <a:chOff x="4784152" y="1844511"/>
            <a:chExt cx="718694" cy="718694"/>
          </a:xfrm>
        </p:grpSpPr>
        <p:sp>
          <p:nvSpPr>
            <p:cNvPr id="19" name="Ellipse 28">
              <a:extLst>
                <a:ext uri="{FF2B5EF4-FFF2-40B4-BE49-F238E27FC236}">
                  <a16:creationId xmlns:a16="http://schemas.microsoft.com/office/drawing/2014/main" id="{0E775928-CF37-7B1B-B0B9-49BCDEDE1A4F}"/>
                </a:ext>
              </a:extLst>
            </p:cNvPr>
            <p:cNvSpPr/>
            <p:nvPr/>
          </p:nvSpPr>
          <p:spPr>
            <a:xfrm>
              <a:off x="4784152" y="1844511"/>
              <a:ext cx="718694" cy="718694"/>
            </a:xfrm>
            <a:prstGeom prst="ellipse">
              <a:avLst/>
            </a:prstGeom>
            <a:solidFill>
              <a:schemeClr val="lt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sp>
          <p:nvSpPr>
            <p:cNvPr id="21" name="Ellipse 30">
              <a:extLst>
                <a:ext uri="{FF2B5EF4-FFF2-40B4-BE49-F238E27FC236}">
                  <a16:creationId xmlns:a16="http://schemas.microsoft.com/office/drawing/2014/main" id="{C96A1279-8F3B-35E5-7A25-204CCADE0EEA}"/>
                </a:ext>
              </a:extLst>
            </p:cNvPr>
            <p:cNvSpPr/>
            <p:nvPr/>
          </p:nvSpPr>
          <p:spPr>
            <a:xfrm>
              <a:off x="4815948" y="1876307"/>
              <a:ext cx="655102" cy="65510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2</a:t>
              </a:r>
            </a:p>
          </p:txBody>
        </p:sp>
      </p:grpSp>
      <p:grpSp>
        <p:nvGrpSpPr>
          <p:cNvPr id="23" name="Groupe 57">
            <a:extLst>
              <a:ext uri="{FF2B5EF4-FFF2-40B4-BE49-F238E27FC236}">
                <a16:creationId xmlns:a16="http://schemas.microsoft.com/office/drawing/2014/main" id="{4F684C56-9073-710B-BB5B-607A594945B9}"/>
              </a:ext>
            </a:extLst>
          </p:cNvPr>
          <p:cNvGrpSpPr/>
          <p:nvPr/>
        </p:nvGrpSpPr>
        <p:grpSpPr>
          <a:xfrm flipV="1">
            <a:off x="6996364" y="1774014"/>
            <a:ext cx="4781644" cy="3494021"/>
            <a:chOff x="1160532" y="1984209"/>
            <a:chExt cx="2012812" cy="3175166"/>
          </a:xfrm>
        </p:grpSpPr>
        <p:sp>
          <p:nvSpPr>
            <p:cNvPr id="24" name="Rectangle : coins arrondis 1026">
              <a:extLst>
                <a:ext uri="{FF2B5EF4-FFF2-40B4-BE49-F238E27FC236}">
                  <a16:creationId xmlns:a16="http://schemas.microsoft.com/office/drawing/2014/main" id="{E3893B53-15B5-94D9-C8AE-D3D86059DB5D}"/>
                </a:ext>
              </a:extLst>
            </p:cNvPr>
            <p:cNvSpPr/>
            <p:nvPr/>
          </p:nvSpPr>
          <p:spPr>
            <a:xfrm rot="10800000">
              <a:off x="1160533" y="1984209"/>
              <a:ext cx="2012811" cy="3171994"/>
            </a:xfrm>
            <a:prstGeom prst="roundRect">
              <a:avLst>
                <a:gd name="adj" fmla="val 9095"/>
              </a:avLst>
            </a:prstGeom>
            <a:solidFill>
              <a:schemeClr val="lt1"/>
            </a:solidFill>
            <a:ln>
              <a:solidFill>
                <a:srgbClr val="BFBFBF"/>
              </a:solidFill>
            </a:ln>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a:ln>
                  <a:noFill/>
                </a:ln>
                <a:solidFill>
                  <a:srgbClr val="00B050"/>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00B050"/>
                  </a:solidFill>
                  <a:effectLst/>
                  <a:uLnTx/>
                  <a:uFillTx/>
                  <a:ea typeface="+mn-ea"/>
                  <a:cs typeface="+mn-cs"/>
                </a:rPr>
                <a:t>CẦN LÀM GÌ ĐỂ CÓ KIẾN TH</a:t>
              </a:r>
              <a:r>
                <a:rPr lang="en-US" b="1">
                  <a:solidFill>
                    <a:srgbClr val="00B050"/>
                  </a:solidFill>
                </a:rPr>
                <a:t>ỨC VÀ KĨ NĂNG CẦN THIẾT VỀ QUẢN TRỊ CSDL?</a:t>
              </a:r>
            </a:p>
            <a:p>
              <a:pPr lvl="0">
                <a:defRPr/>
              </a:pPr>
              <a:r>
                <a:rPr lang="en-US" sz="2400">
                  <a:solidFill>
                    <a:schemeClr val="tx1">
                      <a:lumMod val="50000"/>
                      <a:lumOff val="50000"/>
                    </a:schemeClr>
                  </a:solidFill>
                  <a:latin typeface="GillSans" panose="02020500000000000000" pitchFamily="18" charset="0"/>
                  <a:ea typeface="GillSans" panose="02020500000000000000" pitchFamily="18" charset="0"/>
                  <a:cs typeface="GillSans" panose="02020500000000000000" pitchFamily="18" charset="0"/>
                </a:rPr>
                <a:t>H</a:t>
              </a:r>
              <a:r>
                <a:rPr lang="vi-VN" sz="2400">
                  <a:solidFill>
                    <a:schemeClr val="tx1">
                      <a:lumMod val="50000"/>
                      <a:lumOff val="50000"/>
                    </a:schemeClr>
                  </a:solidFill>
                  <a:latin typeface="GillSans" panose="02020500000000000000" pitchFamily="18" charset="0"/>
                  <a:ea typeface="GillSans" panose="02020500000000000000" pitchFamily="18" charset="0"/>
                  <a:cs typeface="GillSans" panose="02020500000000000000" pitchFamily="18" charset="0"/>
                </a:rPr>
                <a:t>ọc kiến thức một cách bài bản ở các trường đại học chuyên nghành</a:t>
              </a:r>
              <a:endParaRPr lang="en-US" sz="2400">
                <a:solidFill>
                  <a:schemeClr val="tx1">
                    <a:lumMod val="50000"/>
                    <a:lumOff val="50000"/>
                  </a:schemeClr>
                </a:solidFill>
                <a:latin typeface="GillSans" panose="02020500000000000000" pitchFamily="18" charset="0"/>
                <a:ea typeface="GillSans" panose="02020500000000000000" pitchFamily="18" charset="0"/>
                <a:cs typeface="GillSans" panose="02020500000000000000" pitchFamily="18" charset="0"/>
              </a:endParaRPr>
            </a:p>
            <a:p>
              <a:pPr lvl="0">
                <a:defRPr/>
              </a:pPr>
              <a:r>
                <a:rPr lang="en-US" sz="2400">
                  <a:solidFill>
                    <a:schemeClr val="tx1">
                      <a:lumMod val="50000"/>
                      <a:lumOff val="50000"/>
                    </a:schemeClr>
                  </a:solidFill>
                  <a:latin typeface="GillSans" panose="02020500000000000000" pitchFamily="18" charset="0"/>
                  <a:ea typeface="GillSans" panose="02020500000000000000" pitchFamily="18" charset="0"/>
                  <a:cs typeface="GillSans" panose="02020500000000000000" pitchFamily="18" charset="0"/>
                </a:rPr>
                <a:t>R</a:t>
              </a:r>
              <a:r>
                <a:rPr lang="vi-VN" sz="2400">
                  <a:solidFill>
                    <a:schemeClr val="tx1">
                      <a:lumMod val="50000"/>
                      <a:lumOff val="50000"/>
                    </a:schemeClr>
                  </a:solidFill>
                  <a:latin typeface="GillSans" panose="02020500000000000000" pitchFamily="18" charset="0"/>
                  <a:ea typeface="GillSans" panose="02020500000000000000" pitchFamily="18" charset="0"/>
                  <a:cs typeface="GillSans" panose="02020500000000000000" pitchFamily="18" charset="0"/>
                </a:rPr>
                <a:t>èn luyện kĩ năng trong các khóa học nghề nghiệp về quản trị CSDL, về các hệ QTCSDL cụ thể</a:t>
              </a:r>
              <a:endParaRPr lang="en-US" sz="2400">
                <a:solidFill>
                  <a:schemeClr val="tx1">
                    <a:lumMod val="50000"/>
                    <a:lumOff val="50000"/>
                  </a:schemeClr>
                </a:solidFill>
                <a:latin typeface="GillSans" panose="02020500000000000000" pitchFamily="18" charset="0"/>
                <a:ea typeface="GillSans" panose="02020500000000000000" pitchFamily="18" charset="0"/>
                <a:cs typeface="GillSans" panose="02020500000000000000" pitchFamily="18" charset="0"/>
              </a:endParaRPr>
            </a:p>
            <a:p>
              <a:pPr lvl="0">
                <a:defRPr/>
              </a:pPr>
              <a:r>
                <a:rPr lang="en-US" sz="2400">
                  <a:solidFill>
                    <a:schemeClr val="tx1">
                      <a:lumMod val="50000"/>
                      <a:lumOff val="50000"/>
                    </a:schemeClr>
                  </a:solidFill>
                  <a:latin typeface="GillSans" panose="02020500000000000000" pitchFamily="18" charset="0"/>
                  <a:ea typeface="GillSans" panose="02020500000000000000" pitchFamily="18" charset="0"/>
                  <a:cs typeface="GillSans" panose="02020500000000000000" pitchFamily="18" charset="0"/>
                </a:rPr>
                <a:t>R</a:t>
              </a:r>
              <a:r>
                <a:rPr lang="vi-VN" sz="2400">
                  <a:solidFill>
                    <a:schemeClr val="tx1">
                      <a:lumMod val="50000"/>
                      <a:lumOff val="50000"/>
                    </a:schemeClr>
                  </a:solidFill>
                  <a:latin typeface="GillSans" panose="02020500000000000000" pitchFamily="18" charset="0"/>
                  <a:ea typeface="GillSans" panose="02020500000000000000" pitchFamily="18" charset="0"/>
                  <a:cs typeface="GillSans" panose="02020500000000000000" pitchFamily="18" charset="0"/>
                </a:rPr>
                <a:t>èn luyện trong công việc thực tế.</a:t>
              </a:r>
              <a:endParaRPr kumimoji="0" lang="en-US" sz="2400" b="0" i="0" strike="noStrike" kern="1200" cap="none" spc="0" normalizeH="0" baseline="0" noProof="0" dirty="0">
                <a:ln>
                  <a:noFill/>
                </a:ln>
                <a:solidFill>
                  <a:schemeClr val="tx1">
                    <a:lumMod val="50000"/>
                    <a:lumOff val="50000"/>
                  </a:schemeClr>
                </a:solidFill>
                <a:effectLst/>
                <a:uLnTx/>
                <a:uFillTx/>
                <a:latin typeface="GillSans" panose="02020500000000000000" pitchFamily="18" charset="0"/>
                <a:ea typeface="GillSans" panose="02020500000000000000" pitchFamily="18" charset="0"/>
                <a:cs typeface="GillSans" panose="02020500000000000000" pitchFamily="18" charset="0"/>
              </a:endParaRPr>
            </a:p>
          </p:txBody>
        </p:sp>
        <p:sp>
          <p:nvSpPr>
            <p:cNvPr id="25" name="Rectangle : avec coins arrondis en haut 1027">
              <a:extLst>
                <a:ext uri="{FF2B5EF4-FFF2-40B4-BE49-F238E27FC236}">
                  <a16:creationId xmlns:a16="http://schemas.microsoft.com/office/drawing/2014/main" id="{F0FE8869-CBAC-5AF5-DB11-957AC593E126}"/>
                </a:ext>
              </a:extLst>
            </p:cNvPr>
            <p:cNvSpPr/>
            <p:nvPr/>
          </p:nvSpPr>
          <p:spPr>
            <a:xfrm flipH="1" flipV="1">
              <a:off x="1160532" y="4779317"/>
              <a:ext cx="2012811" cy="380058"/>
            </a:xfrm>
            <a:prstGeom prst="round2SameRect">
              <a:avLst>
                <a:gd name="adj1" fmla="val 46658"/>
                <a:gd name="adj2" fmla="val 0"/>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ctr"/>
            <a:lstStyle/>
            <a:p>
              <a:pPr algn="ctr"/>
              <a:endParaRPr lang="en-US" dirty="0"/>
            </a:p>
          </p:txBody>
        </p:sp>
      </p:grpSp>
      <p:cxnSp>
        <p:nvCxnSpPr>
          <p:cNvPr id="27" name="Connecteur droit 59">
            <a:extLst>
              <a:ext uri="{FF2B5EF4-FFF2-40B4-BE49-F238E27FC236}">
                <a16:creationId xmlns:a16="http://schemas.microsoft.com/office/drawing/2014/main" id="{33723184-18FB-0225-29FD-C3F2293E29EC}"/>
              </a:ext>
            </a:extLst>
          </p:cNvPr>
          <p:cNvCxnSpPr>
            <a:cxnSpLocks/>
            <a:stCxn id="24" idx="2"/>
            <a:endCxn id="29" idx="0"/>
          </p:cNvCxnSpPr>
          <p:nvPr/>
        </p:nvCxnSpPr>
        <p:spPr>
          <a:xfrm flipH="1">
            <a:off x="9387185" y="5268036"/>
            <a:ext cx="2" cy="614273"/>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e 60">
            <a:extLst>
              <a:ext uri="{FF2B5EF4-FFF2-40B4-BE49-F238E27FC236}">
                <a16:creationId xmlns:a16="http://schemas.microsoft.com/office/drawing/2014/main" id="{B61E0677-3064-43CB-B507-C881524B521F}"/>
              </a:ext>
            </a:extLst>
          </p:cNvPr>
          <p:cNvGrpSpPr/>
          <p:nvPr/>
        </p:nvGrpSpPr>
        <p:grpSpPr>
          <a:xfrm>
            <a:off x="9027838" y="5882309"/>
            <a:ext cx="718694" cy="718694"/>
            <a:chOff x="1782399" y="3916243"/>
            <a:chExt cx="718694" cy="718694"/>
          </a:xfrm>
        </p:grpSpPr>
        <p:sp>
          <p:nvSpPr>
            <p:cNvPr id="29" name="Ellipse 61">
              <a:extLst>
                <a:ext uri="{FF2B5EF4-FFF2-40B4-BE49-F238E27FC236}">
                  <a16:creationId xmlns:a16="http://schemas.microsoft.com/office/drawing/2014/main" id="{85DE9684-0B42-EB6F-8364-CCDE2C073008}"/>
                </a:ext>
              </a:extLst>
            </p:cNvPr>
            <p:cNvSpPr/>
            <p:nvPr/>
          </p:nvSpPr>
          <p:spPr>
            <a:xfrm>
              <a:off x="1782399" y="3916243"/>
              <a:ext cx="718694" cy="718694"/>
            </a:xfrm>
            <a:prstGeom prst="ellipse">
              <a:avLst/>
            </a:prstGeom>
            <a:solidFill>
              <a:schemeClr val="lt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sp>
          <p:nvSpPr>
            <p:cNvPr id="31" name="Ellipse 1023">
              <a:extLst>
                <a:ext uri="{FF2B5EF4-FFF2-40B4-BE49-F238E27FC236}">
                  <a16:creationId xmlns:a16="http://schemas.microsoft.com/office/drawing/2014/main" id="{27DD4A88-BDD3-C169-19A3-B08CEDB6933F}"/>
                </a:ext>
              </a:extLst>
            </p:cNvPr>
            <p:cNvSpPr/>
            <p:nvPr/>
          </p:nvSpPr>
          <p:spPr>
            <a:xfrm>
              <a:off x="1814195" y="3948039"/>
              <a:ext cx="655102" cy="65510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3</a:t>
              </a:r>
            </a:p>
          </p:txBody>
        </p:sp>
      </p:grpSp>
      <p:sp>
        <p:nvSpPr>
          <p:cNvPr id="36" name="Title 6">
            <a:extLst>
              <a:ext uri="{FF2B5EF4-FFF2-40B4-BE49-F238E27FC236}">
                <a16:creationId xmlns:a16="http://schemas.microsoft.com/office/drawing/2014/main" id="{9CEBF012-9CF4-4A47-89EA-56464658F7FF}"/>
              </a:ext>
            </a:extLst>
          </p:cNvPr>
          <p:cNvSpPr txBox="1">
            <a:spLocks/>
          </p:cNvSpPr>
          <p:nvPr/>
        </p:nvSpPr>
        <p:spPr>
          <a:xfrm>
            <a:off x="-250597" y="-50986"/>
            <a:ext cx="7246961" cy="1216024"/>
          </a:xfrm>
          <a:prstGeom prst="rect">
            <a:avLst/>
          </a:prstGeom>
        </p:spPr>
        <p:txBody>
          <a:bodyPr vert="horz" lIns="91440" tIns="45720" rIns="91440" bIns="45720" rtlCol="0" anchor="ctr">
            <a:normAutofit/>
          </a:bodyPr>
          <a:lstStyle>
            <a:lvl1pPr algn="ctr" defTabSz="914400" rtl="0" eaLnBrk="1" latinLnBrk="0" hangingPunct="1">
              <a:lnSpc>
                <a:spcPct val="110000"/>
              </a:lnSpc>
              <a:spcBef>
                <a:spcPct val="0"/>
              </a:spcBef>
              <a:buNone/>
              <a:defRPr sz="4000" kern="1200" cap="all" spc="600" baseline="0">
                <a:solidFill>
                  <a:schemeClr val="bg1"/>
                </a:solidFill>
                <a:latin typeface="+mj-lt"/>
                <a:ea typeface="Batang" panose="02030600000101010101" pitchFamily="18" charset="-127"/>
                <a:cs typeface="+mj-cs"/>
              </a:defRPr>
            </a:lvl1pPr>
          </a:lstStyle>
          <a:p>
            <a:r>
              <a:rPr lang="en-US" sz="2600" b="1">
                <a:solidFill>
                  <a:schemeClr val="tx1"/>
                </a:solidFill>
              </a:rPr>
              <a:t>2.phẩm chất và năng lực của Nhà quản trị csdl</a:t>
            </a:r>
            <a:endParaRPr lang="en-US" sz="2600" b="1" dirty="0">
              <a:solidFill>
                <a:schemeClr val="tx1"/>
              </a:solidFill>
            </a:endParaRPr>
          </a:p>
        </p:txBody>
      </p:sp>
      <p:sp>
        <p:nvSpPr>
          <p:cNvPr id="10" name="Rectangle 9">
            <a:extLst>
              <a:ext uri="{FF2B5EF4-FFF2-40B4-BE49-F238E27FC236}">
                <a16:creationId xmlns:a16="http://schemas.microsoft.com/office/drawing/2014/main" id="{FA97C930-3999-4F54-B808-4019A9D8D660}"/>
              </a:ext>
            </a:extLst>
          </p:cNvPr>
          <p:cNvSpPr/>
          <p:nvPr/>
        </p:nvSpPr>
        <p:spPr>
          <a:xfrm>
            <a:off x="7100888" y="2224034"/>
            <a:ext cx="4484754" cy="29051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b="1">
                <a:solidFill>
                  <a:srgbClr val="00B050"/>
                </a:solidFill>
              </a:rPr>
              <a:t>CẦN LÀM GÌ ĐỂ CÓ KIẾN THỨC VÀ KĨ NĂNG CẦN THIẾT VỀ QUẢN TRỊ CSDL?</a:t>
            </a:r>
          </a:p>
        </p:txBody>
      </p:sp>
    </p:spTree>
    <p:extLst>
      <p:ext uri="{BB962C8B-B14F-4D97-AF65-F5344CB8AC3E}">
        <p14:creationId xmlns:p14="http://schemas.microsoft.com/office/powerpoint/2010/main" val="1670824988"/>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par>
                                <p:cTn id="8" presetID="16" presetClass="entr" presetSubtype="21"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arn(inVertical)">
                                      <p:cBhvr>
                                        <p:cTn id="10" dur="500"/>
                                        <p:tgtEl>
                                          <p:spTgt spid="7"/>
                                        </p:tgtEl>
                                      </p:cBhvr>
                                    </p:animEffect>
                                  </p:childTnLst>
                                </p:cTn>
                              </p:par>
                              <p:par>
                                <p:cTn id="11" presetID="16" presetClass="entr" presetSubtype="21"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barn(inVertical)">
                                      <p:cBhvr>
                                        <p:cTn id="13" dur="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16" presetClass="entr" presetSubtype="21" fill="hold" nodeType="click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barn(inVertical)">
                                      <p:cBhvr>
                                        <p:cTn id="18" dur="500"/>
                                        <p:tgtEl>
                                          <p:spTgt spid="13"/>
                                        </p:tgtEl>
                                      </p:cBhvr>
                                    </p:animEffect>
                                  </p:childTnLst>
                                </p:cTn>
                              </p:par>
                              <p:par>
                                <p:cTn id="19" presetID="16" presetClass="entr" presetSubtype="21" fill="hold" nodeType="with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barn(inVertical)">
                                      <p:cBhvr>
                                        <p:cTn id="21" dur="500"/>
                                        <p:tgtEl>
                                          <p:spTgt spid="17"/>
                                        </p:tgtEl>
                                      </p:cBhvr>
                                    </p:animEffect>
                                  </p:childTnLst>
                                </p:cTn>
                              </p:par>
                              <p:par>
                                <p:cTn id="22" presetID="16" presetClass="entr" presetSubtype="21" fill="hold" nodeType="with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barn(inVertical)">
                                      <p:cBhvr>
                                        <p:cTn id="24" dur="500"/>
                                        <p:tgtEl>
                                          <p:spTgt spid="18"/>
                                        </p:tgtEl>
                                      </p:cBhvr>
                                    </p:animEffect>
                                  </p:childTnLst>
                                </p:cTn>
                              </p:par>
                            </p:childTnLst>
                          </p:cTn>
                        </p:par>
                      </p:childTnLst>
                    </p:cTn>
                  </p:par>
                  <p:par>
                    <p:cTn id="25" fill="hold">
                      <p:stCondLst>
                        <p:cond delay="indefinite"/>
                      </p:stCondLst>
                      <p:childTnLst>
                        <p:par>
                          <p:cTn id="26" fill="hold">
                            <p:stCondLst>
                              <p:cond delay="0"/>
                            </p:stCondLst>
                            <p:childTnLst>
                              <p:par>
                                <p:cTn id="27" presetID="16" presetClass="entr" presetSubtype="21" fill="hold" nodeType="clickEffect">
                                  <p:stCondLst>
                                    <p:cond delay="0"/>
                                  </p:stCondLst>
                                  <p:childTnLst>
                                    <p:set>
                                      <p:cBhvr>
                                        <p:cTn id="28" dur="1" fill="hold">
                                          <p:stCondLst>
                                            <p:cond delay="0"/>
                                          </p:stCondLst>
                                        </p:cTn>
                                        <p:tgtEl>
                                          <p:spTgt spid="23"/>
                                        </p:tgtEl>
                                        <p:attrNameLst>
                                          <p:attrName>style.visibility</p:attrName>
                                        </p:attrNameLst>
                                      </p:cBhvr>
                                      <p:to>
                                        <p:strVal val="visible"/>
                                      </p:to>
                                    </p:set>
                                    <p:animEffect transition="in" filter="barn(inVertical)">
                                      <p:cBhvr>
                                        <p:cTn id="29" dur="500"/>
                                        <p:tgtEl>
                                          <p:spTgt spid="23"/>
                                        </p:tgtEl>
                                      </p:cBhvr>
                                    </p:animEffect>
                                  </p:childTnLst>
                                </p:cTn>
                              </p:par>
                              <p:par>
                                <p:cTn id="30" presetID="16" presetClass="entr" presetSubtype="21" fill="hold" grpId="0" nodeType="with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barn(inVertical)">
                                      <p:cBhvr>
                                        <p:cTn id="32" dur="500"/>
                                        <p:tgtEl>
                                          <p:spTgt spid="10"/>
                                        </p:tgtEl>
                                      </p:cBhvr>
                                    </p:animEffect>
                                  </p:childTnLst>
                                </p:cTn>
                              </p:par>
                              <p:par>
                                <p:cTn id="33" presetID="16" presetClass="entr" presetSubtype="21" fill="hold" nodeType="withEffect">
                                  <p:stCondLst>
                                    <p:cond delay="0"/>
                                  </p:stCondLst>
                                  <p:childTnLst>
                                    <p:set>
                                      <p:cBhvr>
                                        <p:cTn id="34" dur="1" fill="hold">
                                          <p:stCondLst>
                                            <p:cond delay="0"/>
                                          </p:stCondLst>
                                        </p:cTn>
                                        <p:tgtEl>
                                          <p:spTgt spid="27"/>
                                        </p:tgtEl>
                                        <p:attrNameLst>
                                          <p:attrName>style.visibility</p:attrName>
                                        </p:attrNameLst>
                                      </p:cBhvr>
                                      <p:to>
                                        <p:strVal val="visible"/>
                                      </p:to>
                                    </p:set>
                                    <p:animEffect transition="in" filter="barn(inVertical)">
                                      <p:cBhvr>
                                        <p:cTn id="35" dur="500"/>
                                        <p:tgtEl>
                                          <p:spTgt spid="27"/>
                                        </p:tgtEl>
                                      </p:cBhvr>
                                    </p:animEffect>
                                  </p:childTnLst>
                                </p:cTn>
                              </p:par>
                              <p:par>
                                <p:cTn id="36" presetID="16" presetClass="entr" presetSubtype="21" fill="hold" nodeType="withEffect">
                                  <p:stCondLst>
                                    <p:cond delay="0"/>
                                  </p:stCondLst>
                                  <p:childTnLst>
                                    <p:set>
                                      <p:cBhvr>
                                        <p:cTn id="37" dur="1" fill="hold">
                                          <p:stCondLst>
                                            <p:cond delay="0"/>
                                          </p:stCondLst>
                                        </p:cTn>
                                        <p:tgtEl>
                                          <p:spTgt spid="28"/>
                                        </p:tgtEl>
                                        <p:attrNameLst>
                                          <p:attrName>style.visibility</p:attrName>
                                        </p:attrNameLst>
                                      </p:cBhvr>
                                      <p:to>
                                        <p:strVal val="visible"/>
                                      </p:to>
                                    </p:set>
                                    <p:animEffect transition="in" filter="barn(inVertical)">
                                      <p:cBhvr>
                                        <p:cTn id="38" dur="500"/>
                                        <p:tgtEl>
                                          <p:spTgt spid="28"/>
                                        </p:tgtEl>
                                      </p:cBhvr>
                                    </p:animEffect>
                                  </p:childTnLst>
                                </p:cTn>
                              </p:par>
                            </p:childTnLst>
                          </p:cTn>
                        </p:par>
                      </p:childTnLst>
                    </p:cTn>
                  </p:par>
                  <p:par>
                    <p:cTn id="39" fill="hold">
                      <p:stCondLst>
                        <p:cond delay="indefinite"/>
                      </p:stCondLst>
                      <p:childTnLst>
                        <p:par>
                          <p:cTn id="40" fill="hold">
                            <p:stCondLst>
                              <p:cond delay="0"/>
                            </p:stCondLst>
                            <p:childTnLst>
                              <p:par>
                                <p:cTn id="41" presetID="2" presetClass="exit" presetSubtype="4" fill="hold" grpId="1" nodeType="clickEffect">
                                  <p:stCondLst>
                                    <p:cond delay="0"/>
                                  </p:stCondLst>
                                  <p:childTnLst>
                                    <p:anim calcmode="lin" valueType="num">
                                      <p:cBhvr additive="base">
                                        <p:cTn id="42" dur="500"/>
                                        <p:tgtEl>
                                          <p:spTgt spid="10"/>
                                        </p:tgtEl>
                                        <p:attrNameLst>
                                          <p:attrName>ppt_x</p:attrName>
                                        </p:attrNameLst>
                                      </p:cBhvr>
                                      <p:tavLst>
                                        <p:tav tm="0">
                                          <p:val>
                                            <p:strVal val="ppt_x"/>
                                          </p:val>
                                        </p:tav>
                                        <p:tav tm="100000">
                                          <p:val>
                                            <p:strVal val="ppt_x"/>
                                          </p:val>
                                        </p:tav>
                                      </p:tavLst>
                                    </p:anim>
                                    <p:anim calcmode="lin" valueType="num">
                                      <p:cBhvr additive="base">
                                        <p:cTn id="43" dur="500"/>
                                        <p:tgtEl>
                                          <p:spTgt spid="10"/>
                                        </p:tgtEl>
                                        <p:attrNameLst>
                                          <p:attrName>ppt_y</p:attrName>
                                        </p:attrNameLst>
                                      </p:cBhvr>
                                      <p:tavLst>
                                        <p:tav tm="0">
                                          <p:val>
                                            <p:strVal val="ppt_y"/>
                                          </p:val>
                                        </p:tav>
                                        <p:tav tm="100000">
                                          <p:val>
                                            <p:strVal val="1+ppt_h/2"/>
                                          </p:val>
                                        </p:tav>
                                      </p:tavLst>
                                    </p:anim>
                                    <p:set>
                                      <p:cBhvr>
                                        <p:cTn id="44" dur="1" fill="hold">
                                          <p:stCondLst>
                                            <p:cond delay="499"/>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6">
            <a:extLst>
              <a:ext uri="{FF2B5EF4-FFF2-40B4-BE49-F238E27FC236}">
                <a16:creationId xmlns:a16="http://schemas.microsoft.com/office/drawing/2014/main" id="{40B0D840-AFBE-4B65-ABE7-024468369C32}"/>
              </a:ext>
            </a:extLst>
          </p:cNvPr>
          <p:cNvSpPr txBox="1">
            <a:spLocks/>
          </p:cNvSpPr>
          <p:nvPr/>
        </p:nvSpPr>
        <p:spPr>
          <a:xfrm>
            <a:off x="350296" y="259311"/>
            <a:ext cx="6864830" cy="805218"/>
          </a:xfrm>
          <a:prstGeom prst="rect">
            <a:avLst/>
          </a:prstGeom>
        </p:spPr>
        <p:txBody>
          <a:bodyPr vert="horz" lIns="91440" tIns="45720" rIns="91440" bIns="45720" rtlCol="0" anchor="ctr">
            <a:normAutofit/>
          </a:bodyPr>
          <a:lstStyle>
            <a:lvl1pPr algn="ctr" defTabSz="914400" rtl="0" eaLnBrk="1" latinLnBrk="0" hangingPunct="1">
              <a:lnSpc>
                <a:spcPct val="110000"/>
              </a:lnSpc>
              <a:spcBef>
                <a:spcPct val="0"/>
              </a:spcBef>
              <a:buNone/>
              <a:defRPr sz="4000" kern="1200" cap="all" spc="600" baseline="0">
                <a:solidFill>
                  <a:schemeClr val="bg1"/>
                </a:solidFill>
                <a:latin typeface="+mj-lt"/>
                <a:ea typeface="Batang" panose="02030600000101010101" pitchFamily="18" charset="-127"/>
                <a:cs typeface="+mj-cs"/>
              </a:defRPr>
            </a:lvl1pPr>
          </a:lstStyle>
          <a:p>
            <a:pPr algn="l"/>
            <a:r>
              <a:rPr lang="en-US" sz="2600" b="1">
                <a:solidFill>
                  <a:schemeClr val="tx1"/>
                </a:solidFill>
              </a:rPr>
              <a:t>3.C</a:t>
            </a:r>
            <a:r>
              <a:rPr lang="vi-VN" sz="2600" b="1">
                <a:solidFill>
                  <a:schemeClr val="tx1"/>
                </a:solidFill>
              </a:rPr>
              <a:t>ơ</a:t>
            </a:r>
            <a:r>
              <a:rPr lang="en-US" sz="2600" b="1">
                <a:solidFill>
                  <a:schemeClr val="tx1"/>
                </a:solidFill>
              </a:rPr>
              <a:t> hội việc làm</a:t>
            </a:r>
            <a:endParaRPr lang="en-US" sz="2600" b="1" dirty="0">
              <a:solidFill>
                <a:schemeClr val="tx1"/>
              </a:solidFill>
            </a:endParaRPr>
          </a:p>
        </p:txBody>
      </p:sp>
      <p:pic>
        <p:nvPicPr>
          <p:cNvPr id="10" name="Picture 9">
            <a:extLst>
              <a:ext uri="{FF2B5EF4-FFF2-40B4-BE49-F238E27FC236}">
                <a16:creationId xmlns:a16="http://schemas.microsoft.com/office/drawing/2014/main" id="{8CE967B2-DC85-4F55-916A-172B38FB46A8}"/>
              </a:ext>
            </a:extLst>
          </p:cNvPr>
          <p:cNvPicPr>
            <a:picLocks noChangeAspect="1"/>
          </p:cNvPicPr>
          <p:nvPr/>
        </p:nvPicPr>
        <p:blipFill>
          <a:blip r:embed="rId2"/>
          <a:stretch>
            <a:fillRect/>
          </a:stretch>
        </p:blipFill>
        <p:spPr>
          <a:xfrm>
            <a:off x="6845749" y="210640"/>
            <a:ext cx="5210175" cy="2333625"/>
          </a:xfrm>
          <a:prstGeom prst="rect">
            <a:avLst/>
          </a:prstGeom>
        </p:spPr>
      </p:pic>
      <p:pic>
        <p:nvPicPr>
          <p:cNvPr id="11" name="Picture 10">
            <a:extLst>
              <a:ext uri="{FF2B5EF4-FFF2-40B4-BE49-F238E27FC236}">
                <a16:creationId xmlns:a16="http://schemas.microsoft.com/office/drawing/2014/main" id="{58F824AD-8068-40EE-88B9-83D80C6B0EAC}"/>
              </a:ext>
            </a:extLst>
          </p:cNvPr>
          <p:cNvPicPr>
            <a:picLocks noChangeAspect="1"/>
          </p:cNvPicPr>
          <p:nvPr/>
        </p:nvPicPr>
        <p:blipFill>
          <a:blip r:embed="rId3"/>
          <a:stretch>
            <a:fillRect/>
          </a:stretch>
        </p:blipFill>
        <p:spPr>
          <a:xfrm>
            <a:off x="5522839" y="2893728"/>
            <a:ext cx="6648450" cy="3219450"/>
          </a:xfrm>
          <a:prstGeom prst="rect">
            <a:avLst/>
          </a:prstGeom>
        </p:spPr>
      </p:pic>
      <p:pic>
        <p:nvPicPr>
          <p:cNvPr id="12" name="Picture 11">
            <a:extLst>
              <a:ext uri="{FF2B5EF4-FFF2-40B4-BE49-F238E27FC236}">
                <a16:creationId xmlns:a16="http://schemas.microsoft.com/office/drawing/2014/main" id="{73DA1341-2ECF-49B9-825C-83B8455576F5}"/>
              </a:ext>
            </a:extLst>
          </p:cNvPr>
          <p:cNvPicPr>
            <a:picLocks noChangeAspect="1"/>
          </p:cNvPicPr>
          <p:nvPr/>
        </p:nvPicPr>
        <p:blipFill>
          <a:blip r:embed="rId4"/>
          <a:stretch>
            <a:fillRect/>
          </a:stretch>
        </p:blipFill>
        <p:spPr>
          <a:xfrm>
            <a:off x="541605" y="4840011"/>
            <a:ext cx="4476750" cy="1666875"/>
          </a:xfrm>
          <a:prstGeom prst="rect">
            <a:avLst/>
          </a:prstGeom>
        </p:spPr>
      </p:pic>
      <p:sp>
        <p:nvSpPr>
          <p:cNvPr id="13" name="TextBox 12">
            <a:extLst>
              <a:ext uri="{FF2B5EF4-FFF2-40B4-BE49-F238E27FC236}">
                <a16:creationId xmlns:a16="http://schemas.microsoft.com/office/drawing/2014/main" id="{B7FB4780-7DBD-4A0A-BC2D-500FF4016968}"/>
              </a:ext>
            </a:extLst>
          </p:cNvPr>
          <p:cNvSpPr txBox="1"/>
          <p:nvPr/>
        </p:nvSpPr>
        <p:spPr>
          <a:xfrm>
            <a:off x="727411" y="1377452"/>
            <a:ext cx="4618842" cy="2893100"/>
          </a:xfrm>
          <a:prstGeom prst="rect">
            <a:avLst/>
          </a:prstGeom>
          <a:noFill/>
        </p:spPr>
        <p:txBody>
          <a:bodyPr wrap="square" rtlCol="0">
            <a:spAutoFit/>
          </a:bodyPr>
          <a:lstStyle/>
          <a:p>
            <a:r>
              <a:rPr lang="en-US" sz="26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rPr>
              <a:t>- Nhu cầu nhân lực quản trị CSDL tăng theo nhu cầu phát triển các ứng dụng tin học sử dụng CSDL.</a:t>
            </a:r>
          </a:p>
          <a:p>
            <a:r>
              <a:rPr lang="en-US" sz="26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rPr>
              <a:t>- Có thể tìm đ</a:t>
            </a:r>
            <a:r>
              <a:rPr lang="vi-VN" sz="26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rPr>
              <a:t>ư</a:t>
            </a:r>
            <a:r>
              <a:rPr lang="en-US" sz="26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rPr>
              <a:t>ợc rất nhiều địa chỉ tuyển dụng nhờ công cụ tìm kiếm trên internet</a:t>
            </a:r>
            <a:endParaRPr lang="vi-VN" sz="26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386291028"/>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6CF0C18-4A69-48BA-B4A8-73BFF8DAD0E7}"/>
              </a:ext>
            </a:extLst>
          </p:cNvPr>
          <p:cNvPicPr>
            <a:picLocks noChangeAspect="1"/>
          </p:cNvPicPr>
          <p:nvPr/>
        </p:nvPicPr>
        <p:blipFill>
          <a:blip r:embed="rId2"/>
          <a:stretch>
            <a:fillRect/>
          </a:stretch>
        </p:blipFill>
        <p:spPr>
          <a:xfrm>
            <a:off x="0" y="177989"/>
            <a:ext cx="10991850" cy="1752600"/>
          </a:xfrm>
          <a:prstGeom prst="rect">
            <a:avLst/>
          </a:prstGeom>
        </p:spPr>
      </p:pic>
      <p:pic>
        <p:nvPicPr>
          <p:cNvPr id="9" name="Picture 8">
            <a:extLst>
              <a:ext uri="{FF2B5EF4-FFF2-40B4-BE49-F238E27FC236}">
                <a16:creationId xmlns:a16="http://schemas.microsoft.com/office/drawing/2014/main" id="{FED044F2-5BB0-4470-B9E8-B46CD861B0B7}"/>
              </a:ext>
            </a:extLst>
          </p:cNvPr>
          <p:cNvPicPr>
            <a:picLocks noChangeAspect="1"/>
          </p:cNvPicPr>
          <p:nvPr/>
        </p:nvPicPr>
        <p:blipFill>
          <a:blip r:embed="rId3"/>
          <a:stretch>
            <a:fillRect/>
          </a:stretch>
        </p:blipFill>
        <p:spPr>
          <a:xfrm>
            <a:off x="468715" y="3269634"/>
            <a:ext cx="10763250" cy="2038350"/>
          </a:xfrm>
          <a:prstGeom prst="rect">
            <a:avLst/>
          </a:prstGeom>
        </p:spPr>
      </p:pic>
    </p:spTree>
    <p:extLst>
      <p:ext uri="{BB962C8B-B14F-4D97-AF65-F5344CB8AC3E}">
        <p14:creationId xmlns:p14="http://schemas.microsoft.com/office/powerpoint/2010/main" val="1510753587"/>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B67D3C0E-F147-4F6F-845C-9CB42F96AE46}"/>
              </a:ext>
            </a:extLst>
          </p:cNvPr>
          <p:cNvPicPr>
            <a:picLocks noChangeAspect="1"/>
          </p:cNvPicPr>
          <p:nvPr/>
        </p:nvPicPr>
        <p:blipFill>
          <a:blip r:embed="rId3"/>
          <a:stretch>
            <a:fillRect/>
          </a:stretch>
        </p:blipFill>
        <p:spPr>
          <a:xfrm>
            <a:off x="268548" y="111030"/>
            <a:ext cx="11104654" cy="1854248"/>
          </a:xfrm>
          <a:prstGeom prst="rect">
            <a:avLst/>
          </a:prstGeom>
        </p:spPr>
      </p:pic>
      <p:pic>
        <p:nvPicPr>
          <p:cNvPr id="17" name="Picture 16">
            <a:extLst>
              <a:ext uri="{FF2B5EF4-FFF2-40B4-BE49-F238E27FC236}">
                <a16:creationId xmlns:a16="http://schemas.microsoft.com/office/drawing/2014/main" id="{C6AFB624-B391-46F3-AB1C-695FEDA47F1A}"/>
              </a:ext>
            </a:extLst>
          </p:cNvPr>
          <p:cNvPicPr>
            <a:picLocks noChangeAspect="1"/>
          </p:cNvPicPr>
          <p:nvPr/>
        </p:nvPicPr>
        <p:blipFill>
          <a:blip r:embed="rId4"/>
          <a:stretch>
            <a:fillRect/>
          </a:stretch>
        </p:blipFill>
        <p:spPr>
          <a:xfrm>
            <a:off x="714375" y="2803477"/>
            <a:ext cx="10763250" cy="2457450"/>
          </a:xfrm>
          <a:prstGeom prst="rect">
            <a:avLst/>
          </a:prstGeom>
        </p:spPr>
      </p:pic>
    </p:spTree>
    <p:extLst>
      <p:ext uri="{BB962C8B-B14F-4D97-AF65-F5344CB8AC3E}">
        <p14:creationId xmlns:p14="http://schemas.microsoft.com/office/powerpoint/2010/main" val="2957902708"/>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ID_TEMPLATES" val="Icons_in_boxes_1"/>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
</p:tagLst>
</file>

<file path=ppt/theme/theme1.xml><?xml version="1.0" encoding="utf-8"?>
<a:theme xmlns:a="http://schemas.openxmlformats.org/drawingml/2006/main" name="ArchiveVTI">
  <a:themeElements>
    <a:clrScheme name="Archive">
      <a:dk1>
        <a:sysClr val="windowText" lastClr="000000"/>
      </a:dk1>
      <a:lt1>
        <a:sysClr val="window" lastClr="FFFFFF"/>
      </a:lt1>
      <a:dk2>
        <a:srgbClr val="353B3D"/>
      </a:dk2>
      <a:lt2>
        <a:srgbClr val="EEECEA"/>
      </a:lt2>
      <a:accent1>
        <a:srgbClr val="A65E5E"/>
      </a:accent1>
      <a:accent2>
        <a:srgbClr val="9D6053"/>
      </a:accent2>
      <a:accent3>
        <a:srgbClr val="968274"/>
      </a:accent3>
      <a:accent4>
        <a:srgbClr val="878079"/>
      </a:accent4>
      <a:accent5>
        <a:srgbClr val="6C737A"/>
      </a:accent5>
      <a:accent6>
        <a:srgbClr val="697777"/>
      </a:accent6>
      <a:hlink>
        <a:srgbClr val="A25872"/>
      </a:hlink>
      <a:folHlink>
        <a:srgbClr val="667A7E"/>
      </a:folHlink>
    </a:clrScheme>
    <a:fontScheme name="Custom 170">
      <a:majorFont>
        <a:latin typeface="Bembo"/>
        <a:ea typeface=""/>
        <a:cs typeface=""/>
      </a:majorFont>
      <a:minorFont>
        <a:latin typeface="Bemb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rchive_Win32_JC_SL_v2.potx" id="{9F04EDCC-8BB4-4447-9833-D0A642D24A2D}" vid="{934CEBB1-0C13-47EE-9983-A99F86967AE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_ip_UnifiedCompliancePolicyUIAction xmlns="http://schemas.microsoft.com/sharepoint/v3" xsi:nil="true"/>
    <Image xmlns="71af3243-3dd4-4a8d-8c0d-dd76da1f02a5">
      <Url xsi:nil="true"/>
      <Description xsi:nil="true"/>
    </Image>
    <_ip_UnifiedCompliancePolicyProperties xmlns="http://schemas.microsoft.com/sharepoint/v3" xsi:nil="true"/>
    <ImageTagsTaxHTField xmlns="71af3243-3dd4-4a8d-8c0d-dd76da1f02a5">
      <Terms xmlns="http://schemas.microsoft.com/office/infopath/2007/PartnerControls"/>
    </ImageTagsTaxHTField>
    <TaxCatchAll xmlns="230e9df3-be65-4c73-a93b-d1236ebd677e"/>
    <MediaServiceKeyPoints xmlns="71af3243-3dd4-4a8d-8c0d-dd76da1f02a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20" ma:contentTypeDescription="Create a new document." ma:contentTypeScope="" ma:versionID="1267097ee5f5874adfcc408041ae252e">
  <xsd:schema xmlns:xsd="http://www.w3.org/2001/XMLSchema" xmlns:xs="http://www.w3.org/2001/XMLSchema" xmlns:p="http://schemas.microsoft.com/office/2006/metadata/properties" xmlns:ns1="http://schemas.microsoft.com/sharepoint/v3" xmlns:ns2="71af3243-3dd4-4a8d-8c0d-dd76da1f02a5" xmlns:ns3="16c05727-aa75-4e4a-9b5f-8a80a1165891" xmlns:ns4="230e9df3-be65-4c73-a93b-d1236ebd677e" targetNamespace="http://schemas.microsoft.com/office/2006/metadata/properties" ma:root="true" ma:fieldsID="395891a93df65b14727750f2c06c306c" ns1:_="" ns2:_="" ns3:_="" ns4:_="">
    <xsd:import namespace="http://schemas.microsoft.com/sharepoint/v3"/>
    <xsd:import namespace="71af3243-3dd4-4a8d-8c0d-dd76da1f02a5"/>
    <xsd:import namespace="16c05727-aa75-4e4a-9b5f-8a80a116589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element ref="ns1:_ip_UnifiedCompliancePolicyProperties" minOccurs="0"/>
                <xsd:element ref="ns1:_ip_UnifiedCompliancePolicyUIAction" minOccurs="0"/>
                <xsd:element ref="ns2:Image" minOccurs="0"/>
                <xsd:element ref="ns4:TaxCatchAll" minOccurs="0"/>
                <xsd:element ref="ns2:ImageTagsTaxHTFiel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element name="Image" ma:index="22" nillable="true" ma:displayName="Image" ma:format="Image" ma:internalName="Image">
      <xsd:complexType>
        <xsd:complexContent>
          <xsd:extension base="dms:URL">
            <xsd:sequence>
              <xsd:element name="Url" type="dms:ValidUrl" minOccurs="0" nillable="true"/>
              <xsd:element name="Description" type="xsd:string" nillable="true"/>
            </xsd:sequence>
          </xsd:extension>
        </xsd:complexContent>
      </xsd:complexType>
    </xsd:element>
    <xsd:element name="ImageTagsTaxHTField" ma:index="25" nillable="true" ma:taxonomy="true" ma:internalName="ImageTagsTaxHTField"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3f6bfcbc-3db3-4ae6-bd76-326f0798ad28}" ma:internalName="TaxCatchAll" ma:showField="CatchAllData" ma:web="16c05727-aa75-4e4a-9b5f-8a80a116589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44D8792-4D15-4D4B-9B64-8D4AF94F9410}">
  <ds:schemaRefs>
    <ds:schemaRef ds:uri="http://schemas.microsoft.com/office/2006/metadata/properties"/>
    <ds:schemaRef ds:uri="http://schemas.microsoft.com/office/infopath/2007/PartnerControls"/>
    <ds:schemaRef ds:uri="71af3243-3dd4-4a8d-8c0d-dd76da1f02a5"/>
    <ds:schemaRef ds:uri="http://schemas.microsoft.com/sharepoint/v3"/>
    <ds:schemaRef ds:uri="230e9df3-be65-4c73-a93b-d1236ebd677e"/>
  </ds:schemaRefs>
</ds:datastoreItem>
</file>

<file path=customXml/itemProps2.xml><?xml version="1.0" encoding="utf-8"?>
<ds:datastoreItem xmlns:ds="http://schemas.openxmlformats.org/officeDocument/2006/customXml" ds:itemID="{6FDFA0AC-03C4-4652-A221-D53D393880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1af3243-3dd4-4a8d-8c0d-dd76da1f02a5"/>
    <ds:schemaRef ds:uri="16c05727-aa75-4e4a-9b5f-8a80a116589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87D48BE-14BE-40D8-8ABB-1013448C68EF}">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4712828B-CEF6-4775-AF37-14286591F4ED}tf00660596_win32</Template>
  <TotalTime>135</TotalTime>
  <Words>659</Words>
  <PresentationFormat>Widescreen</PresentationFormat>
  <Paragraphs>60</Paragraphs>
  <Slides>9</Slides>
  <Notes>5</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9</vt:i4>
      </vt:variant>
    </vt:vector>
  </HeadingPairs>
  <TitlesOfParts>
    <vt:vector size="15" baseType="lpstr">
      <vt:lpstr>GillSans</vt:lpstr>
      <vt:lpstr>Arial</vt:lpstr>
      <vt:lpstr>Bembo</vt:lpstr>
      <vt:lpstr>Calibri</vt:lpstr>
      <vt:lpstr>Tahoma</vt:lpstr>
      <vt:lpstr>ArchiveVTI</vt:lpstr>
      <vt:lpstr>CÔNG VIỆC QUẢN TRỊ CƠ SỞ DỮ LIỆU</vt:lpstr>
      <vt:lpstr>PowerPoint Presentation</vt:lpstr>
      <vt:lpstr>1.Nhà quản trị csdl</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VnTeach.Com</dc:creator>
  <cp:keywords>VnTeach.Com</cp:keywords>
  <dcterms:created xsi:type="dcterms:W3CDTF">2023-07-17T00:29:59Z</dcterms:created>
  <dcterms:modified xsi:type="dcterms:W3CDTF">2023-08-19T04:16: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y fmtid="{D5CDD505-2E9C-101B-9397-08002B2CF9AE}" pid="3" name="MSIP_Label_defa4170-0d19-0005-0004-bc88714345d2_Enabled">
    <vt:lpwstr>true</vt:lpwstr>
  </property>
  <property fmtid="{D5CDD505-2E9C-101B-9397-08002B2CF9AE}" pid="4" name="MSIP_Label_defa4170-0d19-0005-0004-bc88714345d2_SetDate">
    <vt:lpwstr>2023-07-17T00:30:01Z</vt:lpwstr>
  </property>
  <property fmtid="{D5CDD505-2E9C-101B-9397-08002B2CF9AE}" pid="5" name="MSIP_Label_defa4170-0d19-0005-0004-bc88714345d2_Method">
    <vt:lpwstr>Standard</vt:lpwstr>
  </property>
  <property fmtid="{D5CDD505-2E9C-101B-9397-08002B2CF9AE}" pid="6" name="MSIP_Label_defa4170-0d19-0005-0004-bc88714345d2_Name">
    <vt:lpwstr>defa4170-0d19-0005-0004-bc88714345d2</vt:lpwstr>
  </property>
  <property fmtid="{D5CDD505-2E9C-101B-9397-08002B2CF9AE}" pid="7" name="MSIP_Label_defa4170-0d19-0005-0004-bc88714345d2_SiteId">
    <vt:lpwstr>e39faec7-3053-4cf9-87b4-74c8d7922832</vt:lpwstr>
  </property>
  <property fmtid="{D5CDD505-2E9C-101B-9397-08002B2CF9AE}" pid="8" name="MSIP_Label_defa4170-0d19-0005-0004-bc88714345d2_ActionId">
    <vt:lpwstr>0a2f727c-e718-457e-85ec-0000e04fae73</vt:lpwstr>
  </property>
  <property fmtid="{D5CDD505-2E9C-101B-9397-08002B2CF9AE}" pid="9" name="MSIP_Label_defa4170-0d19-0005-0004-bc88714345d2_ContentBits">
    <vt:lpwstr>0</vt:lpwstr>
  </property>
</Properties>
</file>